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6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7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2" r:id="rId1"/>
  </p:sldMasterIdLst>
  <p:notesMasterIdLst>
    <p:notesMasterId r:id="rId43"/>
  </p:notesMasterIdLst>
  <p:handoutMasterIdLst>
    <p:handoutMasterId r:id="rId44"/>
  </p:handoutMasterIdLst>
  <p:sldIdLst>
    <p:sldId id="579" r:id="rId2"/>
    <p:sldId id="645" r:id="rId3"/>
    <p:sldId id="591" r:id="rId4"/>
    <p:sldId id="629" r:id="rId5"/>
    <p:sldId id="617" r:id="rId6"/>
    <p:sldId id="644" r:id="rId7"/>
    <p:sldId id="637" r:id="rId8"/>
    <p:sldId id="630" r:id="rId9"/>
    <p:sldId id="622" r:id="rId10"/>
    <p:sldId id="606" r:id="rId11"/>
    <p:sldId id="607" r:id="rId12"/>
    <p:sldId id="646" r:id="rId13"/>
    <p:sldId id="601" r:id="rId14"/>
    <p:sldId id="610" r:id="rId15"/>
    <p:sldId id="627" r:id="rId16"/>
    <p:sldId id="628" r:id="rId17"/>
    <p:sldId id="608" r:id="rId18"/>
    <p:sldId id="609" r:id="rId19"/>
    <p:sldId id="623" r:id="rId20"/>
    <p:sldId id="624" r:id="rId21"/>
    <p:sldId id="625" r:id="rId22"/>
    <p:sldId id="643" r:id="rId23"/>
    <p:sldId id="647" r:id="rId24"/>
    <p:sldId id="612" r:id="rId25"/>
    <p:sldId id="611" r:id="rId26"/>
    <p:sldId id="613" r:id="rId27"/>
    <p:sldId id="638" r:id="rId28"/>
    <p:sldId id="605" r:id="rId29"/>
    <p:sldId id="593" r:id="rId30"/>
    <p:sldId id="634" r:id="rId31"/>
    <p:sldId id="635" r:id="rId32"/>
    <p:sldId id="594" r:id="rId33"/>
    <p:sldId id="595" r:id="rId34"/>
    <p:sldId id="596" r:id="rId35"/>
    <p:sldId id="633" r:id="rId36"/>
    <p:sldId id="598" r:id="rId37"/>
    <p:sldId id="639" r:id="rId38"/>
    <p:sldId id="641" r:id="rId39"/>
    <p:sldId id="642" r:id="rId40"/>
    <p:sldId id="640" r:id="rId41"/>
    <p:sldId id="599" r:id="rId42"/>
  </p:sldIdLst>
  <p:sldSz cx="9144000" cy="6858000" type="screen4x3"/>
  <p:notesSz cx="6950075" cy="9236075"/>
  <p:custDataLst>
    <p:tags r:id="rId4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291BA6E-1AA3-EC49-8F7A-4E42462471F2}">
          <p14:sldIdLst>
            <p14:sldId id="579"/>
            <p14:sldId id="645"/>
            <p14:sldId id="591"/>
            <p14:sldId id="629"/>
            <p14:sldId id="617"/>
            <p14:sldId id="644"/>
            <p14:sldId id="637"/>
            <p14:sldId id="630"/>
            <p14:sldId id="622"/>
            <p14:sldId id="606"/>
            <p14:sldId id="607"/>
            <p14:sldId id="646"/>
            <p14:sldId id="601"/>
            <p14:sldId id="610"/>
            <p14:sldId id="627"/>
            <p14:sldId id="628"/>
            <p14:sldId id="608"/>
            <p14:sldId id="609"/>
            <p14:sldId id="623"/>
            <p14:sldId id="624"/>
            <p14:sldId id="625"/>
            <p14:sldId id="643"/>
            <p14:sldId id="647"/>
            <p14:sldId id="612"/>
            <p14:sldId id="611"/>
            <p14:sldId id="613"/>
            <p14:sldId id="638"/>
            <p14:sldId id="605"/>
            <p14:sldId id="593"/>
            <p14:sldId id="634"/>
            <p14:sldId id="635"/>
            <p14:sldId id="594"/>
            <p14:sldId id="595"/>
            <p14:sldId id="596"/>
            <p14:sldId id="633"/>
            <p14:sldId id="598"/>
            <p14:sldId id="639"/>
            <p14:sldId id="641"/>
            <p14:sldId id="642"/>
            <p14:sldId id="640"/>
            <p14:sldId id="5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Young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A5A"/>
    <a:srgbClr val="8EB4E3"/>
    <a:srgbClr val="C6D9F1"/>
    <a:srgbClr val="5178A7"/>
    <a:srgbClr val="245FAD"/>
    <a:srgbClr val="385D8A"/>
    <a:srgbClr val="4A40C8"/>
    <a:srgbClr val="203B54"/>
    <a:srgbClr val="30587C"/>
    <a:srgbClr val="4958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950" autoAdjust="0"/>
    <p:restoredTop sz="96433" autoAdjust="0"/>
  </p:normalViewPr>
  <p:slideViewPr>
    <p:cSldViewPr snapToGrid="0" snapToObjects="1">
      <p:cViewPr varScale="1">
        <p:scale>
          <a:sx n="116" d="100"/>
          <a:sy n="116" d="100"/>
        </p:scale>
        <p:origin x="1560" y="108"/>
      </p:cViewPr>
      <p:guideLst>
        <p:guide orient="horz" pos="2160"/>
        <p:guide pos="2880"/>
      </p:guideLst>
    </p:cSldViewPr>
  </p:slideViewPr>
  <p:outlineViewPr>
    <p:cViewPr>
      <p:scale>
        <a:sx n="25" d="100"/>
        <a:sy n="25" d="100"/>
      </p:scale>
      <p:origin x="0" y="-3006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0422892505287E-2"/>
          <c:y val="0"/>
          <c:w val="0.89561963655701704"/>
          <c:h val="0.9845476057454759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0662">
              <a:solidFill>
                <a:srgbClr val="FFFFFF"/>
              </a:solidFill>
              <a:prstDash val="solid"/>
            </a:ln>
          </c:spPr>
          <c:explosion val="25"/>
          <c:dPt>
            <c:idx val="0"/>
            <c:bubble3D val="0"/>
            <c:spPr>
              <a:solidFill>
                <a:schemeClr val="accent1"/>
              </a:solidFill>
              <a:ln w="10662">
                <a:solidFill>
                  <a:srgbClr val="FFFFFF"/>
                </a:solidFill>
                <a:prstDash val="solid"/>
              </a:ln>
            </c:spPr>
          </c:dPt>
          <c:dPt>
            <c:idx val="1"/>
            <c:bubble3D val="0"/>
            <c:explosion val="6"/>
            <c:spPr>
              <a:solidFill>
                <a:srgbClr val="C00000"/>
              </a:solidFill>
              <a:ln w="10662">
                <a:solidFill>
                  <a:srgbClr val="FFFFFF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FF9900"/>
              </a:solidFill>
              <a:ln w="10662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12968004284331999"/>
                  <c:y val="-9.41596747382686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0467187535489"/>
                  <c:y val="9.23213192958406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No assistive technology users </c:v>
                </c:pt>
                <c:pt idx="1">
                  <c:v>Assistive technology user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5</c:v>
                </c:pt>
                <c:pt idx="1">
                  <c:v>0.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60"/>
      </c:pieChart>
      <c:spPr>
        <a:noFill/>
        <a:ln w="21324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00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804123711340201E-2"/>
          <c:y val="0"/>
          <c:w val="0.89561963655701704"/>
          <c:h val="0.9845476057454759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0662">
              <a:solidFill>
                <a:srgbClr val="FFFFFF"/>
              </a:solidFill>
              <a:prstDash val="solid"/>
            </a:ln>
          </c:spPr>
          <c:explosion val="2"/>
          <c:dPt>
            <c:idx val="0"/>
            <c:bubble3D val="0"/>
            <c:spPr>
              <a:solidFill>
                <a:schemeClr val="accent1"/>
              </a:solidFill>
              <a:ln w="10662">
                <a:solidFill>
                  <a:srgbClr val="FFFFFF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chemeClr val="accent2"/>
              </a:solidFill>
              <a:ln w="10662">
                <a:solidFill>
                  <a:srgbClr val="FFFFFF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FF9900"/>
              </a:solidFill>
              <a:ln w="10662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0.11321855192734499"/>
                  <c:y val="0.131720382296162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107791575016862"/>
                  <c:y val="-9.65292269258771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3810636407930599"/>
                  <c:y val="0.142563614220147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Unlikely to benefit</c:v>
                </c:pt>
                <c:pt idx="1">
                  <c:v>Likely to benefit</c:v>
                </c:pt>
                <c:pt idx="2">
                  <c:v>Very likely to benefi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8</c:v>
                </c:pt>
                <c:pt idx="1">
                  <c:v>0.37</c:v>
                </c:pt>
                <c:pt idx="2">
                  <c:v>0.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1324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00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009963040334202E-2"/>
          <c:y val="4.5293993148913199E-2"/>
          <c:w val="0.92398007391933201"/>
          <c:h val="0.901447507662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245FAD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tx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38163050406067"/>
                  <c:y val="-0.202479500979238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70601768922199"/>
                      <c:h val="0.23886857728258801"/>
                    </c:manualLayout>
                  </c15:layout>
                </c:ext>
              </c:extLst>
            </c:dLbl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35537089632661E-3"/>
                  <c:y val="4.911304509891859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7077095582346"/>
                      <c:h val="0.23977256041804501"/>
                    </c:manualLayout>
                  </c15:layout>
                </c:ext>
              </c:extLst>
            </c:dLbl>
            <c:dLbl>
              <c:idx val="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t Aware</c:v>
                </c:pt>
                <c:pt idx="1">
                  <c:v>Aware but do not use</c:v>
                </c:pt>
                <c:pt idx="2">
                  <c:v>Use regularly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3</c:v>
                </c:pt>
                <c:pt idx="1">
                  <c:v>0.6</c:v>
                </c:pt>
                <c:pt idx="2">
                  <c:v>7.0000000000000007E-2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9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009963040334202E-2"/>
          <c:y val="4.5293993148913199E-2"/>
          <c:w val="0.92398007391933201"/>
          <c:h val="0.901447507662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2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rgbClr val="245FAD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dLbl>
              <c:idx val="0"/>
              <c:layout>
                <c:manualLayout>
                  <c:x val="-0.138163050406067"/>
                  <c:y val="-0.202479500979238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70601768922199"/>
                      <c:h val="0.23886857728258801"/>
                    </c:manualLayout>
                  </c15:layout>
                </c:ext>
              </c:extLst>
            </c:dLbl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179685867566796"/>
                  <c:y val="0.154225224532061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2833471696457"/>
                      <c:h val="0.23977256041804501"/>
                    </c:manualLayout>
                  </c15:layout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5</c:f>
              <c:strCache>
                <c:ptCount val="4"/>
                <c:pt idx="0">
                  <c:v>I don't know how</c:v>
                </c:pt>
                <c:pt idx="1">
                  <c:v>Not what I need</c:v>
                </c:pt>
                <c:pt idx="2">
                  <c:v>Need help from others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1</c:v>
                </c:pt>
                <c:pt idx="1">
                  <c:v>0.27</c:v>
                </c:pt>
                <c:pt idx="2">
                  <c:v>0.28999999999999998</c:v>
                </c:pt>
                <c:pt idx="3">
                  <c:v>0.02</c:v>
                </c:pt>
              </c:numCache>
            </c:numRef>
          </c:val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9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A9487CC4-DE36-6A43-9088-09A0D4899A40}" type="datetimeFigureOut">
              <a:rPr lang="en-US" smtClean="0"/>
              <a:t>9/30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BB809650-8A8B-2248-AD53-11D8358B49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2720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D6ACA295-C7D6-4945-BC9E-B5EAEDFE8007}" type="datetimeFigureOut">
              <a:rPr lang="en-US" smtClean="0"/>
              <a:t>9/30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55A4E692-4AA7-1245-BC48-7D841ED57E5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91961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215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3132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B52DE0-FAD7-AC47-AE3F-FF7863D1AE9C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047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32125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8542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84964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012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36516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808770-9221-4F53-BF46-6585E4DBBF21}" type="slidenum">
              <a:rPr lang="en-US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6207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1480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B52DE0-FAD7-AC47-AE3F-FF7863D1AE9C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37617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B52DE0-FAD7-AC47-AE3F-FF7863D1AE9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7006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6139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018599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85624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8210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1451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7058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9800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80618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94067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69432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B52DE0-FAD7-AC47-AE3F-FF7863D1AE9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22412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50651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85841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88534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665701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5383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877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B52DE0-FAD7-AC47-AE3F-FF7863D1AE9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8610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spcAft>
                <a:spcPts val="1800"/>
              </a:spcAft>
              <a:buSzPct val="125000"/>
              <a:buFont typeface="Arial" panose="020B0604020202020204" pitchFamily="34" charset="0"/>
              <a:buNone/>
            </a:pPr>
            <a:endParaRPr lang="en-US" sz="2400" dirty="0" smtClean="0">
              <a:cs typeface="Gotham Narrow Book"/>
            </a:endParaRPr>
          </a:p>
          <a:p>
            <a:pPr marL="914400" lvl="1" indent="-457200">
              <a:spcAft>
                <a:spcPts val="1800"/>
              </a:spcAft>
              <a:buSzPct val="125000"/>
              <a:buFont typeface="Arial" panose="020B0604020202020204" pitchFamily="34" charset="0"/>
              <a:buChar char="•"/>
            </a:pPr>
            <a:endParaRPr lang="en-US" sz="2400" dirty="0" smtClean="0">
              <a:cs typeface="Gotham Narrow Book"/>
            </a:endParaRP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B52DE0-FAD7-AC47-AE3F-FF7863D1AE9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3829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B52DE0-FAD7-AC47-AE3F-FF7863D1AE9C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7264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B52DE0-FAD7-AC47-AE3F-FF7863D1AE9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7153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4E692-4AA7-1245-BC48-7D841ED57E5A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7943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9311" y="4028533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9311" y="1834810"/>
            <a:ext cx="5065372" cy="2051390"/>
          </a:xfrm>
        </p:spPr>
        <p:txBody>
          <a:bodyPr/>
          <a:lstStyle>
            <a:lvl1pPr algn="l">
              <a:defRPr b="1">
                <a:solidFill>
                  <a:srgbClr val="245FA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300F5-5A15-1442-BB2E-38FEEDDAB4E9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363358"/>
            <a:ext cx="3033132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Sitecues 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311" y="541465"/>
            <a:ext cx="2512728" cy="595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8322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354E42-DD81-BF4C-A764-62A7DD38ACE1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5038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D61739-9D5F-494D-B5D3-740655CA09F8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5249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7F66B-BFA7-0146-BEEB-718611A358A9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0022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1">
                <a:solidFill>
                  <a:srgbClr val="245FA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753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 b="1">
                <a:solidFill>
                  <a:srgbClr val="245FAD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02371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208EE9-0686-C34F-B083-880EA6207FBC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6291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2AEE07-1A54-CE47-8E46-0B12DEB67921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913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65EDA5-F263-4A4E-9880-AF7CF9FD993D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537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13DDB6-BA80-BA44-AC19-F6ABCD45BEBF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684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9B0D5-63C4-7A46-A8AF-5009D5210F08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9401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083050-D8B4-424D-93BF-5667B28B29C3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0154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88446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" name="think-cell Slide" r:id="rId16" imgW="378" imgH="377" progId="TCLayout.ActiveDocument.1">
                  <p:embed/>
                </p:oleObj>
              </mc:Choice>
              <mc:Fallback>
                <p:oleObj name="think-cell Slide" r:id="rId16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958B3B6F-46D2-8F4D-AB77-B3716F852EFB}" type="datetime1">
              <a:rPr lang="en-US" smtClean="0">
                <a:solidFill>
                  <a:prstClr val="black"/>
                </a:solidFill>
              </a:rPr>
              <a:pPr/>
              <a:t>9/30/20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183690"/>
                </a:solidFill>
              </a:defRPr>
            </a:lvl1pPr>
          </a:lstStyle>
          <a:p>
            <a:r>
              <a:rPr lang="en-US" dirty="0" smtClean="0"/>
              <a:t>www.sitecues.co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17AB9F08-8FC4-E240-AE7E-BCF259C20234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-3"/>
            <a:ext cx="9154948" cy="154202"/>
          </a:xfrm>
          <a:prstGeom prst="rect">
            <a:avLst/>
          </a:prstGeom>
          <a:solidFill>
            <a:srgbClr val="245FA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513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b="1" kern="1200">
          <a:solidFill>
            <a:srgbClr val="245FAD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png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hyperlink" Target="mailto:mzablatsky@aisquared.com" TargetMode="External"/><Relationship Id="rId10" Type="http://schemas.microsoft.com/office/2007/relationships/hdphoto" Target="../media/hdphoto2.wdp"/><Relationship Id="rId4" Type="http://schemas.microsoft.com/office/2007/relationships/hdphoto" Target="../media/hdphoto1.wdp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3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g"/><Relationship Id="rId5" Type="http://schemas.openxmlformats.org/officeDocument/2006/relationships/image" Target="../media/image39.jpg"/><Relationship Id="rId4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tmp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0.tmp"/><Relationship Id="rId4" Type="http://schemas.openxmlformats.org/officeDocument/2006/relationships/image" Target="../media/image49.tm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" Type="http://schemas.openxmlformats.org/officeDocument/2006/relationships/image" Target="../media/image8.png"/><Relationship Id="rId21" Type="http://schemas.openxmlformats.org/officeDocument/2006/relationships/image" Target="../media/image26.jpe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1.png"/><Relationship Id="rId20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24" Type="http://schemas.openxmlformats.org/officeDocument/2006/relationships/image" Target="../media/image2.png"/><Relationship Id="rId5" Type="http://schemas.openxmlformats.org/officeDocument/2006/relationships/image" Target="../media/image10.png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10" Type="http://schemas.openxmlformats.org/officeDocument/2006/relationships/image" Target="../media/image15.png"/><Relationship Id="rId19" Type="http://schemas.openxmlformats.org/officeDocument/2006/relationships/image" Target="../media/image24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3.png"/><Relationship Id="rId3" Type="http://schemas.openxmlformats.org/officeDocument/2006/relationships/image" Target="../media/image55.png"/><Relationship Id="rId7" Type="http://schemas.openxmlformats.org/officeDocument/2006/relationships/image" Target="../media/image59.jpg"/><Relationship Id="rId12" Type="http://schemas.openxmlformats.org/officeDocument/2006/relationships/hyperlink" Target="http://www.essentialaccessibility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gif"/><Relationship Id="rId11" Type="http://schemas.openxmlformats.org/officeDocument/2006/relationships/image" Target="../media/image62.png"/><Relationship Id="rId5" Type="http://schemas.openxmlformats.org/officeDocument/2006/relationships/image" Target="../media/image57.gif"/><Relationship Id="rId10" Type="http://schemas.openxmlformats.org/officeDocument/2006/relationships/image" Target="../media/image61.png"/><Relationship Id="rId4" Type="http://schemas.openxmlformats.org/officeDocument/2006/relationships/image" Target="../media/image56.png"/><Relationship Id="rId9" Type="http://schemas.openxmlformats.org/officeDocument/2006/relationships/hyperlink" Target="https://www.texthelp.com/en-us/products/browsealoud" TargetMode="External"/><Relationship Id="rId14" Type="http://schemas.openxmlformats.org/officeDocument/2006/relationships/image" Target="../media/image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2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73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png"/><Relationship Id="rId5" Type="http://schemas.openxmlformats.org/officeDocument/2006/relationships/image" Target="../media/image44.png"/><Relationship Id="rId4" Type="http://schemas.openxmlformats.org/officeDocument/2006/relationships/image" Target="../media/image74.png"/><Relationship Id="rId9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76.jpg"/><Relationship Id="rId7" Type="http://schemas.openxmlformats.org/officeDocument/2006/relationships/image" Target="../media/image80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9.jpg"/><Relationship Id="rId5" Type="http://schemas.openxmlformats.org/officeDocument/2006/relationships/image" Target="../media/image78.jpg"/><Relationship Id="rId4" Type="http://schemas.openxmlformats.org/officeDocument/2006/relationships/image" Target="../media/image77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tmp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4.tmp"/><Relationship Id="rId5" Type="http://schemas.openxmlformats.org/officeDocument/2006/relationships/image" Target="../media/image83.tmp"/><Relationship Id="rId4" Type="http://schemas.openxmlformats.org/officeDocument/2006/relationships/image" Target="../media/image82.tmp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6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85.jpg"/><Relationship Id="rId7" Type="http://schemas.openxmlformats.org/officeDocument/2006/relationships/image" Target="../media/image9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0.png"/><Relationship Id="rId5" Type="http://schemas.openxmlformats.org/officeDocument/2006/relationships/image" Target="../media/image89.png"/><Relationship Id="rId10" Type="http://schemas.openxmlformats.org/officeDocument/2006/relationships/image" Target="../media/image94.png"/><Relationship Id="rId4" Type="http://schemas.openxmlformats.org/officeDocument/2006/relationships/image" Target="../media/image88.png"/><Relationship Id="rId9" Type="http://schemas.openxmlformats.org/officeDocument/2006/relationships/image" Target="../media/image9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5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9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://bit.do/coffee0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5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10" Type="http://schemas.openxmlformats.org/officeDocument/2006/relationships/image" Target="../media/image2.png"/><Relationship Id="rId4" Type="http://schemas.openxmlformats.org/officeDocument/2006/relationships/image" Target="../media/image6.png"/><Relationship Id="rId9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emf"/><Relationship Id="rId5" Type="http://schemas.microsoft.com/office/2007/relationships/hdphoto" Target="../media/hdphoto3.wdp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0" y="4445574"/>
            <a:ext cx="9144000" cy="2412426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240" y="2060970"/>
            <a:ext cx="9143999" cy="1261884"/>
          </a:xfrm>
        </p:spPr>
        <p:txBody>
          <a:bodyPr wrap="square">
            <a:spAutoFit/>
          </a:bodyPr>
          <a:lstStyle/>
          <a:p>
            <a:r>
              <a:rPr lang="en-US" sz="3800" dirty="0" smtClean="0"/>
              <a:t>New Universal Design Approaches</a:t>
            </a:r>
            <a:br>
              <a:rPr lang="en-US" sz="3800" dirty="0" smtClean="0"/>
            </a:br>
            <a:r>
              <a:rPr lang="en-US" sz="3800" dirty="0"/>
              <a:t>F</a:t>
            </a:r>
            <a:r>
              <a:rPr lang="en-US" sz="3800" dirty="0" smtClean="0"/>
              <a:t>or Web Accessibility</a:t>
            </a:r>
            <a:endParaRPr lang="en-US" sz="3200" dirty="0"/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5548987" y="4851539"/>
            <a:ext cx="3017603" cy="33855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sz="2400" b="1" dirty="0">
                <a:latin typeface="+mj-lt"/>
              </a:rPr>
              <a:t>Marc </a:t>
            </a:r>
            <a:r>
              <a:rPr lang="en-US" sz="2400" b="1" dirty="0" smtClean="0">
                <a:latin typeface="+mj-lt"/>
              </a:rPr>
              <a:t>Zablatsky</a:t>
            </a:r>
          </a:p>
        </p:txBody>
      </p:sp>
      <p:pic>
        <p:nvPicPr>
          <p:cNvPr id="21" name="Picture 2" descr="call, chat, mobile, phone, talk, telephone, viber icon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0959" y="5296264"/>
            <a:ext cx="353445" cy="353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2"/>
          <p:cNvSpPr txBox="1">
            <a:spLocks/>
          </p:cNvSpPr>
          <p:nvPr/>
        </p:nvSpPr>
        <p:spPr>
          <a:xfrm>
            <a:off x="6000403" y="5353598"/>
            <a:ext cx="2926186" cy="27699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>
                <a:latin typeface="+mj-lt"/>
              </a:rPr>
              <a:t>(802) 367-6149</a:t>
            </a:r>
          </a:p>
        </p:txBody>
      </p:sp>
      <p:sp>
        <p:nvSpPr>
          <p:cNvPr id="20" name="Text Placeholder 2"/>
          <p:cNvSpPr txBox="1">
            <a:spLocks/>
          </p:cNvSpPr>
          <p:nvPr/>
        </p:nvSpPr>
        <p:spPr>
          <a:xfrm>
            <a:off x="6000402" y="5701112"/>
            <a:ext cx="2926186" cy="6924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None/>
            </a:pPr>
            <a:r>
              <a:rPr lang="en-US" dirty="0" smtClean="0">
                <a:latin typeface="+mj-lt"/>
                <a:hlinkClick r:id="rId5"/>
              </a:rPr>
              <a:t>mzablatsky@aisquared.com</a:t>
            </a:r>
            <a:endParaRPr lang="en-US" dirty="0" smtClean="0">
              <a:latin typeface="+mj-lt"/>
            </a:endParaRPr>
          </a:p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None/>
            </a:pPr>
            <a:r>
              <a:rPr lang="en-US" dirty="0" smtClean="0">
                <a:latin typeface="+mj-lt"/>
              </a:rPr>
              <a:t>@mzablat</a:t>
            </a:r>
            <a:endParaRPr lang="en-US" dirty="0">
              <a:latin typeface="+mj-lt"/>
            </a:endParaRPr>
          </a:p>
        </p:txBody>
      </p:sp>
      <p:pic>
        <p:nvPicPr>
          <p:cNvPr id="13318" name="Picture 6" descr="email, letter, mail, message icon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4907" y="5746468"/>
            <a:ext cx="265549" cy="278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 descr="Marc Zablatsky Picture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84123" y="4854473"/>
            <a:ext cx="1636256" cy="1636256"/>
          </a:xfrm>
          <a:prstGeom prst="ellipse">
            <a:avLst/>
          </a:prstGeom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2" name="Picture 11" descr="Twitter logo, icon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03695" y="6121835"/>
            <a:ext cx="287973" cy="287973"/>
          </a:xfrm>
          <a:prstGeom prst="rect">
            <a:avLst/>
          </a:prstGeom>
        </p:spPr>
      </p:pic>
      <p:pic>
        <p:nvPicPr>
          <p:cNvPr id="14" name="Picture 4" descr="internet, network, web, website icon"/>
          <p:cNvPicPr>
            <a:picLocks noChangeAspect="1" noChangeArrowheads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28" y="5495695"/>
            <a:ext cx="292100" cy="292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Placeholder 2"/>
          <p:cNvSpPr txBox="1">
            <a:spLocks/>
          </p:cNvSpPr>
          <p:nvPr/>
        </p:nvSpPr>
        <p:spPr>
          <a:xfrm>
            <a:off x="1036862" y="5483119"/>
            <a:ext cx="1954061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 smtClean="0">
                <a:latin typeface="+mj-lt"/>
              </a:rPr>
              <a:t>www.sitecues.com</a:t>
            </a:r>
            <a:endParaRPr lang="en-US" dirty="0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043" y="3983909"/>
            <a:ext cx="9144000" cy="461665"/>
          </a:xfrm>
          <a:prstGeom prst="rect">
            <a:avLst/>
          </a:prstGeom>
          <a:solidFill>
            <a:srgbClr val="245FA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How To Extend Reach </a:t>
            </a:r>
            <a:r>
              <a:rPr lang="en-US" sz="2400" b="1" dirty="0"/>
              <a:t>A</a:t>
            </a:r>
            <a:r>
              <a:rPr lang="en-US" sz="2400" b="1" dirty="0" smtClean="0"/>
              <a:t>nd Impact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3072809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459427" y="1921741"/>
            <a:ext cx="5549487" cy="411906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0752"/>
            <a:ext cx="8163212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Traditional AT not reaching its potential</a:t>
            </a:r>
          </a:p>
        </p:txBody>
      </p:sp>
      <p:sp>
        <p:nvSpPr>
          <p:cNvPr id="8" name="Round Same Side Corner Rectangle 7"/>
          <p:cNvSpPr/>
          <p:nvPr/>
        </p:nvSpPr>
        <p:spPr>
          <a:xfrm>
            <a:off x="457200" y="1143066"/>
            <a:ext cx="5549487" cy="778675"/>
          </a:xfrm>
          <a:prstGeom prst="round2SameRect">
            <a:avLst/>
          </a:prstGeom>
          <a:solidFill>
            <a:schemeClr val="tx2"/>
          </a:solidFill>
          <a:ln/>
        </p:spPr>
        <p:txBody>
          <a:bodyPr wrap="square" lIns="73152" tIns="73152" rIns="73152" bIns="73152" anchor="ctr" anchorCtr="0">
            <a:noAutofit/>
          </a:bodyPr>
          <a:lstStyle/>
          <a:p>
            <a:pPr marL="0" lvl="1" algn="ctr">
              <a:spcAft>
                <a:spcPts val="900"/>
              </a:spcAft>
              <a:buSzPct val="125000"/>
            </a:pPr>
            <a:r>
              <a:rPr lang="en-US" sz="2400" b="1" dirty="0">
                <a:solidFill>
                  <a:schemeClr val="bg1"/>
                </a:solidFill>
                <a:cs typeface="Gotham Narrow Book"/>
              </a:rPr>
              <a:t>Assistive Technology </a:t>
            </a:r>
            <a:r>
              <a:rPr lang="en-US" sz="2400" b="1" dirty="0" smtClean="0">
                <a:solidFill>
                  <a:schemeClr val="bg1"/>
                </a:solidFill>
                <a:cs typeface="Gotham Narrow Book"/>
              </a:rPr>
              <a:t>use among visually impaired</a:t>
            </a:r>
            <a:endParaRPr lang="en-US" sz="2400" b="1" dirty="0">
              <a:solidFill>
                <a:schemeClr val="bg1"/>
              </a:solidFill>
              <a:cs typeface="Gotham Narrow Book"/>
            </a:endParaRPr>
          </a:p>
        </p:txBody>
      </p:sp>
      <p:graphicFrame>
        <p:nvGraphicFramePr>
          <p:cNvPr id="7" name="Object 3" descr="No assistive technology users 95%&#10;Assistive technology users 5%&#10;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9525726"/>
              </p:ext>
            </p:extLst>
          </p:nvPr>
        </p:nvGraphicFramePr>
        <p:xfrm>
          <a:off x="1201205" y="1920420"/>
          <a:ext cx="4370094" cy="39753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 Placeholder 2"/>
          <p:cNvSpPr txBox="1">
            <a:spLocks/>
          </p:cNvSpPr>
          <p:nvPr/>
        </p:nvSpPr>
        <p:spPr>
          <a:xfrm>
            <a:off x="4696950" y="2041024"/>
            <a:ext cx="1158240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25000"/>
              <a:buNone/>
            </a:pPr>
            <a:r>
              <a:rPr lang="en-US" dirty="0">
                <a:solidFill>
                  <a:schemeClr val="tx1"/>
                </a:solidFill>
                <a:latin typeface="+mj-lt"/>
              </a:rPr>
              <a:t>Assistive technology users</a:t>
            </a: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608696" y="5280238"/>
            <a:ext cx="1765207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25000"/>
              <a:buNone/>
            </a:pPr>
            <a:r>
              <a:rPr lang="en-US" dirty="0">
                <a:solidFill>
                  <a:schemeClr val="tx1"/>
                </a:solidFill>
                <a:latin typeface="+mj-lt"/>
              </a:rPr>
              <a:t>No assistive technology users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6121129" y="2603911"/>
            <a:ext cx="2565671" cy="2886798"/>
          </a:xfrm>
          <a:prstGeom prst="roundRect">
            <a:avLst>
              <a:gd name="adj" fmla="val 7352"/>
            </a:avLst>
          </a:prstGeom>
          <a:solidFill>
            <a:schemeClr val="tx2"/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>
            <a:off x="6237868" y="2923345"/>
            <a:ext cx="2332193" cy="169277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25000"/>
              <a:buNone/>
            </a:pPr>
            <a:r>
              <a:rPr lang="en-US" sz="2200" b="1" dirty="0" smtClean="0">
                <a:solidFill>
                  <a:schemeClr val="bg1"/>
                </a:solidFill>
                <a:latin typeface="+mj-lt"/>
              </a:rPr>
              <a:t>95</a:t>
            </a:r>
            <a:r>
              <a:rPr lang="en-US" sz="2200" b="1" dirty="0">
                <a:solidFill>
                  <a:schemeClr val="bg1"/>
                </a:solidFill>
                <a:latin typeface="+mj-lt"/>
              </a:rPr>
              <a:t>% </a:t>
            </a:r>
            <a:r>
              <a:rPr lang="en-US" sz="2200" dirty="0">
                <a:solidFill>
                  <a:schemeClr val="bg1"/>
                </a:solidFill>
                <a:latin typeface="+mj-lt"/>
              </a:rPr>
              <a:t>of users </a:t>
            </a:r>
            <a:r>
              <a:rPr lang="en-US" sz="2200" dirty="0" smtClean="0">
                <a:solidFill>
                  <a:schemeClr val="bg1"/>
                </a:solidFill>
                <a:latin typeface="+mj-lt"/>
              </a:rPr>
              <a:t>who could </a:t>
            </a:r>
            <a:r>
              <a:rPr lang="en-US" sz="2200" dirty="0">
                <a:solidFill>
                  <a:schemeClr val="bg1"/>
                </a:solidFill>
                <a:latin typeface="+mj-lt"/>
              </a:rPr>
              <a:t>benefit </a:t>
            </a:r>
            <a:r>
              <a:rPr lang="en-US" sz="2200" dirty="0" smtClean="0">
                <a:solidFill>
                  <a:schemeClr val="bg1"/>
                </a:solidFill>
                <a:latin typeface="+mj-lt"/>
              </a:rPr>
              <a:t>from zoom </a:t>
            </a:r>
            <a:r>
              <a:rPr lang="en-US" sz="2200" dirty="0">
                <a:solidFill>
                  <a:schemeClr val="bg1"/>
                </a:solidFill>
                <a:latin typeface="+mj-lt"/>
              </a:rPr>
              <a:t>&amp; </a:t>
            </a:r>
            <a:r>
              <a:rPr lang="en-US" sz="2200" dirty="0" smtClean="0">
                <a:solidFill>
                  <a:schemeClr val="bg1"/>
                </a:solidFill>
                <a:latin typeface="+mj-lt"/>
              </a:rPr>
              <a:t>speech </a:t>
            </a:r>
            <a:r>
              <a:rPr lang="en-US" sz="2200" b="1" dirty="0">
                <a:solidFill>
                  <a:schemeClr val="bg1"/>
                </a:solidFill>
                <a:latin typeface="+mj-lt"/>
              </a:rPr>
              <a:t>don’t own </a:t>
            </a:r>
            <a:r>
              <a:rPr lang="en-US" sz="2200" dirty="0">
                <a:solidFill>
                  <a:schemeClr val="bg1"/>
                </a:solidFill>
                <a:latin typeface="+mj-lt"/>
              </a:rPr>
              <a:t>an </a:t>
            </a:r>
            <a:r>
              <a:rPr lang="en-US" sz="2200" b="1" dirty="0">
                <a:solidFill>
                  <a:schemeClr val="bg1"/>
                </a:solidFill>
                <a:latin typeface="+mj-lt"/>
              </a:rPr>
              <a:t>assistive </a:t>
            </a:r>
            <a:r>
              <a:rPr lang="en-US" sz="2200" b="1" dirty="0" smtClean="0">
                <a:solidFill>
                  <a:schemeClr val="bg1"/>
                </a:solidFill>
                <a:latin typeface="+mj-lt"/>
              </a:rPr>
              <a:t>technology</a:t>
            </a:r>
            <a:endParaRPr lang="en-US" sz="2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6343877" y="4863499"/>
            <a:ext cx="2120175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25000"/>
              <a:buNone/>
            </a:pPr>
            <a:r>
              <a:rPr lang="en-US" sz="1600" i="1" dirty="0" smtClean="0">
                <a:solidFill>
                  <a:schemeClr val="bg1"/>
                </a:solidFill>
                <a:latin typeface="+mj-lt"/>
              </a:rPr>
              <a:t>– David Wu, Ai Squared</a:t>
            </a:r>
            <a:endParaRPr lang="en-US" sz="1600" i="1" baseline="30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6816" y="6322595"/>
            <a:ext cx="9144000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kern="1200" dirty="0" smtClean="0"/>
              <a:t>More focus needs to be placed on reaching “the other 95%”</a:t>
            </a:r>
          </a:p>
        </p:txBody>
      </p:sp>
      <p:pic>
        <p:nvPicPr>
          <p:cNvPr id="15" name="Picture 14" descr="begin quote"/>
          <p:cNvPicPr>
            <a:picLocks noChangeAspect="1"/>
          </p:cNvPicPr>
          <p:nvPr/>
        </p:nvPicPr>
        <p:blipFill rotWithShape="1">
          <a:blip r:embed="rId4"/>
          <a:srcRect l="39419" t="25878" r="39356" b="58243"/>
          <a:stretch/>
        </p:blipFill>
        <p:spPr>
          <a:xfrm>
            <a:off x="6237868" y="2474979"/>
            <a:ext cx="312720" cy="304267"/>
          </a:xfrm>
          <a:prstGeom prst="rect">
            <a:avLst/>
          </a:prstGeom>
        </p:spPr>
      </p:pic>
      <p:pic>
        <p:nvPicPr>
          <p:cNvPr id="19" name="Picture 18" descr="end quote"/>
          <p:cNvPicPr>
            <a:picLocks noChangeAspect="1"/>
          </p:cNvPicPr>
          <p:nvPr/>
        </p:nvPicPr>
        <p:blipFill rotWithShape="1">
          <a:blip r:embed="rId4"/>
          <a:srcRect l="39419" t="25878" r="39356" b="58243"/>
          <a:stretch/>
        </p:blipFill>
        <p:spPr>
          <a:xfrm flipH="1" flipV="1">
            <a:off x="8307692" y="5311879"/>
            <a:ext cx="312720" cy="304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38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07529"/>
            <a:ext cx="8229600" cy="1077218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Market research finds that most adults could benefit from AT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57200" y="6525319"/>
            <a:ext cx="739855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Aft>
                <a:spcPts val="450"/>
              </a:spcAft>
              <a:buSzPct val="125000"/>
            </a:pPr>
            <a:r>
              <a:rPr lang="en-US" sz="1200" dirty="0">
                <a:cs typeface="Gotham Narrow Book"/>
              </a:rPr>
              <a:t>Source: Microsoft &amp; Forrester, “The Wide Range of Abilities and Its Impact on Computer Technology” (2003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580557" y="2301286"/>
            <a:ext cx="5985114" cy="411906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ound Same Side Corner Rectangle 7"/>
          <p:cNvSpPr/>
          <p:nvPr/>
        </p:nvSpPr>
        <p:spPr>
          <a:xfrm>
            <a:off x="1578330" y="1522611"/>
            <a:ext cx="5985114" cy="778675"/>
          </a:xfrm>
          <a:prstGeom prst="round2SameRect">
            <a:avLst/>
          </a:prstGeom>
          <a:solidFill>
            <a:schemeClr val="tx2"/>
          </a:solidFill>
          <a:ln/>
        </p:spPr>
        <p:txBody>
          <a:bodyPr wrap="square" lIns="73152" tIns="73152" rIns="73152" bIns="73152" anchor="ctr" anchorCtr="0">
            <a:noAutofit/>
          </a:bodyPr>
          <a:lstStyle/>
          <a:p>
            <a:pPr marL="0" lvl="1" algn="ctr">
              <a:spcAft>
                <a:spcPts val="900"/>
              </a:spcAft>
              <a:buSzPct val="125000"/>
            </a:pPr>
            <a:r>
              <a:rPr lang="en-US" sz="2400" b="1" dirty="0" smtClean="0">
                <a:solidFill>
                  <a:schemeClr val="bg1"/>
                </a:solidFill>
                <a:cs typeface="Gotham Narrow Book"/>
              </a:rPr>
              <a:t>Adults who could benefit from </a:t>
            </a:r>
            <a:br>
              <a:rPr lang="en-US" sz="2400" b="1" dirty="0" smtClean="0">
                <a:solidFill>
                  <a:schemeClr val="bg1"/>
                </a:solidFill>
                <a:cs typeface="Gotham Narrow Book"/>
              </a:rPr>
            </a:br>
            <a:r>
              <a:rPr lang="en-US" sz="2400" b="1" dirty="0" smtClean="0">
                <a:solidFill>
                  <a:schemeClr val="bg1"/>
                </a:solidFill>
                <a:cs typeface="Gotham Narrow Book"/>
              </a:rPr>
              <a:t>Assistive Technology</a:t>
            </a:r>
            <a:endParaRPr lang="en-US" sz="2400" b="1" dirty="0">
              <a:solidFill>
                <a:schemeClr val="bg1"/>
              </a:solidFill>
              <a:cs typeface="Gotham Narrow Book"/>
            </a:endParaRPr>
          </a:p>
        </p:txBody>
      </p:sp>
      <p:graphicFrame>
        <p:nvGraphicFramePr>
          <p:cNvPr id="7" name="Object 3" descr="Unlikely to benefit 38%&#10;Likely to benefit 37%&#10;Very likely to benefit 25%&#10;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9676965"/>
              </p:ext>
            </p:extLst>
          </p:nvPr>
        </p:nvGraphicFramePr>
        <p:xfrm>
          <a:off x="2572177" y="2413974"/>
          <a:ext cx="3770239" cy="3429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 Placeholder 2"/>
          <p:cNvSpPr txBox="1">
            <a:spLocks/>
          </p:cNvSpPr>
          <p:nvPr/>
        </p:nvSpPr>
        <p:spPr>
          <a:xfrm>
            <a:off x="6116365" y="3522467"/>
            <a:ext cx="1272482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25000"/>
              <a:buNone/>
            </a:pPr>
            <a:r>
              <a:rPr lang="en-US" sz="2400" dirty="0" smtClean="0">
                <a:solidFill>
                  <a:schemeClr val="tx1"/>
                </a:solidFill>
                <a:latin typeface="+mj-lt"/>
              </a:rPr>
              <a:t>Unlikely to benefit</a:t>
            </a: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2572177" y="5641671"/>
            <a:ext cx="1088603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25000"/>
              <a:buNone/>
            </a:pPr>
            <a:r>
              <a:rPr lang="en-US" sz="2400" dirty="0" smtClean="0">
                <a:solidFill>
                  <a:schemeClr val="tx1"/>
                </a:solidFill>
                <a:latin typeface="+mj-lt"/>
              </a:rPr>
              <a:t>Likely to </a:t>
            </a:r>
            <a:r>
              <a:rPr lang="en-US" sz="2400" dirty="0">
                <a:solidFill>
                  <a:schemeClr val="tx1"/>
                </a:solidFill>
                <a:latin typeface="+mj-lt"/>
              </a:rPr>
              <a:t>benefit</a:t>
            </a:r>
          </a:p>
        </p:txBody>
      </p:sp>
      <p:sp>
        <p:nvSpPr>
          <p:cNvPr id="19" name="Text Placeholder 2"/>
          <p:cNvSpPr txBox="1">
            <a:spLocks/>
          </p:cNvSpPr>
          <p:nvPr/>
        </p:nvSpPr>
        <p:spPr>
          <a:xfrm>
            <a:off x="1725799" y="2413974"/>
            <a:ext cx="1272482" cy="73866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25000"/>
              <a:buNone/>
            </a:pPr>
            <a:r>
              <a:rPr lang="en-US" sz="2400" dirty="0" smtClean="0">
                <a:solidFill>
                  <a:schemeClr val="tx1"/>
                </a:solidFill>
                <a:latin typeface="+mj-lt"/>
              </a:rPr>
              <a:t>Very likely to benefit</a:t>
            </a: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62531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mmercial ATs are great at helping those who use them</a:t>
            </a:r>
            <a:endParaRPr lang="en-US" dirty="0"/>
          </a:p>
        </p:txBody>
      </p:sp>
      <p:sp>
        <p:nvSpPr>
          <p:cNvPr id="56" name="Rectangle 55"/>
          <p:cNvSpPr/>
          <p:nvPr/>
        </p:nvSpPr>
        <p:spPr>
          <a:xfrm>
            <a:off x="457200" y="1389685"/>
            <a:ext cx="2671175" cy="238034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7" name="Rectangle 56"/>
          <p:cNvSpPr/>
          <p:nvPr/>
        </p:nvSpPr>
        <p:spPr>
          <a:xfrm>
            <a:off x="3236413" y="1389685"/>
            <a:ext cx="2671175" cy="238034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6015625" y="1389685"/>
            <a:ext cx="2671175" cy="238034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6026331" y="3957641"/>
            <a:ext cx="2671175" cy="238034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Rectangle 59"/>
          <p:cNvSpPr/>
          <p:nvPr/>
        </p:nvSpPr>
        <p:spPr>
          <a:xfrm>
            <a:off x="457201" y="3834162"/>
            <a:ext cx="2671175" cy="238034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2" name="Content Placeholder 3" descr="Window-Eyes icon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2" t="7163" r="8147" b="9346"/>
          <a:stretch/>
        </p:blipFill>
        <p:spPr>
          <a:xfrm>
            <a:off x="3833090" y="1585638"/>
            <a:ext cx="1477820" cy="1374470"/>
          </a:xfrm>
          <a:prstGeom prst="rect">
            <a:avLst/>
          </a:prstGeom>
          <a:ln>
            <a:noFill/>
          </a:ln>
        </p:spPr>
      </p:pic>
      <p:pic>
        <p:nvPicPr>
          <p:cNvPr id="63" name="Picture 62" descr="Dragon Naturally speaking picture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65" t="6331" r="24563" b="10539"/>
          <a:stretch/>
        </p:blipFill>
        <p:spPr>
          <a:xfrm rot="396818">
            <a:off x="6710499" y="1522967"/>
            <a:ext cx="1281426" cy="1499813"/>
          </a:xfrm>
          <a:prstGeom prst="rect">
            <a:avLst/>
          </a:prstGeom>
        </p:spPr>
      </p:pic>
      <p:pic>
        <p:nvPicPr>
          <p:cNvPr id="64" name="Picture 63" descr="Nv access logo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27073">
            <a:off x="6274271" y="4215663"/>
            <a:ext cx="2283333" cy="1292262"/>
          </a:xfrm>
          <a:prstGeom prst="rect">
            <a:avLst/>
          </a:prstGeom>
        </p:spPr>
      </p:pic>
      <p:pic>
        <p:nvPicPr>
          <p:cNvPr id="65" name="Picture 64" descr="Jaws for windows logo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46" t="7660" r="6272" b="13944"/>
          <a:stretch/>
        </p:blipFill>
        <p:spPr>
          <a:xfrm rot="20908989">
            <a:off x="735222" y="4100783"/>
            <a:ext cx="2000065" cy="1275064"/>
          </a:xfrm>
          <a:prstGeom prst="rect">
            <a:avLst/>
          </a:prstGeom>
        </p:spPr>
      </p:pic>
      <p:sp>
        <p:nvSpPr>
          <p:cNvPr id="71" name="TextBox 70"/>
          <p:cNvSpPr txBox="1"/>
          <p:nvPr/>
        </p:nvSpPr>
        <p:spPr>
          <a:xfrm>
            <a:off x="3236413" y="3177131"/>
            <a:ext cx="2671175" cy="592897"/>
          </a:xfrm>
          <a:prstGeom prst="rect">
            <a:avLst/>
          </a:prstGeom>
          <a:solidFill>
            <a:schemeClr val="bg2"/>
          </a:solidFill>
          <a:ln/>
        </p:spPr>
        <p:txBody>
          <a:bodyPr wrap="square" lIns="73152" tIns="73152" rIns="73152" bIns="73152" anchor="ctr" anchorCtr="0">
            <a:noAutofit/>
          </a:bodyPr>
          <a:lstStyle>
            <a:defPPr>
              <a:defRPr lang="en-US"/>
            </a:defPPr>
            <a:lvl2pPr marL="0" lvl="1">
              <a:spcAft>
                <a:spcPts val="900"/>
              </a:spcAft>
              <a:buSzPct val="125000"/>
              <a:defRPr sz="2000" b="1">
                <a:solidFill>
                  <a:schemeClr val="bg1"/>
                </a:solidFill>
                <a:cs typeface="Gotham Narrow Book"/>
              </a:defRPr>
            </a:lvl2pPr>
          </a:lstStyle>
          <a:p>
            <a:pPr lvl="1" algn="ctr"/>
            <a:r>
              <a:rPr lang="en-US" dirty="0">
                <a:solidFill>
                  <a:schemeClr val="tx2"/>
                </a:solidFill>
              </a:rPr>
              <a:t>Window-Eyes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57200" y="3177131"/>
            <a:ext cx="2671175" cy="592897"/>
          </a:xfrm>
          <a:prstGeom prst="rect">
            <a:avLst/>
          </a:prstGeom>
          <a:solidFill>
            <a:schemeClr val="bg2"/>
          </a:solidFill>
          <a:ln/>
        </p:spPr>
        <p:txBody>
          <a:bodyPr wrap="square" lIns="73152" tIns="73152" rIns="73152" bIns="73152" anchor="ctr" anchorCtr="0">
            <a:noAutofit/>
          </a:bodyPr>
          <a:lstStyle>
            <a:defPPr>
              <a:defRPr lang="en-US"/>
            </a:defPPr>
            <a:lvl2pPr marL="0" lvl="1">
              <a:spcAft>
                <a:spcPts val="900"/>
              </a:spcAft>
              <a:buSzPct val="125000"/>
              <a:defRPr sz="2000" b="1">
                <a:solidFill>
                  <a:schemeClr val="bg1"/>
                </a:solidFill>
                <a:cs typeface="Gotham Narrow Book"/>
              </a:defRPr>
            </a:lvl2pPr>
          </a:lstStyle>
          <a:p>
            <a:pPr lvl="1" algn="ctr"/>
            <a:r>
              <a:rPr lang="en-US" dirty="0">
                <a:solidFill>
                  <a:schemeClr val="tx2"/>
                </a:solidFill>
              </a:rPr>
              <a:t>ZoomText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457201" y="5621608"/>
            <a:ext cx="2671175" cy="592897"/>
          </a:xfrm>
          <a:prstGeom prst="rect">
            <a:avLst/>
          </a:prstGeom>
          <a:solidFill>
            <a:schemeClr val="bg2"/>
          </a:solidFill>
          <a:ln/>
        </p:spPr>
        <p:txBody>
          <a:bodyPr wrap="square" lIns="73152" tIns="73152" rIns="73152" bIns="73152" anchor="ctr" anchorCtr="0">
            <a:noAutofit/>
          </a:bodyPr>
          <a:lstStyle>
            <a:defPPr>
              <a:defRPr lang="en-US"/>
            </a:defPPr>
            <a:lvl2pPr marL="0" lvl="1">
              <a:spcAft>
                <a:spcPts val="900"/>
              </a:spcAft>
              <a:buSzPct val="125000"/>
              <a:defRPr sz="2000" b="1">
                <a:solidFill>
                  <a:schemeClr val="bg1"/>
                </a:solidFill>
                <a:cs typeface="Gotham Narrow Book"/>
              </a:defRPr>
            </a:lvl2pPr>
          </a:lstStyle>
          <a:p>
            <a:pPr lvl="1" algn="ctr"/>
            <a:r>
              <a:rPr lang="en-US" dirty="0">
                <a:solidFill>
                  <a:schemeClr val="tx2"/>
                </a:solidFill>
              </a:rPr>
              <a:t>Jaws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026331" y="5745087"/>
            <a:ext cx="2671175" cy="592897"/>
          </a:xfrm>
          <a:prstGeom prst="rect">
            <a:avLst/>
          </a:prstGeom>
          <a:solidFill>
            <a:schemeClr val="bg2"/>
          </a:solidFill>
          <a:ln/>
        </p:spPr>
        <p:txBody>
          <a:bodyPr wrap="square" lIns="73152" tIns="73152" rIns="73152" bIns="73152" anchor="ctr" anchorCtr="0">
            <a:noAutofit/>
          </a:bodyPr>
          <a:lstStyle>
            <a:defPPr>
              <a:defRPr lang="en-US"/>
            </a:defPPr>
            <a:lvl2pPr marL="0" lvl="1">
              <a:spcAft>
                <a:spcPts val="900"/>
              </a:spcAft>
              <a:buSzPct val="125000"/>
              <a:defRPr sz="2000" b="1">
                <a:solidFill>
                  <a:schemeClr val="bg1"/>
                </a:solidFill>
                <a:cs typeface="Gotham Narrow Book"/>
              </a:defRPr>
            </a:lvl2pPr>
          </a:lstStyle>
          <a:p>
            <a:pPr lvl="1" algn="ctr"/>
            <a:r>
              <a:rPr lang="en-US" dirty="0">
                <a:solidFill>
                  <a:schemeClr val="tx2"/>
                </a:solidFill>
              </a:rPr>
              <a:t>NVDA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6015625" y="3177131"/>
            <a:ext cx="2671175" cy="592897"/>
          </a:xfrm>
          <a:prstGeom prst="rect">
            <a:avLst/>
          </a:prstGeom>
          <a:solidFill>
            <a:schemeClr val="bg2"/>
          </a:solidFill>
          <a:ln/>
        </p:spPr>
        <p:txBody>
          <a:bodyPr wrap="square" lIns="73152" tIns="73152" rIns="73152" bIns="73152" anchor="ctr" anchorCtr="0">
            <a:noAutofit/>
          </a:bodyPr>
          <a:lstStyle>
            <a:defPPr>
              <a:defRPr lang="en-US"/>
            </a:defPPr>
            <a:lvl2pPr marL="0" lvl="1">
              <a:spcAft>
                <a:spcPts val="900"/>
              </a:spcAft>
              <a:buSzPct val="125000"/>
              <a:defRPr sz="2000" b="1">
                <a:solidFill>
                  <a:schemeClr val="bg1"/>
                </a:solidFill>
                <a:cs typeface="Gotham Narrow Book"/>
              </a:defRPr>
            </a:lvl2pPr>
          </a:lstStyle>
          <a:p>
            <a:pPr lvl="1" algn="ctr"/>
            <a:r>
              <a:rPr lang="en-US" dirty="0">
                <a:solidFill>
                  <a:schemeClr val="tx2"/>
                </a:solidFill>
              </a:rPr>
              <a:t>Drag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-6816" y="6337984"/>
            <a:ext cx="9144000" cy="4462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300" kern="1200" dirty="0" smtClean="0"/>
              <a:t>Individual accommodations are only part of the solution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236413" y="3834162"/>
            <a:ext cx="2671175" cy="238034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3236413" y="5621608"/>
            <a:ext cx="2671175" cy="592897"/>
          </a:xfrm>
          <a:prstGeom prst="rect">
            <a:avLst/>
          </a:prstGeom>
          <a:solidFill>
            <a:schemeClr val="bg2"/>
          </a:solidFill>
          <a:ln/>
        </p:spPr>
        <p:txBody>
          <a:bodyPr wrap="square" lIns="73152" tIns="73152" rIns="73152" bIns="73152" anchor="ctr" anchorCtr="0">
            <a:noAutofit/>
          </a:bodyPr>
          <a:lstStyle>
            <a:defPPr>
              <a:defRPr lang="en-US"/>
            </a:defPPr>
            <a:lvl2pPr marL="0" lvl="1">
              <a:spcAft>
                <a:spcPts val="900"/>
              </a:spcAft>
              <a:buSzPct val="125000"/>
              <a:defRPr sz="2000" b="1">
                <a:solidFill>
                  <a:schemeClr val="bg1"/>
                </a:solidFill>
                <a:cs typeface="Gotham Narrow Book"/>
              </a:defRPr>
            </a:lvl2pPr>
          </a:lstStyle>
          <a:p>
            <a:pPr lvl="1" algn="ctr"/>
            <a:r>
              <a:rPr lang="en-US" dirty="0" smtClean="0">
                <a:solidFill>
                  <a:schemeClr val="tx2"/>
                </a:solidFill>
              </a:rPr>
              <a:t>Magic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23" name="Picture 2" descr="ZoomText Magnifer/Reader 10.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430" y="1585638"/>
            <a:ext cx="1268714" cy="143012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Magic Screen Magnification Software logo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94" b="88889"/>
          <a:stretch/>
        </p:blipFill>
        <p:spPr>
          <a:xfrm>
            <a:off x="3324206" y="4309341"/>
            <a:ext cx="2459182" cy="76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54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 7"/>
          <p:cNvSpPr>
            <a:spLocks/>
          </p:cNvSpPr>
          <p:nvPr/>
        </p:nvSpPr>
        <p:spPr bwMode="auto">
          <a:xfrm flipH="1">
            <a:off x="-3160" y="1993160"/>
            <a:ext cx="8837103" cy="4857063"/>
          </a:xfrm>
          <a:custGeom>
            <a:avLst/>
            <a:gdLst>
              <a:gd name="T0" fmla="*/ 43944 w 46819"/>
              <a:gd name="T1" fmla="*/ 24129 h 25722"/>
              <a:gd name="T2" fmla="*/ 43385 w 46819"/>
              <a:gd name="T3" fmla="*/ 22550 h 25722"/>
              <a:gd name="T4" fmla="*/ 42455 w 46819"/>
              <a:gd name="T5" fmla="*/ 21186 h 25722"/>
              <a:gd name="T6" fmla="*/ 41218 w 46819"/>
              <a:gd name="T7" fmla="*/ 20051 h 25722"/>
              <a:gd name="T8" fmla="*/ 39732 w 46819"/>
              <a:gd name="T9" fmla="*/ 19158 h 25722"/>
              <a:gd name="T10" fmla="*/ 38057 w 46819"/>
              <a:gd name="T11" fmla="*/ 18518 h 25722"/>
              <a:gd name="T12" fmla="*/ 35817 w 46819"/>
              <a:gd name="T13" fmla="*/ 18065 h 25722"/>
              <a:gd name="T14" fmla="*/ 30516 w 46819"/>
              <a:gd name="T15" fmla="*/ 17676 h 25722"/>
              <a:gd name="T16" fmla="*/ 25616 w 46819"/>
              <a:gd name="T17" fmla="*/ 17258 h 25722"/>
              <a:gd name="T18" fmla="*/ 23696 w 46819"/>
              <a:gd name="T19" fmla="*/ 16745 h 25722"/>
              <a:gd name="T20" fmla="*/ 22064 w 46819"/>
              <a:gd name="T21" fmla="*/ 15832 h 25722"/>
              <a:gd name="T22" fmla="*/ 21306 w 46819"/>
              <a:gd name="T23" fmla="*/ 14924 h 25722"/>
              <a:gd name="T24" fmla="*/ 20839 w 46819"/>
              <a:gd name="T25" fmla="*/ 13616 h 25722"/>
              <a:gd name="T26" fmla="*/ 20841 w 46819"/>
              <a:gd name="T27" fmla="*/ 11374 h 25722"/>
              <a:gd name="T28" fmla="*/ 20933 w 46819"/>
              <a:gd name="T29" fmla="*/ 9575 h 25722"/>
              <a:gd name="T30" fmla="*/ 20556 w 46819"/>
              <a:gd name="T31" fmla="*/ 8549 h 25722"/>
              <a:gd name="T32" fmla="*/ 19872 w 46819"/>
              <a:gd name="T33" fmla="*/ 7895 h 25722"/>
              <a:gd name="T34" fmla="*/ 18212 w 46819"/>
              <a:gd name="T35" fmla="*/ 7224 h 25722"/>
              <a:gd name="T36" fmla="*/ 15784 w 46819"/>
              <a:gd name="T37" fmla="*/ 6953 h 25722"/>
              <a:gd name="T38" fmla="*/ 12320 w 46819"/>
              <a:gd name="T39" fmla="*/ 6824 h 25722"/>
              <a:gd name="T40" fmla="*/ 10894 w 46819"/>
              <a:gd name="T41" fmla="*/ 6424 h 25722"/>
              <a:gd name="T42" fmla="*/ 9991 w 46819"/>
              <a:gd name="T43" fmla="*/ 5744 h 25722"/>
              <a:gd name="T44" fmla="*/ 9662 w 46819"/>
              <a:gd name="T45" fmla="*/ 4656 h 25722"/>
              <a:gd name="T46" fmla="*/ 10054 w 46819"/>
              <a:gd name="T47" fmla="*/ 3178 h 25722"/>
              <a:gd name="T48" fmla="*/ 9954 w 46819"/>
              <a:gd name="T49" fmla="*/ 2138 h 25722"/>
              <a:gd name="T50" fmla="*/ 9603 w 46819"/>
              <a:gd name="T51" fmla="*/ 1578 h 25722"/>
              <a:gd name="T52" fmla="*/ 8491 w 46819"/>
              <a:gd name="T53" fmla="*/ 1064 h 25722"/>
              <a:gd name="T54" fmla="*/ 6106 w 46819"/>
              <a:gd name="T55" fmla="*/ 995 h 25722"/>
              <a:gd name="T56" fmla="*/ 2788 w 46819"/>
              <a:gd name="T57" fmla="*/ 882 h 25722"/>
              <a:gd name="T58" fmla="*/ 907 w 46819"/>
              <a:gd name="T59" fmla="*/ 427 h 25722"/>
              <a:gd name="T60" fmla="*/ 1214 w 46819"/>
              <a:gd name="T61" fmla="*/ 207 h 25722"/>
              <a:gd name="T62" fmla="*/ 5027 w 46819"/>
              <a:gd name="T63" fmla="*/ 500 h 25722"/>
              <a:gd name="T64" fmla="*/ 8129 w 46819"/>
              <a:gd name="T65" fmla="*/ 433 h 25722"/>
              <a:gd name="T66" fmla="*/ 9478 w 46819"/>
              <a:gd name="T67" fmla="*/ 586 h 25722"/>
              <a:gd name="T68" fmla="*/ 10402 w 46819"/>
              <a:gd name="T69" fmla="*/ 927 h 25722"/>
              <a:gd name="T70" fmla="*/ 11258 w 46819"/>
              <a:gd name="T71" fmla="*/ 1819 h 25722"/>
              <a:gd name="T72" fmla="*/ 11438 w 46819"/>
              <a:gd name="T73" fmla="*/ 2786 h 25722"/>
              <a:gd name="T74" fmla="*/ 11194 w 46819"/>
              <a:gd name="T75" fmla="*/ 4236 h 25722"/>
              <a:gd name="T76" fmla="*/ 11374 w 46819"/>
              <a:gd name="T77" fmla="*/ 5040 h 25722"/>
              <a:gd name="T78" fmla="*/ 11934 w 46819"/>
              <a:gd name="T79" fmla="*/ 5554 h 25722"/>
              <a:gd name="T80" fmla="*/ 13032 w 46819"/>
              <a:gd name="T81" fmla="*/ 5850 h 25722"/>
              <a:gd name="T82" fmla="*/ 16664 w 46819"/>
              <a:gd name="T83" fmla="*/ 5797 h 25722"/>
              <a:gd name="T84" fmla="*/ 19811 w 46819"/>
              <a:gd name="T85" fmla="*/ 5876 h 25722"/>
              <a:gd name="T86" fmla="*/ 21267 w 46819"/>
              <a:gd name="T87" fmla="*/ 6290 h 25722"/>
              <a:gd name="T88" fmla="*/ 22155 w 46819"/>
              <a:gd name="T89" fmla="*/ 6908 h 25722"/>
              <a:gd name="T90" fmla="*/ 22739 w 46819"/>
              <a:gd name="T91" fmla="*/ 7816 h 25722"/>
              <a:gd name="T92" fmla="*/ 23100 w 46819"/>
              <a:gd name="T93" fmla="*/ 9759 h 25722"/>
              <a:gd name="T94" fmla="*/ 23296 w 46819"/>
              <a:gd name="T95" fmla="*/ 12641 h 25722"/>
              <a:gd name="T96" fmla="*/ 23669 w 46819"/>
              <a:gd name="T97" fmla="*/ 13665 h 25722"/>
              <a:gd name="T98" fmla="*/ 24669 w 46819"/>
              <a:gd name="T99" fmla="*/ 14554 h 25722"/>
              <a:gd name="T100" fmla="*/ 26541 w 46819"/>
              <a:gd name="T101" fmla="*/ 15225 h 25722"/>
              <a:gd name="T102" fmla="*/ 29179 w 46819"/>
              <a:gd name="T103" fmla="*/ 15522 h 25722"/>
              <a:gd name="T104" fmla="*/ 34666 w 46819"/>
              <a:gd name="T105" fmla="*/ 15456 h 25722"/>
              <a:gd name="T106" fmla="*/ 37564 w 46819"/>
              <a:gd name="T107" fmla="*/ 15667 h 25722"/>
              <a:gd name="T108" fmla="*/ 40574 w 46819"/>
              <a:gd name="T109" fmla="*/ 16495 h 25722"/>
              <a:gd name="T110" fmla="*/ 43237 w 46819"/>
              <a:gd name="T111" fmla="*/ 17888 h 25722"/>
              <a:gd name="T112" fmla="*/ 44623 w 46819"/>
              <a:gd name="T113" fmla="*/ 19015 h 25722"/>
              <a:gd name="T114" fmla="*/ 45740 w 46819"/>
              <a:gd name="T115" fmla="*/ 20355 h 25722"/>
              <a:gd name="T116" fmla="*/ 46511 w 46819"/>
              <a:gd name="T117" fmla="*/ 21907 h 25722"/>
              <a:gd name="T118" fmla="*/ 46802 w 46819"/>
              <a:gd name="T119" fmla="*/ 23756 h 25722"/>
              <a:gd name="T120" fmla="*/ 46739 w 46819"/>
              <a:gd name="T121" fmla="*/ 25602 h 257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6819" h="25722">
                <a:moveTo>
                  <a:pt x="44083" y="25722"/>
                </a:moveTo>
                <a:lnTo>
                  <a:pt x="44083" y="25722"/>
                </a:lnTo>
                <a:lnTo>
                  <a:pt x="44085" y="25630"/>
                </a:lnTo>
                <a:lnTo>
                  <a:pt x="44086" y="25537"/>
                </a:lnTo>
                <a:lnTo>
                  <a:pt x="44086" y="25445"/>
                </a:lnTo>
                <a:lnTo>
                  <a:pt x="44084" y="25354"/>
                </a:lnTo>
                <a:lnTo>
                  <a:pt x="44081" y="25264"/>
                </a:lnTo>
                <a:lnTo>
                  <a:pt x="44078" y="25174"/>
                </a:lnTo>
                <a:lnTo>
                  <a:pt x="44073" y="25083"/>
                </a:lnTo>
                <a:lnTo>
                  <a:pt x="44067" y="24995"/>
                </a:lnTo>
                <a:lnTo>
                  <a:pt x="44059" y="24906"/>
                </a:lnTo>
                <a:lnTo>
                  <a:pt x="44051" y="24817"/>
                </a:lnTo>
                <a:lnTo>
                  <a:pt x="44042" y="24729"/>
                </a:lnTo>
                <a:lnTo>
                  <a:pt x="44031" y="24642"/>
                </a:lnTo>
                <a:lnTo>
                  <a:pt x="44020" y="24555"/>
                </a:lnTo>
                <a:lnTo>
                  <a:pt x="44007" y="24469"/>
                </a:lnTo>
                <a:lnTo>
                  <a:pt x="43993" y="24383"/>
                </a:lnTo>
                <a:lnTo>
                  <a:pt x="43978" y="24297"/>
                </a:lnTo>
                <a:lnTo>
                  <a:pt x="43961" y="24213"/>
                </a:lnTo>
                <a:lnTo>
                  <a:pt x="43944" y="24129"/>
                </a:lnTo>
                <a:lnTo>
                  <a:pt x="43926" y="24045"/>
                </a:lnTo>
                <a:lnTo>
                  <a:pt x="43906" y="23962"/>
                </a:lnTo>
                <a:lnTo>
                  <a:pt x="43887" y="23879"/>
                </a:lnTo>
                <a:lnTo>
                  <a:pt x="43864" y="23796"/>
                </a:lnTo>
                <a:lnTo>
                  <a:pt x="43842" y="23715"/>
                </a:lnTo>
                <a:lnTo>
                  <a:pt x="43819" y="23633"/>
                </a:lnTo>
                <a:lnTo>
                  <a:pt x="43795" y="23552"/>
                </a:lnTo>
                <a:lnTo>
                  <a:pt x="43769" y="23472"/>
                </a:lnTo>
                <a:lnTo>
                  <a:pt x="43742" y="23392"/>
                </a:lnTo>
                <a:lnTo>
                  <a:pt x="43714" y="23313"/>
                </a:lnTo>
                <a:lnTo>
                  <a:pt x="43686" y="23234"/>
                </a:lnTo>
                <a:lnTo>
                  <a:pt x="43656" y="23156"/>
                </a:lnTo>
                <a:lnTo>
                  <a:pt x="43625" y="23078"/>
                </a:lnTo>
                <a:lnTo>
                  <a:pt x="43594" y="23002"/>
                </a:lnTo>
                <a:lnTo>
                  <a:pt x="43561" y="22924"/>
                </a:lnTo>
                <a:lnTo>
                  <a:pt x="43529" y="22849"/>
                </a:lnTo>
                <a:lnTo>
                  <a:pt x="43494" y="22774"/>
                </a:lnTo>
                <a:lnTo>
                  <a:pt x="43459" y="22698"/>
                </a:lnTo>
                <a:lnTo>
                  <a:pt x="43422" y="22624"/>
                </a:lnTo>
                <a:lnTo>
                  <a:pt x="43385" y="22550"/>
                </a:lnTo>
                <a:lnTo>
                  <a:pt x="43347" y="22476"/>
                </a:lnTo>
                <a:lnTo>
                  <a:pt x="43307" y="22404"/>
                </a:lnTo>
                <a:lnTo>
                  <a:pt x="43267" y="22331"/>
                </a:lnTo>
                <a:lnTo>
                  <a:pt x="43226" y="22260"/>
                </a:lnTo>
                <a:lnTo>
                  <a:pt x="43184" y="22188"/>
                </a:lnTo>
                <a:lnTo>
                  <a:pt x="43142" y="22117"/>
                </a:lnTo>
                <a:lnTo>
                  <a:pt x="43098" y="22047"/>
                </a:lnTo>
                <a:lnTo>
                  <a:pt x="43054" y="21978"/>
                </a:lnTo>
                <a:lnTo>
                  <a:pt x="43008" y="21909"/>
                </a:lnTo>
                <a:lnTo>
                  <a:pt x="42963" y="21840"/>
                </a:lnTo>
                <a:lnTo>
                  <a:pt x="42916" y="21773"/>
                </a:lnTo>
                <a:lnTo>
                  <a:pt x="42868" y="21705"/>
                </a:lnTo>
                <a:lnTo>
                  <a:pt x="42819" y="21638"/>
                </a:lnTo>
                <a:lnTo>
                  <a:pt x="42769" y="21572"/>
                </a:lnTo>
                <a:lnTo>
                  <a:pt x="42719" y="21506"/>
                </a:lnTo>
                <a:lnTo>
                  <a:pt x="42668" y="21441"/>
                </a:lnTo>
                <a:lnTo>
                  <a:pt x="42616" y="21376"/>
                </a:lnTo>
                <a:lnTo>
                  <a:pt x="42564" y="21312"/>
                </a:lnTo>
                <a:lnTo>
                  <a:pt x="42510" y="21249"/>
                </a:lnTo>
                <a:lnTo>
                  <a:pt x="42455" y="21186"/>
                </a:lnTo>
                <a:lnTo>
                  <a:pt x="42401" y="21124"/>
                </a:lnTo>
                <a:lnTo>
                  <a:pt x="42345" y="21062"/>
                </a:lnTo>
                <a:lnTo>
                  <a:pt x="42289" y="21001"/>
                </a:lnTo>
                <a:lnTo>
                  <a:pt x="42232" y="20940"/>
                </a:lnTo>
                <a:lnTo>
                  <a:pt x="42173" y="20880"/>
                </a:lnTo>
                <a:lnTo>
                  <a:pt x="42114" y="20821"/>
                </a:lnTo>
                <a:lnTo>
                  <a:pt x="42054" y="20762"/>
                </a:lnTo>
                <a:lnTo>
                  <a:pt x="41995" y="20704"/>
                </a:lnTo>
                <a:lnTo>
                  <a:pt x="41933" y="20647"/>
                </a:lnTo>
                <a:lnTo>
                  <a:pt x="41872" y="20589"/>
                </a:lnTo>
                <a:lnTo>
                  <a:pt x="41809" y="20533"/>
                </a:lnTo>
                <a:lnTo>
                  <a:pt x="41746" y="20477"/>
                </a:lnTo>
                <a:lnTo>
                  <a:pt x="41682" y="20422"/>
                </a:lnTo>
                <a:lnTo>
                  <a:pt x="41618" y="20367"/>
                </a:lnTo>
                <a:lnTo>
                  <a:pt x="41553" y="20312"/>
                </a:lnTo>
                <a:lnTo>
                  <a:pt x="41487" y="20259"/>
                </a:lnTo>
                <a:lnTo>
                  <a:pt x="41421" y="20206"/>
                </a:lnTo>
                <a:lnTo>
                  <a:pt x="41354" y="20154"/>
                </a:lnTo>
                <a:lnTo>
                  <a:pt x="41287" y="20102"/>
                </a:lnTo>
                <a:lnTo>
                  <a:pt x="41218" y="20051"/>
                </a:lnTo>
                <a:lnTo>
                  <a:pt x="41149" y="20000"/>
                </a:lnTo>
                <a:lnTo>
                  <a:pt x="41079" y="19950"/>
                </a:lnTo>
                <a:lnTo>
                  <a:pt x="41009" y="19902"/>
                </a:lnTo>
                <a:lnTo>
                  <a:pt x="40939" y="19853"/>
                </a:lnTo>
                <a:lnTo>
                  <a:pt x="40867" y="19804"/>
                </a:lnTo>
                <a:lnTo>
                  <a:pt x="40796" y="19757"/>
                </a:lnTo>
                <a:lnTo>
                  <a:pt x="40723" y="19710"/>
                </a:lnTo>
                <a:lnTo>
                  <a:pt x="40650" y="19664"/>
                </a:lnTo>
                <a:lnTo>
                  <a:pt x="40576" y="19618"/>
                </a:lnTo>
                <a:lnTo>
                  <a:pt x="40502" y="19573"/>
                </a:lnTo>
                <a:lnTo>
                  <a:pt x="40427" y="19528"/>
                </a:lnTo>
                <a:lnTo>
                  <a:pt x="40352" y="19485"/>
                </a:lnTo>
                <a:lnTo>
                  <a:pt x="40277" y="19442"/>
                </a:lnTo>
                <a:lnTo>
                  <a:pt x="40200" y="19399"/>
                </a:lnTo>
                <a:lnTo>
                  <a:pt x="40123" y="19357"/>
                </a:lnTo>
                <a:lnTo>
                  <a:pt x="40046" y="19316"/>
                </a:lnTo>
                <a:lnTo>
                  <a:pt x="39968" y="19275"/>
                </a:lnTo>
                <a:lnTo>
                  <a:pt x="39889" y="19235"/>
                </a:lnTo>
                <a:lnTo>
                  <a:pt x="39811" y="19196"/>
                </a:lnTo>
                <a:lnTo>
                  <a:pt x="39732" y="19158"/>
                </a:lnTo>
                <a:lnTo>
                  <a:pt x="39651" y="19119"/>
                </a:lnTo>
                <a:lnTo>
                  <a:pt x="39571" y="19081"/>
                </a:lnTo>
                <a:lnTo>
                  <a:pt x="39490" y="19045"/>
                </a:lnTo>
                <a:lnTo>
                  <a:pt x="39410" y="19008"/>
                </a:lnTo>
                <a:lnTo>
                  <a:pt x="39328" y="18973"/>
                </a:lnTo>
                <a:lnTo>
                  <a:pt x="39246" y="18938"/>
                </a:lnTo>
                <a:lnTo>
                  <a:pt x="39164" y="18904"/>
                </a:lnTo>
                <a:lnTo>
                  <a:pt x="39081" y="18870"/>
                </a:lnTo>
                <a:lnTo>
                  <a:pt x="38997" y="18838"/>
                </a:lnTo>
                <a:lnTo>
                  <a:pt x="38914" y="18805"/>
                </a:lnTo>
                <a:lnTo>
                  <a:pt x="38829" y="18773"/>
                </a:lnTo>
                <a:lnTo>
                  <a:pt x="38745" y="18742"/>
                </a:lnTo>
                <a:lnTo>
                  <a:pt x="38660" y="18711"/>
                </a:lnTo>
                <a:lnTo>
                  <a:pt x="38575" y="18683"/>
                </a:lnTo>
                <a:lnTo>
                  <a:pt x="38490" y="18653"/>
                </a:lnTo>
                <a:lnTo>
                  <a:pt x="38403" y="18625"/>
                </a:lnTo>
                <a:lnTo>
                  <a:pt x="38317" y="18597"/>
                </a:lnTo>
                <a:lnTo>
                  <a:pt x="38231" y="18570"/>
                </a:lnTo>
                <a:lnTo>
                  <a:pt x="38143" y="18544"/>
                </a:lnTo>
                <a:lnTo>
                  <a:pt x="38057" y="18518"/>
                </a:lnTo>
                <a:lnTo>
                  <a:pt x="37968" y="18493"/>
                </a:lnTo>
                <a:lnTo>
                  <a:pt x="37881" y="18469"/>
                </a:lnTo>
                <a:lnTo>
                  <a:pt x="37792" y="18445"/>
                </a:lnTo>
                <a:lnTo>
                  <a:pt x="37705" y="18421"/>
                </a:lnTo>
                <a:lnTo>
                  <a:pt x="37615" y="18399"/>
                </a:lnTo>
                <a:lnTo>
                  <a:pt x="37526" y="18378"/>
                </a:lnTo>
                <a:lnTo>
                  <a:pt x="37436" y="18357"/>
                </a:lnTo>
                <a:lnTo>
                  <a:pt x="37348" y="18336"/>
                </a:lnTo>
                <a:lnTo>
                  <a:pt x="37257" y="18317"/>
                </a:lnTo>
                <a:lnTo>
                  <a:pt x="37167" y="18298"/>
                </a:lnTo>
                <a:lnTo>
                  <a:pt x="37167" y="18298"/>
                </a:lnTo>
                <a:lnTo>
                  <a:pt x="37018" y="18267"/>
                </a:lnTo>
                <a:lnTo>
                  <a:pt x="36868" y="18239"/>
                </a:lnTo>
                <a:lnTo>
                  <a:pt x="36718" y="18211"/>
                </a:lnTo>
                <a:lnTo>
                  <a:pt x="36569" y="18183"/>
                </a:lnTo>
                <a:lnTo>
                  <a:pt x="36418" y="18158"/>
                </a:lnTo>
                <a:lnTo>
                  <a:pt x="36269" y="18133"/>
                </a:lnTo>
                <a:lnTo>
                  <a:pt x="36118" y="18109"/>
                </a:lnTo>
                <a:lnTo>
                  <a:pt x="35968" y="18087"/>
                </a:lnTo>
                <a:lnTo>
                  <a:pt x="35817" y="18065"/>
                </a:lnTo>
                <a:lnTo>
                  <a:pt x="35667" y="18044"/>
                </a:lnTo>
                <a:lnTo>
                  <a:pt x="35517" y="18024"/>
                </a:lnTo>
                <a:lnTo>
                  <a:pt x="35366" y="18004"/>
                </a:lnTo>
                <a:lnTo>
                  <a:pt x="35216" y="17986"/>
                </a:lnTo>
                <a:lnTo>
                  <a:pt x="35064" y="17968"/>
                </a:lnTo>
                <a:lnTo>
                  <a:pt x="34914" y="17952"/>
                </a:lnTo>
                <a:lnTo>
                  <a:pt x="34762" y="17935"/>
                </a:lnTo>
                <a:lnTo>
                  <a:pt x="34611" y="17920"/>
                </a:lnTo>
                <a:lnTo>
                  <a:pt x="34460" y="17905"/>
                </a:lnTo>
                <a:lnTo>
                  <a:pt x="34158" y="17878"/>
                </a:lnTo>
                <a:lnTo>
                  <a:pt x="33856" y="17853"/>
                </a:lnTo>
                <a:lnTo>
                  <a:pt x="33552" y="17830"/>
                </a:lnTo>
                <a:lnTo>
                  <a:pt x="33249" y="17810"/>
                </a:lnTo>
                <a:lnTo>
                  <a:pt x="32946" y="17791"/>
                </a:lnTo>
                <a:lnTo>
                  <a:pt x="32643" y="17774"/>
                </a:lnTo>
                <a:lnTo>
                  <a:pt x="32338" y="17757"/>
                </a:lnTo>
                <a:lnTo>
                  <a:pt x="32035" y="17743"/>
                </a:lnTo>
                <a:lnTo>
                  <a:pt x="31732" y="17728"/>
                </a:lnTo>
                <a:lnTo>
                  <a:pt x="31124" y="17702"/>
                </a:lnTo>
                <a:lnTo>
                  <a:pt x="30516" y="17676"/>
                </a:lnTo>
                <a:lnTo>
                  <a:pt x="29908" y="17650"/>
                </a:lnTo>
                <a:lnTo>
                  <a:pt x="29604" y="17636"/>
                </a:lnTo>
                <a:lnTo>
                  <a:pt x="29301" y="17621"/>
                </a:lnTo>
                <a:lnTo>
                  <a:pt x="28998" y="17605"/>
                </a:lnTo>
                <a:lnTo>
                  <a:pt x="28694" y="17588"/>
                </a:lnTo>
                <a:lnTo>
                  <a:pt x="28391" y="17569"/>
                </a:lnTo>
                <a:lnTo>
                  <a:pt x="28088" y="17548"/>
                </a:lnTo>
                <a:lnTo>
                  <a:pt x="27786" y="17524"/>
                </a:lnTo>
                <a:lnTo>
                  <a:pt x="27482" y="17499"/>
                </a:lnTo>
                <a:lnTo>
                  <a:pt x="27482" y="17499"/>
                </a:lnTo>
                <a:lnTo>
                  <a:pt x="27309" y="17483"/>
                </a:lnTo>
                <a:lnTo>
                  <a:pt x="27130" y="17467"/>
                </a:lnTo>
                <a:lnTo>
                  <a:pt x="26948" y="17447"/>
                </a:lnTo>
                <a:lnTo>
                  <a:pt x="26764" y="17427"/>
                </a:lnTo>
                <a:lnTo>
                  <a:pt x="26577" y="17404"/>
                </a:lnTo>
                <a:lnTo>
                  <a:pt x="26388" y="17379"/>
                </a:lnTo>
                <a:lnTo>
                  <a:pt x="26197" y="17353"/>
                </a:lnTo>
                <a:lnTo>
                  <a:pt x="26005" y="17323"/>
                </a:lnTo>
                <a:lnTo>
                  <a:pt x="25811" y="17292"/>
                </a:lnTo>
                <a:lnTo>
                  <a:pt x="25616" y="17258"/>
                </a:lnTo>
                <a:lnTo>
                  <a:pt x="25518" y="17240"/>
                </a:lnTo>
                <a:lnTo>
                  <a:pt x="25420" y="17221"/>
                </a:lnTo>
                <a:lnTo>
                  <a:pt x="25323" y="17201"/>
                </a:lnTo>
                <a:lnTo>
                  <a:pt x="25225" y="17181"/>
                </a:lnTo>
                <a:lnTo>
                  <a:pt x="25127" y="17160"/>
                </a:lnTo>
                <a:lnTo>
                  <a:pt x="25031" y="17138"/>
                </a:lnTo>
                <a:lnTo>
                  <a:pt x="24933" y="17116"/>
                </a:lnTo>
                <a:lnTo>
                  <a:pt x="24836" y="17093"/>
                </a:lnTo>
                <a:lnTo>
                  <a:pt x="24738" y="17068"/>
                </a:lnTo>
                <a:lnTo>
                  <a:pt x="24641" y="17043"/>
                </a:lnTo>
                <a:lnTo>
                  <a:pt x="24545" y="17017"/>
                </a:lnTo>
                <a:lnTo>
                  <a:pt x="24449" y="16991"/>
                </a:lnTo>
                <a:lnTo>
                  <a:pt x="24353" y="16963"/>
                </a:lnTo>
                <a:lnTo>
                  <a:pt x="24257" y="16935"/>
                </a:lnTo>
                <a:lnTo>
                  <a:pt x="24163" y="16906"/>
                </a:lnTo>
                <a:lnTo>
                  <a:pt x="24068" y="16876"/>
                </a:lnTo>
                <a:lnTo>
                  <a:pt x="23974" y="16845"/>
                </a:lnTo>
                <a:lnTo>
                  <a:pt x="23880" y="16813"/>
                </a:lnTo>
                <a:lnTo>
                  <a:pt x="23788" y="16779"/>
                </a:lnTo>
                <a:lnTo>
                  <a:pt x="23696" y="16745"/>
                </a:lnTo>
                <a:lnTo>
                  <a:pt x="23605" y="16710"/>
                </a:lnTo>
                <a:lnTo>
                  <a:pt x="23514" y="16674"/>
                </a:lnTo>
                <a:lnTo>
                  <a:pt x="23424" y="16636"/>
                </a:lnTo>
                <a:lnTo>
                  <a:pt x="23336" y="16599"/>
                </a:lnTo>
                <a:lnTo>
                  <a:pt x="23248" y="16559"/>
                </a:lnTo>
                <a:lnTo>
                  <a:pt x="23161" y="16519"/>
                </a:lnTo>
                <a:lnTo>
                  <a:pt x="23075" y="16478"/>
                </a:lnTo>
                <a:lnTo>
                  <a:pt x="22989" y="16435"/>
                </a:lnTo>
                <a:lnTo>
                  <a:pt x="22907" y="16392"/>
                </a:lnTo>
                <a:lnTo>
                  <a:pt x="22823" y="16346"/>
                </a:lnTo>
                <a:lnTo>
                  <a:pt x="22741" y="16301"/>
                </a:lnTo>
                <a:lnTo>
                  <a:pt x="22660" y="16253"/>
                </a:lnTo>
                <a:lnTo>
                  <a:pt x="22581" y="16205"/>
                </a:lnTo>
                <a:lnTo>
                  <a:pt x="22504" y="16156"/>
                </a:lnTo>
                <a:lnTo>
                  <a:pt x="22427" y="16105"/>
                </a:lnTo>
                <a:lnTo>
                  <a:pt x="22351" y="16053"/>
                </a:lnTo>
                <a:lnTo>
                  <a:pt x="22278" y="16000"/>
                </a:lnTo>
                <a:lnTo>
                  <a:pt x="22206" y="15944"/>
                </a:lnTo>
                <a:lnTo>
                  <a:pt x="22134" y="15889"/>
                </a:lnTo>
                <a:lnTo>
                  <a:pt x="22064" y="15832"/>
                </a:lnTo>
                <a:lnTo>
                  <a:pt x="21997" y="15773"/>
                </a:lnTo>
                <a:lnTo>
                  <a:pt x="21930" y="15713"/>
                </a:lnTo>
                <a:lnTo>
                  <a:pt x="21866" y="15652"/>
                </a:lnTo>
                <a:lnTo>
                  <a:pt x="21803" y="15589"/>
                </a:lnTo>
                <a:lnTo>
                  <a:pt x="21803" y="15589"/>
                </a:lnTo>
                <a:lnTo>
                  <a:pt x="21765" y="15549"/>
                </a:lnTo>
                <a:lnTo>
                  <a:pt x="21726" y="15508"/>
                </a:lnTo>
                <a:lnTo>
                  <a:pt x="21689" y="15467"/>
                </a:lnTo>
                <a:lnTo>
                  <a:pt x="21653" y="15424"/>
                </a:lnTo>
                <a:lnTo>
                  <a:pt x="21618" y="15382"/>
                </a:lnTo>
                <a:lnTo>
                  <a:pt x="21583" y="15339"/>
                </a:lnTo>
                <a:lnTo>
                  <a:pt x="21549" y="15295"/>
                </a:lnTo>
                <a:lnTo>
                  <a:pt x="21516" y="15250"/>
                </a:lnTo>
                <a:lnTo>
                  <a:pt x="21484" y="15205"/>
                </a:lnTo>
                <a:lnTo>
                  <a:pt x="21452" y="15160"/>
                </a:lnTo>
                <a:lnTo>
                  <a:pt x="21422" y="15113"/>
                </a:lnTo>
                <a:lnTo>
                  <a:pt x="21391" y="15067"/>
                </a:lnTo>
                <a:lnTo>
                  <a:pt x="21362" y="15020"/>
                </a:lnTo>
                <a:lnTo>
                  <a:pt x="21333" y="14972"/>
                </a:lnTo>
                <a:lnTo>
                  <a:pt x="21306" y="14924"/>
                </a:lnTo>
                <a:lnTo>
                  <a:pt x="21278" y="14876"/>
                </a:lnTo>
                <a:lnTo>
                  <a:pt x="21253" y="14826"/>
                </a:lnTo>
                <a:lnTo>
                  <a:pt x="21227" y="14778"/>
                </a:lnTo>
                <a:lnTo>
                  <a:pt x="21202" y="14728"/>
                </a:lnTo>
                <a:lnTo>
                  <a:pt x="21178" y="14678"/>
                </a:lnTo>
                <a:lnTo>
                  <a:pt x="21155" y="14627"/>
                </a:lnTo>
                <a:lnTo>
                  <a:pt x="21132" y="14576"/>
                </a:lnTo>
                <a:lnTo>
                  <a:pt x="21110" y="14525"/>
                </a:lnTo>
                <a:lnTo>
                  <a:pt x="21089" y="14474"/>
                </a:lnTo>
                <a:lnTo>
                  <a:pt x="21068" y="14422"/>
                </a:lnTo>
                <a:lnTo>
                  <a:pt x="21048" y="14370"/>
                </a:lnTo>
                <a:lnTo>
                  <a:pt x="21030" y="14317"/>
                </a:lnTo>
                <a:lnTo>
                  <a:pt x="21011" y="14265"/>
                </a:lnTo>
                <a:lnTo>
                  <a:pt x="20992" y="14212"/>
                </a:lnTo>
                <a:lnTo>
                  <a:pt x="20976" y="14159"/>
                </a:lnTo>
                <a:lnTo>
                  <a:pt x="20943" y="14051"/>
                </a:lnTo>
                <a:lnTo>
                  <a:pt x="20913" y="13944"/>
                </a:lnTo>
                <a:lnTo>
                  <a:pt x="20886" y="13835"/>
                </a:lnTo>
                <a:lnTo>
                  <a:pt x="20862" y="13726"/>
                </a:lnTo>
                <a:lnTo>
                  <a:pt x="20839" y="13616"/>
                </a:lnTo>
                <a:lnTo>
                  <a:pt x="20819" y="13506"/>
                </a:lnTo>
                <a:lnTo>
                  <a:pt x="20801" y="13396"/>
                </a:lnTo>
                <a:lnTo>
                  <a:pt x="20786" y="13286"/>
                </a:lnTo>
                <a:lnTo>
                  <a:pt x="20773" y="13175"/>
                </a:lnTo>
                <a:lnTo>
                  <a:pt x="20763" y="13065"/>
                </a:lnTo>
                <a:lnTo>
                  <a:pt x="20753" y="12955"/>
                </a:lnTo>
                <a:lnTo>
                  <a:pt x="20748" y="12845"/>
                </a:lnTo>
                <a:lnTo>
                  <a:pt x="20743" y="12736"/>
                </a:lnTo>
                <a:lnTo>
                  <a:pt x="20741" y="12627"/>
                </a:lnTo>
                <a:lnTo>
                  <a:pt x="20739" y="12519"/>
                </a:lnTo>
                <a:lnTo>
                  <a:pt x="20741" y="12413"/>
                </a:lnTo>
                <a:lnTo>
                  <a:pt x="20744" y="12305"/>
                </a:lnTo>
                <a:lnTo>
                  <a:pt x="20744" y="12305"/>
                </a:lnTo>
                <a:lnTo>
                  <a:pt x="20750" y="12190"/>
                </a:lnTo>
                <a:lnTo>
                  <a:pt x="20759" y="12074"/>
                </a:lnTo>
                <a:lnTo>
                  <a:pt x="20769" y="11958"/>
                </a:lnTo>
                <a:lnTo>
                  <a:pt x="20781" y="11841"/>
                </a:lnTo>
                <a:lnTo>
                  <a:pt x="20794" y="11725"/>
                </a:lnTo>
                <a:lnTo>
                  <a:pt x="20809" y="11609"/>
                </a:lnTo>
                <a:lnTo>
                  <a:pt x="20841" y="11374"/>
                </a:lnTo>
                <a:lnTo>
                  <a:pt x="20872" y="11140"/>
                </a:lnTo>
                <a:lnTo>
                  <a:pt x="20889" y="11023"/>
                </a:lnTo>
                <a:lnTo>
                  <a:pt x="20904" y="10907"/>
                </a:lnTo>
                <a:lnTo>
                  <a:pt x="20918" y="10789"/>
                </a:lnTo>
                <a:lnTo>
                  <a:pt x="20931" y="10673"/>
                </a:lnTo>
                <a:lnTo>
                  <a:pt x="20941" y="10556"/>
                </a:lnTo>
                <a:lnTo>
                  <a:pt x="20952" y="10440"/>
                </a:lnTo>
                <a:lnTo>
                  <a:pt x="20959" y="10323"/>
                </a:lnTo>
                <a:lnTo>
                  <a:pt x="20963" y="10207"/>
                </a:lnTo>
                <a:lnTo>
                  <a:pt x="20964" y="10150"/>
                </a:lnTo>
                <a:lnTo>
                  <a:pt x="20966" y="10092"/>
                </a:lnTo>
                <a:lnTo>
                  <a:pt x="20966" y="10034"/>
                </a:lnTo>
                <a:lnTo>
                  <a:pt x="20964" y="9977"/>
                </a:lnTo>
                <a:lnTo>
                  <a:pt x="20962" y="9919"/>
                </a:lnTo>
                <a:lnTo>
                  <a:pt x="20960" y="9862"/>
                </a:lnTo>
                <a:lnTo>
                  <a:pt x="20956" y="9804"/>
                </a:lnTo>
                <a:lnTo>
                  <a:pt x="20952" y="9747"/>
                </a:lnTo>
                <a:lnTo>
                  <a:pt x="20947" y="9689"/>
                </a:lnTo>
                <a:lnTo>
                  <a:pt x="20940" y="9632"/>
                </a:lnTo>
                <a:lnTo>
                  <a:pt x="20933" y="9575"/>
                </a:lnTo>
                <a:lnTo>
                  <a:pt x="20924" y="9518"/>
                </a:lnTo>
                <a:lnTo>
                  <a:pt x="20914" y="9462"/>
                </a:lnTo>
                <a:lnTo>
                  <a:pt x="20904" y="9405"/>
                </a:lnTo>
                <a:lnTo>
                  <a:pt x="20891" y="9349"/>
                </a:lnTo>
                <a:lnTo>
                  <a:pt x="20878" y="9293"/>
                </a:lnTo>
                <a:lnTo>
                  <a:pt x="20863" y="9236"/>
                </a:lnTo>
                <a:lnTo>
                  <a:pt x="20847" y="9181"/>
                </a:lnTo>
                <a:lnTo>
                  <a:pt x="20830" y="9124"/>
                </a:lnTo>
                <a:lnTo>
                  <a:pt x="20811" y="9069"/>
                </a:lnTo>
                <a:lnTo>
                  <a:pt x="20791" y="9014"/>
                </a:lnTo>
                <a:lnTo>
                  <a:pt x="20770" y="8958"/>
                </a:lnTo>
                <a:lnTo>
                  <a:pt x="20746" y="8903"/>
                </a:lnTo>
                <a:lnTo>
                  <a:pt x="20722" y="8847"/>
                </a:lnTo>
                <a:lnTo>
                  <a:pt x="20695" y="8792"/>
                </a:lnTo>
                <a:lnTo>
                  <a:pt x="20667" y="8738"/>
                </a:lnTo>
                <a:lnTo>
                  <a:pt x="20638" y="8684"/>
                </a:lnTo>
                <a:lnTo>
                  <a:pt x="20606" y="8628"/>
                </a:lnTo>
                <a:lnTo>
                  <a:pt x="20606" y="8628"/>
                </a:lnTo>
                <a:lnTo>
                  <a:pt x="20582" y="8588"/>
                </a:lnTo>
                <a:lnTo>
                  <a:pt x="20556" y="8549"/>
                </a:lnTo>
                <a:lnTo>
                  <a:pt x="20529" y="8510"/>
                </a:lnTo>
                <a:lnTo>
                  <a:pt x="20503" y="8472"/>
                </a:lnTo>
                <a:lnTo>
                  <a:pt x="20473" y="8434"/>
                </a:lnTo>
                <a:lnTo>
                  <a:pt x="20444" y="8398"/>
                </a:lnTo>
                <a:lnTo>
                  <a:pt x="20415" y="8361"/>
                </a:lnTo>
                <a:lnTo>
                  <a:pt x="20384" y="8326"/>
                </a:lnTo>
                <a:lnTo>
                  <a:pt x="20352" y="8292"/>
                </a:lnTo>
                <a:lnTo>
                  <a:pt x="20319" y="8257"/>
                </a:lnTo>
                <a:lnTo>
                  <a:pt x="20286" y="8224"/>
                </a:lnTo>
                <a:lnTo>
                  <a:pt x="20252" y="8191"/>
                </a:lnTo>
                <a:lnTo>
                  <a:pt x="20217" y="8159"/>
                </a:lnTo>
                <a:lnTo>
                  <a:pt x="20181" y="8128"/>
                </a:lnTo>
                <a:lnTo>
                  <a:pt x="20145" y="8097"/>
                </a:lnTo>
                <a:lnTo>
                  <a:pt x="20107" y="8066"/>
                </a:lnTo>
                <a:lnTo>
                  <a:pt x="20070" y="8036"/>
                </a:lnTo>
                <a:lnTo>
                  <a:pt x="20031" y="8007"/>
                </a:lnTo>
                <a:lnTo>
                  <a:pt x="19992" y="7978"/>
                </a:lnTo>
                <a:lnTo>
                  <a:pt x="19952" y="7951"/>
                </a:lnTo>
                <a:lnTo>
                  <a:pt x="19912" y="7923"/>
                </a:lnTo>
                <a:lnTo>
                  <a:pt x="19872" y="7895"/>
                </a:lnTo>
                <a:lnTo>
                  <a:pt x="19830" y="7869"/>
                </a:lnTo>
                <a:lnTo>
                  <a:pt x="19788" y="7843"/>
                </a:lnTo>
                <a:lnTo>
                  <a:pt x="19746" y="7818"/>
                </a:lnTo>
                <a:lnTo>
                  <a:pt x="19702" y="7793"/>
                </a:lnTo>
                <a:lnTo>
                  <a:pt x="19616" y="7745"/>
                </a:lnTo>
                <a:lnTo>
                  <a:pt x="19527" y="7698"/>
                </a:lnTo>
                <a:lnTo>
                  <a:pt x="19438" y="7654"/>
                </a:lnTo>
                <a:lnTo>
                  <a:pt x="19346" y="7612"/>
                </a:lnTo>
                <a:lnTo>
                  <a:pt x="19253" y="7571"/>
                </a:lnTo>
                <a:lnTo>
                  <a:pt x="19160" y="7532"/>
                </a:lnTo>
                <a:lnTo>
                  <a:pt x="19066" y="7496"/>
                </a:lnTo>
                <a:lnTo>
                  <a:pt x="18971" y="7459"/>
                </a:lnTo>
                <a:lnTo>
                  <a:pt x="18875" y="7426"/>
                </a:lnTo>
                <a:lnTo>
                  <a:pt x="18781" y="7393"/>
                </a:lnTo>
                <a:lnTo>
                  <a:pt x="18685" y="7362"/>
                </a:lnTo>
                <a:lnTo>
                  <a:pt x="18590" y="7332"/>
                </a:lnTo>
                <a:lnTo>
                  <a:pt x="18494" y="7303"/>
                </a:lnTo>
                <a:lnTo>
                  <a:pt x="18400" y="7275"/>
                </a:lnTo>
                <a:lnTo>
                  <a:pt x="18305" y="7250"/>
                </a:lnTo>
                <a:lnTo>
                  <a:pt x="18212" y="7224"/>
                </a:lnTo>
                <a:lnTo>
                  <a:pt x="18120" y="7200"/>
                </a:lnTo>
                <a:lnTo>
                  <a:pt x="17938" y="7155"/>
                </a:lnTo>
                <a:lnTo>
                  <a:pt x="17938" y="7155"/>
                </a:lnTo>
                <a:lnTo>
                  <a:pt x="17834" y="7130"/>
                </a:lnTo>
                <a:lnTo>
                  <a:pt x="17728" y="7108"/>
                </a:lnTo>
                <a:lnTo>
                  <a:pt x="17619" y="7087"/>
                </a:lnTo>
                <a:lnTo>
                  <a:pt x="17508" y="7069"/>
                </a:lnTo>
                <a:lnTo>
                  <a:pt x="17395" y="7052"/>
                </a:lnTo>
                <a:lnTo>
                  <a:pt x="17281" y="7037"/>
                </a:lnTo>
                <a:lnTo>
                  <a:pt x="17164" y="7024"/>
                </a:lnTo>
                <a:lnTo>
                  <a:pt x="17047" y="7012"/>
                </a:lnTo>
                <a:lnTo>
                  <a:pt x="16926" y="7001"/>
                </a:lnTo>
                <a:lnTo>
                  <a:pt x="16805" y="6992"/>
                </a:lnTo>
                <a:lnTo>
                  <a:pt x="16681" y="6983"/>
                </a:lnTo>
                <a:lnTo>
                  <a:pt x="16557" y="6976"/>
                </a:lnTo>
                <a:lnTo>
                  <a:pt x="16431" y="6971"/>
                </a:lnTo>
                <a:lnTo>
                  <a:pt x="16304" y="6965"/>
                </a:lnTo>
                <a:lnTo>
                  <a:pt x="16175" y="6961"/>
                </a:lnTo>
                <a:lnTo>
                  <a:pt x="16046" y="6959"/>
                </a:lnTo>
                <a:lnTo>
                  <a:pt x="15784" y="6953"/>
                </a:lnTo>
                <a:lnTo>
                  <a:pt x="15519" y="6951"/>
                </a:lnTo>
                <a:lnTo>
                  <a:pt x="15250" y="6950"/>
                </a:lnTo>
                <a:lnTo>
                  <a:pt x="14981" y="6950"/>
                </a:lnTo>
                <a:lnTo>
                  <a:pt x="14709" y="6949"/>
                </a:lnTo>
                <a:lnTo>
                  <a:pt x="14437" y="6948"/>
                </a:lnTo>
                <a:lnTo>
                  <a:pt x="14166" y="6944"/>
                </a:lnTo>
                <a:lnTo>
                  <a:pt x="14030" y="6942"/>
                </a:lnTo>
                <a:lnTo>
                  <a:pt x="13895" y="6940"/>
                </a:lnTo>
                <a:lnTo>
                  <a:pt x="13760" y="6936"/>
                </a:lnTo>
                <a:lnTo>
                  <a:pt x="13624" y="6932"/>
                </a:lnTo>
                <a:lnTo>
                  <a:pt x="13490" y="6927"/>
                </a:lnTo>
                <a:lnTo>
                  <a:pt x="13357" y="6920"/>
                </a:lnTo>
                <a:lnTo>
                  <a:pt x="13224" y="6913"/>
                </a:lnTo>
                <a:lnTo>
                  <a:pt x="13092" y="6904"/>
                </a:lnTo>
                <a:lnTo>
                  <a:pt x="12961" y="6894"/>
                </a:lnTo>
                <a:lnTo>
                  <a:pt x="12831" y="6883"/>
                </a:lnTo>
                <a:lnTo>
                  <a:pt x="12702" y="6871"/>
                </a:lnTo>
                <a:lnTo>
                  <a:pt x="12573" y="6857"/>
                </a:lnTo>
                <a:lnTo>
                  <a:pt x="12446" y="6841"/>
                </a:lnTo>
                <a:lnTo>
                  <a:pt x="12320" y="6824"/>
                </a:lnTo>
                <a:lnTo>
                  <a:pt x="12197" y="6804"/>
                </a:lnTo>
                <a:lnTo>
                  <a:pt x="12073" y="6783"/>
                </a:lnTo>
                <a:lnTo>
                  <a:pt x="11952" y="6759"/>
                </a:lnTo>
                <a:lnTo>
                  <a:pt x="11833" y="6735"/>
                </a:lnTo>
                <a:lnTo>
                  <a:pt x="11715" y="6707"/>
                </a:lnTo>
                <a:lnTo>
                  <a:pt x="11657" y="6693"/>
                </a:lnTo>
                <a:lnTo>
                  <a:pt x="11598" y="6677"/>
                </a:lnTo>
                <a:lnTo>
                  <a:pt x="11541" y="6662"/>
                </a:lnTo>
                <a:lnTo>
                  <a:pt x="11484" y="6645"/>
                </a:lnTo>
                <a:lnTo>
                  <a:pt x="11428" y="6629"/>
                </a:lnTo>
                <a:lnTo>
                  <a:pt x="11372" y="6611"/>
                </a:lnTo>
                <a:lnTo>
                  <a:pt x="11317" y="6593"/>
                </a:lnTo>
                <a:lnTo>
                  <a:pt x="11261" y="6574"/>
                </a:lnTo>
                <a:lnTo>
                  <a:pt x="11208" y="6555"/>
                </a:lnTo>
                <a:lnTo>
                  <a:pt x="11154" y="6535"/>
                </a:lnTo>
                <a:lnTo>
                  <a:pt x="11100" y="6515"/>
                </a:lnTo>
                <a:lnTo>
                  <a:pt x="11048" y="6493"/>
                </a:lnTo>
                <a:lnTo>
                  <a:pt x="10995" y="6470"/>
                </a:lnTo>
                <a:lnTo>
                  <a:pt x="10944" y="6448"/>
                </a:lnTo>
                <a:lnTo>
                  <a:pt x="10894" y="6424"/>
                </a:lnTo>
                <a:lnTo>
                  <a:pt x="10844" y="6399"/>
                </a:lnTo>
                <a:lnTo>
                  <a:pt x="10793" y="6375"/>
                </a:lnTo>
                <a:lnTo>
                  <a:pt x="10744" y="6350"/>
                </a:lnTo>
                <a:lnTo>
                  <a:pt x="10695" y="6323"/>
                </a:lnTo>
                <a:lnTo>
                  <a:pt x="10648" y="6295"/>
                </a:lnTo>
                <a:lnTo>
                  <a:pt x="10601" y="6268"/>
                </a:lnTo>
                <a:lnTo>
                  <a:pt x="10554" y="6238"/>
                </a:lnTo>
                <a:lnTo>
                  <a:pt x="10509" y="6209"/>
                </a:lnTo>
                <a:lnTo>
                  <a:pt x="10465" y="6178"/>
                </a:lnTo>
                <a:lnTo>
                  <a:pt x="10420" y="6147"/>
                </a:lnTo>
                <a:lnTo>
                  <a:pt x="10376" y="6115"/>
                </a:lnTo>
                <a:lnTo>
                  <a:pt x="10333" y="6082"/>
                </a:lnTo>
                <a:lnTo>
                  <a:pt x="10291" y="6047"/>
                </a:lnTo>
                <a:lnTo>
                  <a:pt x="10250" y="6013"/>
                </a:lnTo>
                <a:lnTo>
                  <a:pt x="10209" y="5978"/>
                </a:lnTo>
                <a:lnTo>
                  <a:pt x="10209" y="5978"/>
                </a:lnTo>
                <a:lnTo>
                  <a:pt x="10148" y="5918"/>
                </a:lnTo>
                <a:lnTo>
                  <a:pt x="10092" y="5859"/>
                </a:lnTo>
                <a:lnTo>
                  <a:pt x="10040" y="5802"/>
                </a:lnTo>
                <a:lnTo>
                  <a:pt x="9991" y="5744"/>
                </a:lnTo>
                <a:lnTo>
                  <a:pt x="9945" y="5686"/>
                </a:lnTo>
                <a:lnTo>
                  <a:pt x="9905" y="5630"/>
                </a:lnTo>
                <a:lnTo>
                  <a:pt x="9867" y="5574"/>
                </a:lnTo>
                <a:lnTo>
                  <a:pt x="9832" y="5517"/>
                </a:lnTo>
                <a:lnTo>
                  <a:pt x="9802" y="5462"/>
                </a:lnTo>
                <a:lnTo>
                  <a:pt x="9774" y="5406"/>
                </a:lnTo>
                <a:lnTo>
                  <a:pt x="9750" y="5351"/>
                </a:lnTo>
                <a:lnTo>
                  <a:pt x="9729" y="5297"/>
                </a:lnTo>
                <a:lnTo>
                  <a:pt x="9710" y="5241"/>
                </a:lnTo>
                <a:lnTo>
                  <a:pt x="9694" y="5188"/>
                </a:lnTo>
                <a:lnTo>
                  <a:pt x="9680" y="5134"/>
                </a:lnTo>
                <a:lnTo>
                  <a:pt x="9669" y="5080"/>
                </a:lnTo>
                <a:lnTo>
                  <a:pt x="9661" y="5027"/>
                </a:lnTo>
                <a:lnTo>
                  <a:pt x="9655" y="4973"/>
                </a:lnTo>
                <a:lnTo>
                  <a:pt x="9652" y="4920"/>
                </a:lnTo>
                <a:lnTo>
                  <a:pt x="9649" y="4867"/>
                </a:lnTo>
                <a:lnTo>
                  <a:pt x="9650" y="4814"/>
                </a:lnTo>
                <a:lnTo>
                  <a:pt x="9653" y="4761"/>
                </a:lnTo>
                <a:lnTo>
                  <a:pt x="9656" y="4709"/>
                </a:lnTo>
                <a:lnTo>
                  <a:pt x="9662" y="4656"/>
                </a:lnTo>
                <a:lnTo>
                  <a:pt x="9669" y="4604"/>
                </a:lnTo>
                <a:lnTo>
                  <a:pt x="9678" y="4551"/>
                </a:lnTo>
                <a:lnTo>
                  <a:pt x="9689" y="4498"/>
                </a:lnTo>
                <a:lnTo>
                  <a:pt x="9699" y="4445"/>
                </a:lnTo>
                <a:lnTo>
                  <a:pt x="9712" y="4392"/>
                </a:lnTo>
                <a:lnTo>
                  <a:pt x="9726" y="4340"/>
                </a:lnTo>
                <a:lnTo>
                  <a:pt x="9740" y="4287"/>
                </a:lnTo>
                <a:lnTo>
                  <a:pt x="9755" y="4234"/>
                </a:lnTo>
                <a:lnTo>
                  <a:pt x="9788" y="4128"/>
                </a:lnTo>
                <a:lnTo>
                  <a:pt x="9823" y="4020"/>
                </a:lnTo>
                <a:lnTo>
                  <a:pt x="9894" y="3803"/>
                </a:lnTo>
                <a:lnTo>
                  <a:pt x="9929" y="3694"/>
                </a:lnTo>
                <a:lnTo>
                  <a:pt x="9963" y="3582"/>
                </a:lnTo>
                <a:lnTo>
                  <a:pt x="9978" y="3525"/>
                </a:lnTo>
                <a:lnTo>
                  <a:pt x="9993" y="3469"/>
                </a:lnTo>
                <a:lnTo>
                  <a:pt x="10007" y="3411"/>
                </a:lnTo>
                <a:lnTo>
                  <a:pt x="10021" y="3354"/>
                </a:lnTo>
                <a:lnTo>
                  <a:pt x="10033" y="3295"/>
                </a:lnTo>
                <a:lnTo>
                  <a:pt x="10045" y="3237"/>
                </a:lnTo>
                <a:lnTo>
                  <a:pt x="10054" y="3178"/>
                </a:lnTo>
                <a:lnTo>
                  <a:pt x="10063" y="3118"/>
                </a:lnTo>
                <a:lnTo>
                  <a:pt x="10070" y="3058"/>
                </a:lnTo>
                <a:lnTo>
                  <a:pt x="10075" y="2997"/>
                </a:lnTo>
                <a:lnTo>
                  <a:pt x="10080" y="2936"/>
                </a:lnTo>
                <a:lnTo>
                  <a:pt x="10081" y="2874"/>
                </a:lnTo>
                <a:lnTo>
                  <a:pt x="10081" y="2811"/>
                </a:lnTo>
                <a:lnTo>
                  <a:pt x="10080" y="2748"/>
                </a:lnTo>
                <a:lnTo>
                  <a:pt x="10075" y="2685"/>
                </a:lnTo>
                <a:lnTo>
                  <a:pt x="10068" y="2620"/>
                </a:lnTo>
                <a:lnTo>
                  <a:pt x="10060" y="2554"/>
                </a:lnTo>
                <a:lnTo>
                  <a:pt x="10048" y="2489"/>
                </a:lnTo>
                <a:lnTo>
                  <a:pt x="10034" y="2421"/>
                </a:lnTo>
                <a:lnTo>
                  <a:pt x="10018" y="2354"/>
                </a:lnTo>
                <a:lnTo>
                  <a:pt x="10018" y="2354"/>
                </a:lnTo>
                <a:lnTo>
                  <a:pt x="10008" y="2316"/>
                </a:lnTo>
                <a:lnTo>
                  <a:pt x="9999" y="2280"/>
                </a:lnTo>
                <a:lnTo>
                  <a:pt x="9989" y="2243"/>
                </a:lnTo>
                <a:lnTo>
                  <a:pt x="9978" y="2207"/>
                </a:lnTo>
                <a:lnTo>
                  <a:pt x="9966" y="2172"/>
                </a:lnTo>
                <a:lnTo>
                  <a:pt x="9954" y="2138"/>
                </a:lnTo>
                <a:lnTo>
                  <a:pt x="9941" y="2104"/>
                </a:lnTo>
                <a:lnTo>
                  <a:pt x="9928" y="2070"/>
                </a:lnTo>
                <a:lnTo>
                  <a:pt x="9914" y="2038"/>
                </a:lnTo>
                <a:lnTo>
                  <a:pt x="9900" y="2006"/>
                </a:lnTo>
                <a:lnTo>
                  <a:pt x="9885" y="1975"/>
                </a:lnTo>
                <a:lnTo>
                  <a:pt x="9870" y="1944"/>
                </a:lnTo>
                <a:lnTo>
                  <a:pt x="9853" y="1914"/>
                </a:lnTo>
                <a:lnTo>
                  <a:pt x="9837" y="1884"/>
                </a:lnTo>
                <a:lnTo>
                  <a:pt x="9821" y="1856"/>
                </a:lnTo>
                <a:lnTo>
                  <a:pt x="9803" y="1828"/>
                </a:lnTo>
                <a:lnTo>
                  <a:pt x="9786" y="1800"/>
                </a:lnTo>
                <a:lnTo>
                  <a:pt x="9767" y="1774"/>
                </a:lnTo>
                <a:lnTo>
                  <a:pt x="9748" y="1747"/>
                </a:lnTo>
                <a:lnTo>
                  <a:pt x="9729" y="1722"/>
                </a:lnTo>
                <a:lnTo>
                  <a:pt x="9709" y="1696"/>
                </a:lnTo>
                <a:lnTo>
                  <a:pt x="9688" y="1672"/>
                </a:lnTo>
                <a:lnTo>
                  <a:pt x="9668" y="1647"/>
                </a:lnTo>
                <a:lnTo>
                  <a:pt x="9646" y="1623"/>
                </a:lnTo>
                <a:lnTo>
                  <a:pt x="9625" y="1601"/>
                </a:lnTo>
                <a:lnTo>
                  <a:pt x="9603" y="1578"/>
                </a:lnTo>
                <a:lnTo>
                  <a:pt x="9580" y="1557"/>
                </a:lnTo>
                <a:lnTo>
                  <a:pt x="9557" y="1535"/>
                </a:lnTo>
                <a:lnTo>
                  <a:pt x="9509" y="1494"/>
                </a:lnTo>
                <a:lnTo>
                  <a:pt x="9460" y="1455"/>
                </a:lnTo>
                <a:lnTo>
                  <a:pt x="9410" y="1417"/>
                </a:lnTo>
                <a:lnTo>
                  <a:pt x="9358" y="1382"/>
                </a:lnTo>
                <a:lnTo>
                  <a:pt x="9304" y="1349"/>
                </a:lnTo>
                <a:lnTo>
                  <a:pt x="9249" y="1316"/>
                </a:lnTo>
                <a:lnTo>
                  <a:pt x="9193" y="1288"/>
                </a:lnTo>
                <a:lnTo>
                  <a:pt x="9135" y="1259"/>
                </a:lnTo>
                <a:lnTo>
                  <a:pt x="9075" y="1232"/>
                </a:lnTo>
                <a:lnTo>
                  <a:pt x="9015" y="1208"/>
                </a:lnTo>
                <a:lnTo>
                  <a:pt x="8954" y="1185"/>
                </a:lnTo>
                <a:lnTo>
                  <a:pt x="8891" y="1164"/>
                </a:lnTo>
                <a:lnTo>
                  <a:pt x="8827" y="1144"/>
                </a:lnTo>
                <a:lnTo>
                  <a:pt x="8762" y="1125"/>
                </a:lnTo>
                <a:lnTo>
                  <a:pt x="8695" y="1107"/>
                </a:lnTo>
                <a:lnTo>
                  <a:pt x="8629" y="1092"/>
                </a:lnTo>
                <a:lnTo>
                  <a:pt x="8560" y="1077"/>
                </a:lnTo>
                <a:lnTo>
                  <a:pt x="8491" y="1064"/>
                </a:lnTo>
                <a:lnTo>
                  <a:pt x="8422" y="1052"/>
                </a:lnTo>
                <a:lnTo>
                  <a:pt x="8351" y="1041"/>
                </a:lnTo>
                <a:lnTo>
                  <a:pt x="8280" y="1031"/>
                </a:lnTo>
                <a:lnTo>
                  <a:pt x="8208" y="1022"/>
                </a:lnTo>
                <a:lnTo>
                  <a:pt x="8135" y="1014"/>
                </a:lnTo>
                <a:lnTo>
                  <a:pt x="8062" y="1008"/>
                </a:lnTo>
                <a:lnTo>
                  <a:pt x="7988" y="1001"/>
                </a:lnTo>
                <a:lnTo>
                  <a:pt x="7914" y="995"/>
                </a:lnTo>
                <a:lnTo>
                  <a:pt x="7839" y="991"/>
                </a:lnTo>
                <a:lnTo>
                  <a:pt x="7764" y="988"/>
                </a:lnTo>
                <a:lnTo>
                  <a:pt x="7688" y="985"/>
                </a:lnTo>
                <a:lnTo>
                  <a:pt x="7613" y="982"/>
                </a:lnTo>
                <a:lnTo>
                  <a:pt x="7461" y="980"/>
                </a:lnTo>
                <a:lnTo>
                  <a:pt x="7308" y="979"/>
                </a:lnTo>
                <a:lnTo>
                  <a:pt x="7154" y="980"/>
                </a:lnTo>
                <a:lnTo>
                  <a:pt x="7001" y="981"/>
                </a:lnTo>
                <a:lnTo>
                  <a:pt x="6697" y="988"/>
                </a:lnTo>
                <a:lnTo>
                  <a:pt x="6397" y="993"/>
                </a:lnTo>
                <a:lnTo>
                  <a:pt x="6250" y="995"/>
                </a:lnTo>
                <a:lnTo>
                  <a:pt x="6106" y="995"/>
                </a:lnTo>
                <a:lnTo>
                  <a:pt x="6106" y="995"/>
                </a:lnTo>
                <a:lnTo>
                  <a:pt x="5713" y="996"/>
                </a:lnTo>
                <a:lnTo>
                  <a:pt x="5320" y="998"/>
                </a:lnTo>
                <a:lnTo>
                  <a:pt x="5122" y="998"/>
                </a:lnTo>
                <a:lnTo>
                  <a:pt x="4926" y="996"/>
                </a:lnTo>
                <a:lnTo>
                  <a:pt x="4730" y="995"/>
                </a:lnTo>
                <a:lnTo>
                  <a:pt x="4535" y="993"/>
                </a:lnTo>
                <a:lnTo>
                  <a:pt x="4339" y="989"/>
                </a:lnTo>
                <a:lnTo>
                  <a:pt x="4144" y="983"/>
                </a:lnTo>
                <a:lnTo>
                  <a:pt x="3949" y="977"/>
                </a:lnTo>
                <a:lnTo>
                  <a:pt x="3754" y="968"/>
                </a:lnTo>
                <a:lnTo>
                  <a:pt x="3561" y="955"/>
                </a:lnTo>
                <a:lnTo>
                  <a:pt x="3464" y="949"/>
                </a:lnTo>
                <a:lnTo>
                  <a:pt x="3367" y="941"/>
                </a:lnTo>
                <a:lnTo>
                  <a:pt x="3270" y="933"/>
                </a:lnTo>
                <a:lnTo>
                  <a:pt x="3173" y="924"/>
                </a:lnTo>
                <a:lnTo>
                  <a:pt x="3078" y="916"/>
                </a:lnTo>
                <a:lnTo>
                  <a:pt x="2981" y="906"/>
                </a:lnTo>
                <a:lnTo>
                  <a:pt x="2885" y="895"/>
                </a:lnTo>
                <a:lnTo>
                  <a:pt x="2788" y="882"/>
                </a:lnTo>
                <a:lnTo>
                  <a:pt x="2693" y="869"/>
                </a:lnTo>
                <a:lnTo>
                  <a:pt x="2597" y="856"/>
                </a:lnTo>
                <a:lnTo>
                  <a:pt x="2501" y="841"/>
                </a:lnTo>
                <a:lnTo>
                  <a:pt x="2407" y="826"/>
                </a:lnTo>
                <a:lnTo>
                  <a:pt x="2311" y="809"/>
                </a:lnTo>
                <a:lnTo>
                  <a:pt x="2217" y="793"/>
                </a:lnTo>
                <a:lnTo>
                  <a:pt x="2121" y="774"/>
                </a:lnTo>
                <a:lnTo>
                  <a:pt x="2027" y="754"/>
                </a:lnTo>
                <a:lnTo>
                  <a:pt x="1932" y="734"/>
                </a:lnTo>
                <a:lnTo>
                  <a:pt x="1839" y="712"/>
                </a:lnTo>
                <a:lnTo>
                  <a:pt x="1744" y="690"/>
                </a:lnTo>
                <a:lnTo>
                  <a:pt x="1650" y="665"/>
                </a:lnTo>
                <a:lnTo>
                  <a:pt x="1557" y="640"/>
                </a:lnTo>
                <a:lnTo>
                  <a:pt x="1463" y="613"/>
                </a:lnTo>
                <a:lnTo>
                  <a:pt x="1370" y="586"/>
                </a:lnTo>
                <a:lnTo>
                  <a:pt x="1277" y="557"/>
                </a:lnTo>
                <a:lnTo>
                  <a:pt x="1185" y="527"/>
                </a:lnTo>
                <a:lnTo>
                  <a:pt x="1091" y="495"/>
                </a:lnTo>
                <a:lnTo>
                  <a:pt x="999" y="462"/>
                </a:lnTo>
                <a:lnTo>
                  <a:pt x="907" y="427"/>
                </a:lnTo>
                <a:lnTo>
                  <a:pt x="815" y="392"/>
                </a:lnTo>
                <a:lnTo>
                  <a:pt x="724" y="354"/>
                </a:lnTo>
                <a:lnTo>
                  <a:pt x="632" y="316"/>
                </a:lnTo>
                <a:lnTo>
                  <a:pt x="541" y="276"/>
                </a:lnTo>
                <a:lnTo>
                  <a:pt x="450" y="234"/>
                </a:lnTo>
                <a:lnTo>
                  <a:pt x="359" y="189"/>
                </a:lnTo>
                <a:lnTo>
                  <a:pt x="269" y="145"/>
                </a:lnTo>
                <a:lnTo>
                  <a:pt x="179" y="97"/>
                </a:lnTo>
                <a:lnTo>
                  <a:pt x="89" y="50"/>
                </a:lnTo>
                <a:lnTo>
                  <a:pt x="0" y="0"/>
                </a:lnTo>
                <a:lnTo>
                  <a:pt x="0" y="0"/>
                </a:lnTo>
                <a:lnTo>
                  <a:pt x="36" y="8"/>
                </a:lnTo>
                <a:lnTo>
                  <a:pt x="143" y="29"/>
                </a:lnTo>
                <a:lnTo>
                  <a:pt x="318" y="62"/>
                </a:lnTo>
                <a:lnTo>
                  <a:pt x="430" y="82"/>
                </a:lnTo>
                <a:lnTo>
                  <a:pt x="557" y="104"/>
                </a:lnTo>
                <a:lnTo>
                  <a:pt x="699" y="128"/>
                </a:lnTo>
                <a:lnTo>
                  <a:pt x="857" y="153"/>
                </a:lnTo>
                <a:lnTo>
                  <a:pt x="1028" y="179"/>
                </a:lnTo>
                <a:lnTo>
                  <a:pt x="1214" y="207"/>
                </a:lnTo>
                <a:lnTo>
                  <a:pt x="1412" y="235"/>
                </a:lnTo>
                <a:lnTo>
                  <a:pt x="1624" y="262"/>
                </a:lnTo>
                <a:lnTo>
                  <a:pt x="1848" y="290"/>
                </a:lnTo>
                <a:lnTo>
                  <a:pt x="2085" y="317"/>
                </a:lnTo>
                <a:lnTo>
                  <a:pt x="2334" y="343"/>
                </a:lnTo>
                <a:lnTo>
                  <a:pt x="2594" y="369"/>
                </a:lnTo>
                <a:lnTo>
                  <a:pt x="2864" y="393"/>
                </a:lnTo>
                <a:lnTo>
                  <a:pt x="3144" y="415"/>
                </a:lnTo>
                <a:lnTo>
                  <a:pt x="3289" y="426"/>
                </a:lnTo>
                <a:lnTo>
                  <a:pt x="3436" y="436"/>
                </a:lnTo>
                <a:lnTo>
                  <a:pt x="3585" y="446"/>
                </a:lnTo>
                <a:lnTo>
                  <a:pt x="3737" y="455"/>
                </a:lnTo>
                <a:lnTo>
                  <a:pt x="3891" y="463"/>
                </a:lnTo>
                <a:lnTo>
                  <a:pt x="4046" y="471"/>
                </a:lnTo>
                <a:lnTo>
                  <a:pt x="4204" y="478"/>
                </a:lnTo>
                <a:lnTo>
                  <a:pt x="4364" y="484"/>
                </a:lnTo>
                <a:lnTo>
                  <a:pt x="4528" y="489"/>
                </a:lnTo>
                <a:lnTo>
                  <a:pt x="4692" y="494"/>
                </a:lnTo>
                <a:lnTo>
                  <a:pt x="4858" y="498"/>
                </a:lnTo>
                <a:lnTo>
                  <a:pt x="5027" y="500"/>
                </a:lnTo>
                <a:lnTo>
                  <a:pt x="5197" y="503"/>
                </a:lnTo>
                <a:lnTo>
                  <a:pt x="5368" y="504"/>
                </a:lnTo>
                <a:lnTo>
                  <a:pt x="5542" y="504"/>
                </a:lnTo>
                <a:lnTo>
                  <a:pt x="5718" y="503"/>
                </a:lnTo>
                <a:lnTo>
                  <a:pt x="5895" y="500"/>
                </a:lnTo>
                <a:lnTo>
                  <a:pt x="6074" y="497"/>
                </a:lnTo>
                <a:lnTo>
                  <a:pt x="6254" y="494"/>
                </a:lnTo>
                <a:lnTo>
                  <a:pt x="6436" y="488"/>
                </a:lnTo>
                <a:lnTo>
                  <a:pt x="6619" y="481"/>
                </a:lnTo>
                <a:lnTo>
                  <a:pt x="6803" y="473"/>
                </a:lnTo>
                <a:lnTo>
                  <a:pt x="6990" y="464"/>
                </a:lnTo>
                <a:lnTo>
                  <a:pt x="7176" y="453"/>
                </a:lnTo>
                <a:lnTo>
                  <a:pt x="7176" y="453"/>
                </a:lnTo>
                <a:lnTo>
                  <a:pt x="7362" y="443"/>
                </a:lnTo>
                <a:lnTo>
                  <a:pt x="7542" y="436"/>
                </a:lnTo>
                <a:lnTo>
                  <a:pt x="7716" y="432"/>
                </a:lnTo>
                <a:lnTo>
                  <a:pt x="7886" y="431"/>
                </a:lnTo>
                <a:lnTo>
                  <a:pt x="7968" y="431"/>
                </a:lnTo>
                <a:lnTo>
                  <a:pt x="8049" y="432"/>
                </a:lnTo>
                <a:lnTo>
                  <a:pt x="8129" y="433"/>
                </a:lnTo>
                <a:lnTo>
                  <a:pt x="8208" y="435"/>
                </a:lnTo>
                <a:lnTo>
                  <a:pt x="8286" y="438"/>
                </a:lnTo>
                <a:lnTo>
                  <a:pt x="8361" y="442"/>
                </a:lnTo>
                <a:lnTo>
                  <a:pt x="8437" y="445"/>
                </a:lnTo>
                <a:lnTo>
                  <a:pt x="8511" y="451"/>
                </a:lnTo>
                <a:lnTo>
                  <a:pt x="8583" y="455"/>
                </a:lnTo>
                <a:lnTo>
                  <a:pt x="8654" y="461"/>
                </a:lnTo>
                <a:lnTo>
                  <a:pt x="8725" y="467"/>
                </a:lnTo>
                <a:lnTo>
                  <a:pt x="8794" y="475"/>
                </a:lnTo>
                <a:lnTo>
                  <a:pt x="8862" y="482"/>
                </a:lnTo>
                <a:lnTo>
                  <a:pt x="8928" y="490"/>
                </a:lnTo>
                <a:lnTo>
                  <a:pt x="8994" y="498"/>
                </a:lnTo>
                <a:lnTo>
                  <a:pt x="9059" y="508"/>
                </a:lnTo>
                <a:lnTo>
                  <a:pt x="9122" y="517"/>
                </a:lnTo>
                <a:lnTo>
                  <a:pt x="9184" y="528"/>
                </a:lnTo>
                <a:lnTo>
                  <a:pt x="9244" y="538"/>
                </a:lnTo>
                <a:lnTo>
                  <a:pt x="9305" y="549"/>
                </a:lnTo>
                <a:lnTo>
                  <a:pt x="9363" y="561"/>
                </a:lnTo>
                <a:lnTo>
                  <a:pt x="9422" y="574"/>
                </a:lnTo>
                <a:lnTo>
                  <a:pt x="9478" y="586"/>
                </a:lnTo>
                <a:lnTo>
                  <a:pt x="9534" y="599"/>
                </a:lnTo>
                <a:lnTo>
                  <a:pt x="9589" y="613"/>
                </a:lnTo>
                <a:lnTo>
                  <a:pt x="9642" y="627"/>
                </a:lnTo>
                <a:lnTo>
                  <a:pt x="9694" y="641"/>
                </a:lnTo>
                <a:lnTo>
                  <a:pt x="9746" y="657"/>
                </a:lnTo>
                <a:lnTo>
                  <a:pt x="9796" y="672"/>
                </a:lnTo>
                <a:lnTo>
                  <a:pt x="9845" y="688"/>
                </a:lnTo>
                <a:lnTo>
                  <a:pt x="9894" y="703"/>
                </a:lnTo>
                <a:lnTo>
                  <a:pt x="9941" y="720"/>
                </a:lnTo>
                <a:lnTo>
                  <a:pt x="9987" y="737"/>
                </a:lnTo>
                <a:lnTo>
                  <a:pt x="10033" y="754"/>
                </a:lnTo>
                <a:lnTo>
                  <a:pt x="10077" y="772"/>
                </a:lnTo>
                <a:lnTo>
                  <a:pt x="10122" y="791"/>
                </a:lnTo>
                <a:lnTo>
                  <a:pt x="10164" y="808"/>
                </a:lnTo>
                <a:lnTo>
                  <a:pt x="10206" y="827"/>
                </a:lnTo>
                <a:lnTo>
                  <a:pt x="10246" y="847"/>
                </a:lnTo>
                <a:lnTo>
                  <a:pt x="10286" y="866"/>
                </a:lnTo>
                <a:lnTo>
                  <a:pt x="10326" y="886"/>
                </a:lnTo>
                <a:lnTo>
                  <a:pt x="10364" y="906"/>
                </a:lnTo>
                <a:lnTo>
                  <a:pt x="10402" y="927"/>
                </a:lnTo>
                <a:lnTo>
                  <a:pt x="10438" y="947"/>
                </a:lnTo>
                <a:lnTo>
                  <a:pt x="10473" y="968"/>
                </a:lnTo>
                <a:lnTo>
                  <a:pt x="10508" y="989"/>
                </a:lnTo>
                <a:lnTo>
                  <a:pt x="10575" y="1033"/>
                </a:lnTo>
                <a:lnTo>
                  <a:pt x="10638" y="1077"/>
                </a:lnTo>
                <a:lnTo>
                  <a:pt x="10699" y="1123"/>
                </a:lnTo>
                <a:lnTo>
                  <a:pt x="10756" y="1168"/>
                </a:lnTo>
                <a:lnTo>
                  <a:pt x="10811" y="1216"/>
                </a:lnTo>
                <a:lnTo>
                  <a:pt x="10862" y="1263"/>
                </a:lnTo>
                <a:lnTo>
                  <a:pt x="10911" y="1312"/>
                </a:lnTo>
                <a:lnTo>
                  <a:pt x="10957" y="1361"/>
                </a:lnTo>
                <a:lnTo>
                  <a:pt x="11000" y="1411"/>
                </a:lnTo>
                <a:lnTo>
                  <a:pt x="11041" y="1460"/>
                </a:lnTo>
                <a:lnTo>
                  <a:pt x="11078" y="1511"/>
                </a:lnTo>
                <a:lnTo>
                  <a:pt x="11114" y="1562"/>
                </a:lnTo>
                <a:lnTo>
                  <a:pt x="11147" y="1613"/>
                </a:lnTo>
                <a:lnTo>
                  <a:pt x="11178" y="1664"/>
                </a:lnTo>
                <a:lnTo>
                  <a:pt x="11206" y="1716"/>
                </a:lnTo>
                <a:lnTo>
                  <a:pt x="11233" y="1767"/>
                </a:lnTo>
                <a:lnTo>
                  <a:pt x="11258" y="1819"/>
                </a:lnTo>
                <a:lnTo>
                  <a:pt x="11280" y="1870"/>
                </a:lnTo>
                <a:lnTo>
                  <a:pt x="11301" y="1922"/>
                </a:lnTo>
                <a:lnTo>
                  <a:pt x="11319" y="1973"/>
                </a:lnTo>
                <a:lnTo>
                  <a:pt x="11337" y="2024"/>
                </a:lnTo>
                <a:lnTo>
                  <a:pt x="11352" y="2075"/>
                </a:lnTo>
                <a:lnTo>
                  <a:pt x="11366" y="2125"/>
                </a:lnTo>
                <a:lnTo>
                  <a:pt x="11378" y="2175"/>
                </a:lnTo>
                <a:lnTo>
                  <a:pt x="11389" y="2223"/>
                </a:lnTo>
                <a:lnTo>
                  <a:pt x="11399" y="2272"/>
                </a:lnTo>
                <a:lnTo>
                  <a:pt x="11407" y="2321"/>
                </a:lnTo>
                <a:lnTo>
                  <a:pt x="11414" y="2367"/>
                </a:lnTo>
                <a:lnTo>
                  <a:pt x="11420" y="2414"/>
                </a:lnTo>
                <a:lnTo>
                  <a:pt x="11426" y="2459"/>
                </a:lnTo>
                <a:lnTo>
                  <a:pt x="11429" y="2503"/>
                </a:lnTo>
                <a:lnTo>
                  <a:pt x="11433" y="2548"/>
                </a:lnTo>
                <a:lnTo>
                  <a:pt x="11435" y="2590"/>
                </a:lnTo>
                <a:lnTo>
                  <a:pt x="11438" y="2672"/>
                </a:lnTo>
                <a:lnTo>
                  <a:pt x="11438" y="2748"/>
                </a:lnTo>
                <a:lnTo>
                  <a:pt x="11438" y="2748"/>
                </a:lnTo>
                <a:lnTo>
                  <a:pt x="11438" y="2786"/>
                </a:lnTo>
                <a:lnTo>
                  <a:pt x="11435" y="2826"/>
                </a:lnTo>
                <a:lnTo>
                  <a:pt x="11430" y="2869"/>
                </a:lnTo>
                <a:lnTo>
                  <a:pt x="11424" y="2913"/>
                </a:lnTo>
                <a:lnTo>
                  <a:pt x="11416" y="2959"/>
                </a:lnTo>
                <a:lnTo>
                  <a:pt x="11408" y="3008"/>
                </a:lnTo>
                <a:lnTo>
                  <a:pt x="11386" y="3110"/>
                </a:lnTo>
                <a:lnTo>
                  <a:pt x="11361" y="3220"/>
                </a:lnTo>
                <a:lnTo>
                  <a:pt x="11336" y="3334"/>
                </a:lnTo>
                <a:lnTo>
                  <a:pt x="11308" y="3453"/>
                </a:lnTo>
                <a:lnTo>
                  <a:pt x="11281" y="3577"/>
                </a:lnTo>
                <a:lnTo>
                  <a:pt x="11268" y="3642"/>
                </a:lnTo>
                <a:lnTo>
                  <a:pt x="11255" y="3706"/>
                </a:lnTo>
                <a:lnTo>
                  <a:pt x="11244" y="3770"/>
                </a:lnTo>
                <a:lnTo>
                  <a:pt x="11233" y="3835"/>
                </a:lnTo>
                <a:lnTo>
                  <a:pt x="11223" y="3902"/>
                </a:lnTo>
                <a:lnTo>
                  <a:pt x="11215" y="3968"/>
                </a:lnTo>
                <a:lnTo>
                  <a:pt x="11206" y="4035"/>
                </a:lnTo>
                <a:lnTo>
                  <a:pt x="11201" y="4102"/>
                </a:lnTo>
                <a:lnTo>
                  <a:pt x="11197" y="4169"/>
                </a:lnTo>
                <a:lnTo>
                  <a:pt x="11194" y="4236"/>
                </a:lnTo>
                <a:lnTo>
                  <a:pt x="11194" y="4304"/>
                </a:lnTo>
                <a:lnTo>
                  <a:pt x="11195" y="4370"/>
                </a:lnTo>
                <a:lnTo>
                  <a:pt x="11198" y="4436"/>
                </a:lnTo>
                <a:lnTo>
                  <a:pt x="11204" y="4503"/>
                </a:lnTo>
                <a:lnTo>
                  <a:pt x="11213" y="4569"/>
                </a:lnTo>
                <a:lnTo>
                  <a:pt x="11218" y="4601"/>
                </a:lnTo>
                <a:lnTo>
                  <a:pt x="11224" y="4635"/>
                </a:lnTo>
                <a:lnTo>
                  <a:pt x="11231" y="4667"/>
                </a:lnTo>
                <a:lnTo>
                  <a:pt x="11239" y="4699"/>
                </a:lnTo>
                <a:lnTo>
                  <a:pt x="11247" y="4731"/>
                </a:lnTo>
                <a:lnTo>
                  <a:pt x="11255" y="4763"/>
                </a:lnTo>
                <a:lnTo>
                  <a:pt x="11266" y="4795"/>
                </a:lnTo>
                <a:lnTo>
                  <a:pt x="11276" y="4826"/>
                </a:lnTo>
                <a:lnTo>
                  <a:pt x="11287" y="4858"/>
                </a:lnTo>
                <a:lnTo>
                  <a:pt x="11300" y="4889"/>
                </a:lnTo>
                <a:lnTo>
                  <a:pt x="11312" y="4920"/>
                </a:lnTo>
                <a:lnTo>
                  <a:pt x="11326" y="4950"/>
                </a:lnTo>
                <a:lnTo>
                  <a:pt x="11342" y="4980"/>
                </a:lnTo>
                <a:lnTo>
                  <a:pt x="11357" y="5011"/>
                </a:lnTo>
                <a:lnTo>
                  <a:pt x="11374" y="5040"/>
                </a:lnTo>
                <a:lnTo>
                  <a:pt x="11392" y="5070"/>
                </a:lnTo>
                <a:lnTo>
                  <a:pt x="11410" y="5099"/>
                </a:lnTo>
                <a:lnTo>
                  <a:pt x="11429" y="5127"/>
                </a:lnTo>
                <a:lnTo>
                  <a:pt x="11450" y="5156"/>
                </a:lnTo>
                <a:lnTo>
                  <a:pt x="11472" y="5184"/>
                </a:lnTo>
                <a:lnTo>
                  <a:pt x="11494" y="5211"/>
                </a:lnTo>
                <a:lnTo>
                  <a:pt x="11519" y="5239"/>
                </a:lnTo>
                <a:lnTo>
                  <a:pt x="11543" y="5266"/>
                </a:lnTo>
                <a:lnTo>
                  <a:pt x="11569" y="5292"/>
                </a:lnTo>
                <a:lnTo>
                  <a:pt x="11597" y="5319"/>
                </a:lnTo>
                <a:lnTo>
                  <a:pt x="11625" y="5344"/>
                </a:lnTo>
                <a:lnTo>
                  <a:pt x="11654" y="5370"/>
                </a:lnTo>
                <a:lnTo>
                  <a:pt x="11686" y="5394"/>
                </a:lnTo>
                <a:lnTo>
                  <a:pt x="11717" y="5419"/>
                </a:lnTo>
                <a:lnTo>
                  <a:pt x="11750" y="5442"/>
                </a:lnTo>
                <a:lnTo>
                  <a:pt x="11785" y="5466"/>
                </a:lnTo>
                <a:lnTo>
                  <a:pt x="11820" y="5488"/>
                </a:lnTo>
                <a:lnTo>
                  <a:pt x="11857" y="5510"/>
                </a:lnTo>
                <a:lnTo>
                  <a:pt x="11896" y="5533"/>
                </a:lnTo>
                <a:lnTo>
                  <a:pt x="11934" y="5554"/>
                </a:lnTo>
                <a:lnTo>
                  <a:pt x="11976" y="5575"/>
                </a:lnTo>
                <a:lnTo>
                  <a:pt x="12018" y="5595"/>
                </a:lnTo>
                <a:lnTo>
                  <a:pt x="12061" y="5615"/>
                </a:lnTo>
                <a:lnTo>
                  <a:pt x="12107" y="5633"/>
                </a:lnTo>
                <a:lnTo>
                  <a:pt x="12152" y="5652"/>
                </a:lnTo>
                <a:lnTo>
                  <a:pt x="12201" y="5670"/>
                </a:lnTo>
                <a:lnTo>
                  <a:pt x="12250" y="5688"/>
                </a:lnTo>
                <a:lnTo>
                  <a:pt x="12300" y="5704"/>
                </a:lnTo>
                <a:lnTo>
                  <a:pt x="12353" y="5720"/>
                </a:lnTo>
                <a:lnTo>
                  <a:pt x="12407" y="5735"/>
                </a:lnTo>
                <a:lnTo>
                  <a:pt x="12463" y="5750"/>
                </a:lnTo>
                <a:lnTo>
                  <a:pt x="12519" y="5764"/>
                </a:lnTo>
                <a:lnTo>
                  <a:pt x="12578" y="5777"/>
                </a:lnTo>
                <a:lnTo>
                  <a:pt x="12638" y="5791"/>
                </a:lnTo>
                <a:lnTo>
                  <a:pt x="12699" y="5802"/>
                </a:lnTo>
                <a:lnTo>
                  <a:pt x="12762" y="5814"/>
                </a:lnTo>
                <a:lnTo>
                  <a:pt x="12828" y="5824"/>
                </a:lnTo>
                <a:lnTo>
                  <a:pt x="12894" y="5834"/>
                </a:lnTo>
                <a:lnTo>
                  <a:pt x="12962" y="5843"/>
                </a:lnTo>
                <a:lnTo>
                  <a:pt x="13032" y="5850"/>
                </a:lnTo>
                <a:lnTo>
                  <a:pt x="13104" y="5858"/>
                </a:lnTo>
                <a:lnTo>
                  <a:pt x="13178" y="5865"/>
                </a:lnTo>
                <a:lnTo>
                  <a:pt x="13252" y="5870"/>
                </a:lnTo>
                <a:lnTo>
                  <a:pt x="13329" y="5876"/>
                </a:lnTo>
                <a:lnTo>
                  <a:pt x="13409" y="5880"/>
                </a:lnTo>
                <a:lnTo>
                  <a:pt x="13489" y="5884"/>
                </a:lnTo>
                <a:lnTo>
                  <a:pt x="13572" y="5886"/>
                </a:lnTo>
                <a:lnTo>
                  <a:pt x="13656" y="5888"/>
                </a:lnTo>
                <a:lnTo>
                  <a:pt x="13742" y="5888"/>
                </a:lnTo>
                <a:lnTo>
                  <a:pt x="13830" y="5888"/>
                </a:lnTo>
                <a:lnTo>
                  <a:pt x="13919" y="5888"/>
                </a:lnTo>
                <a:lnTo>
                  <a:pt x="13919" y="5888"/>
                </a:lnTo>
                <a:lnTo>
                  <a:pt x="14101" y="5885"/>
                </a:lnTo>
                <a:lnTo>
                  <a:pt x="14281" y="5880"/>
                </a:lnTo>
                <a:lnTo>
                  <a:pt x="14638" y="5871"/>
                </a:lnTo>
                <a:lnTo>
                  <a:pt x="14989" y="5860"/>
                </a:lnTo>
                <a:lnTo>
                  <a:pt x="15335" y="5848"/>
                </a:lnTo>
                <a:lnTo>
                  <a:pt x="16011" y="5822"/>
                </a:lnTo>
                <a:lnTo>
                  <a:pt x="16341" y="5809"/>
                </a:lnTo>
                <a:lnTo>
                  <a:pt x="16664" y="5797"/>
                </a:lnTo>
                <a:lnTo>
                  <a:pt x="16982" y="5786"/>
                </a:lnTo>
                <a:lnTo>
                  <a:pt x="17294" y="5777"/>
                </a:lnTo>
                <a:lnTo>
                  <a:pt x="17448" y="5774"/>
                </a:lnTo>
                <a:lnTo>
                  <a:pt x="17599" y="5772"/>
                </a:lnTo>
                <a:lnTo>
                  <a:pt x="17751" y="5770"/>
                </a:lnTo>
                <a:lnTo>
                  <a:pt x="17899" y="5768"/>
                </a:lnTo>
                <a:lnTo>
                  <a:pt x="18047" y="5768"/>
                </a:lnTo>
                <a:lnTo>
                  <a:pt x="18193" y="5770"/>
                </a:lnTo>
                <a:lnTo>
                  <a:pt x="18337" y="5771"/>
                </a:lnTo>
                <a:lnTo>
                  <a:pt x="18479" y="5774"/>
                </a:lnTo>
                <a:lnTo>
                  <a:pt x="18620" y="5777"/>
                </a:lnTo>
                <a:lnTo>
                  <a:pt x="18760" y="5783"/>
                </a:lnTo>
                <a:lnTo>
                  <a:pt x="18896" y="5789"/>
                </a:lnTo>
                <a:lnTo>
                  <a:pt x="19033" y="5797"/>
                </a:lnTo>
                <a:lnTo>
                  <a:pt x="19167" y="5806"/>
                </a:lnTo>
                <a:lnTo>
                  <a:pt x="19299" y="5817"/>
                </a:lnTo>
                <a:lnTo>
                  <a:pt x="19429" y="5829"/>
                </a:lnTo>
                <a:lnTo>
                  <a:pt x="19559" y="5843"/>
                </a:lnTo>
                <a:lnTo>
                  <a:pt x="19685" y="5858"/>
                </a:lnTo>
                <a:lnTo>
                  <a:pt x="19811" y="5876"/>
                </a:lnTo>
                <a:lnTo>
                  <a:pt x="19935" y="5895"/>
                </a:lnTo>
                <a:lnTo>
                  <a:pt x="20056" y="5916"/>
                </a:lnTo>
                <a:lnTo>
                  <a:pt x="20175" y="5939"/>
                </a:lnTo>
                <a:lnTo>
                  <a:pt x="20293" y="5963"/>
                </a:lnTo>
                <a:lnTo>
                  <a:pt x="20409" y="5991"/>
                </a:lnTo>
                <a:lnTo>
                  <a:pt x="20524" y="6020"/>
                </a:lnTo>
                <a:lnTo>
                  <a:pt x="20580" y="6035"/>
                </a:lnTo>
                <a:lnTo>
                  <a:pt x="20636" y="6051"/>
                </a:lnTo>
                <a:lnTo>
                  <a:pt x="20690" y="6067"/>
                </a:lnTo>
                <a:lnTo>
                  <a:pt x="20745" y="6085"/>
                </a:lnTo>
                <a:lnTo>
                  <a:pt x="20800" y="6103"/>
                </a:lnTo>
                <a:lnTo>
                  <a:pt x="20854" y="6120"/>
                </a:lnTo>
                <a:lnTo>
                  <a:pt x="20907" y="6139"/>
                </a:lnTo>
                <a:lnTo>
                  <a:pt x="20960" y="6159"/>
                </a:lnTo>
                <a:lnTo>
                  <a:pt x="21012" y="6179"/>
                </a:lnTo>
                <a:lnTo>
                  <a:pt x="21065" y="6200"/>
                </a:lnTo>
                <a:lnTo>
                  <a:pt x="21116" y="6221"/>
                </a:lnTo>
                <a:lnTo>
                  <a:pt x="21166" y="6243"/>
                </a:lnTo>
                <a:lnTo>
                  <a:pt x="21216" y="6267"/>
                </a:lnTo>
                <a:lnTo>
                  <a:pt x="21267" y="6290"/>
                </a:lnTo>
                <a:lnTo>
                  <a:pt x="21317" y="6313"/>
                </a:lnTo>
                <a:lnTo>
                  <a:pt x="21365" y="6339"/>
                </a:lnTo>
                <a:lnTo>
                  <a:pt x="21414" y="6364"/>
                </a:lnTo>
                <a:lnTo>
                  <a:pt x="21461" y="6390"/>
                </a:lnTo>
                <a:lnTo>
                  <a:pt x="21509" y="6416"/>
                </a:lnTo>
                <a:lnTo>
                  <a:pt x="21556" y="6444"/>
                </a:lnTo>
                <a:lnTo>
                  <a:pt x="21601" y="6473"/>
                </a:lnTo>
                <a:lnTo>
                  <a:pt x="21648" y="6501"/>
                </a:lnTo>
                <a:lnTo>
                  <a:pt x="21692" y="6531"/>
                </a:lnTo>
                <a:lnTo>
                  <a:pt x="21738" y="6561"/>
                </a:lnTo>
                <a:lnTo>
                  <a:pt x="21782" y="6592"/>
                </a:lnTo>
                <a:lnTo>
                  <a:pt x="21825" y="6624"/>
                </a:lnTo>
                <a:lnTo>
                  <a:pt x="21868" y="6657"/>
                </a:lnTo>
                <a:lnTo>
                  <a:pt x="21912" y="6691"/>
                </a:lnTo>
                <a:lnTo>
                  <a:pt x="21954" y="6725"/>
                </a:lnTo>
                <a:lnTo>
                  <a:pt x="21994" y="6759"/>
                </a:lnTo>
                <a:lnTo>
                  <a:pt x="22036" y="6796"/>
                </a:lnTo>
                <a:lnTo>
                  <a:pt x="22076" y="6832"/>
                </a:lnTo>
                <a:lnTo>
                  <a:pt x="22116" y="6870"/>
                </a:lnTo>
                <a:lnTo>
                  <a:pt x="22155" y="6908"/>
                </a:lnTo>
                <a:lnTo>
                  <a:pt x="22195" y="6948"/>
                </a:lnTo>
                <a:lnTo>
                  <a:pt x="22232" y="6987"/>
                </a:lnTo>
                <a:lnTo>
                  <a:pt x="22271" y="7028"/>
                </a:lnTo>
                <a:lnTo>
                  <a:pt x="22308" y="7069"/>
                </a:lnTo>
                <a:lnTo>
                  <a:pt x="22344" y="7113"/>
                </a:lnTo>
                <a:lnTo>
                  <a:pt x="22381" y="7156"/>
                </a:lnTo>
                <a:lnTo>
                  <a:pt x="22381" y="7156"/>
                </a:lnTo>
                <a:lnTo>
                  <a:pt x="22413" y="7198"/>
                </a:lnTo>
                <a:lnTo>
                  <a:pt x="22446" y="7242"/>
                </a:lnTo>
                <a:lnTo>
                  <a:pt x="22477" y="7287"/>
                </a:lnTo>
                <a:lnTo>
                  <a:pt x="22508" y="7334"/>
                </a:lnTo>
                <a:lnTo>
                  <a:pt x="22537" y="7383"/>
                </a:lnTo>
                <a:lnTo>
                  <a:pt x="22566" y="7432"/>
                </a:lnTo>
                <a:lnTo>
                  <a:pt x="22593" y="7483"/>
                </a:lnTo>
                <a:lnTo>
                  <a:pt x="22620" y="7535"/>
                </a:lnTo>
                <a:lnTo>
                  <a:pt x="22645" y="7590"/>
                </a:lnTo>
                <a:lnTo>
                  <a:pt x="22670" y="7644"/>
                </a:lnTo>
                <a:lnTo>
                  <a:pt x="22694" y="7700"/>
                </a:lnTo>
                <a:lnTo>
                  <a:pt x="22716" y="7758"/>
                </a:lnTo>
                <a:lnTo>
                  <a:pt x="22739" y="7816"/>
                </a:lnTo>
                <a:lnTo>
                  <a:pt x="22761" y="7875"/>
                </a:lnTo>
                <a:lnTo>
                  <a:pt x="22782" y="7935"/>
                </a:lnTo>
                <a:lnTo>
                  <a:pt x="22802" y="7996"/>
                </a:lnTo>
                <a:lnTo>
                  <a:pt x="22820" y="8058"/>
                </a:lnTo>
                <a:lnTo>
                  <a:pt x="22839" y="8121"/>
                </a:lnTo>
                <a:lnTo>
                  <a:pt x="22856" y="8185"/>
                </a:lnTo>
                <a:lnTo>
                  <a:pt x="22873" y="8250"/>
                </a:lnTo>
                <a:lnTo>
                  <a:pt x="22889" y="8315"/>
                </a:lnTo>
                <a:lnTo>
                  <a:pt x="22904" y="8380"/>
                </a:lnTo>
                <a:lnTo>
                  <a:pt x="22919" y="8447"/>
                </a:lnTo>
                <a:lnTo>
                  <a:pt x="22933" y="8513"/>
                </a:lnTo>
                <a:lnTo>
                  <a:pt x="22960" y="8649"/>
                </a:lnTo>
                <a:lnTo>
                  <a:pt x="22985" y="8785"/>
                </a:lnTo>
                <a:lnTo>
                  <a:pt x="23007" y="8924"/>
                </a:lnTo>
                <a:lnTo>
                  <a:pt x="23027" y="9063"/>
                </a:lnTo>
                <a:lnTo>
                  <a:pt x="23045" y="9203"/>
                </a:lnTo>
                <a:lnTo>
                  <a:pt x="23061" y="9342"/>
                </a:lnTo>
                <a:lnTo>
                  <a:pt x="23076" y="9482"/>
                </a:lnTo>
                <a:lnTo>
                  <a:pt x="23089" y="9621"/>
                </a:lnTo>
                <a:lnTo>
                  <a:pt x="23100" y="9759"/>
                </a:lnTo>
                <a:lnTo>
                  <a:pt x="23111" y="9896"/>
                </a:lnTo>
                <a:lnTo>
                  <a:pt x="23120" y="10031"/>
                </a:lnTo>
                <a:lnTo>
                  <a:pt x="23128" y="10164"/>
                </a:lnTo>
                <a:lnTo>
                  <a:pt x="23143" y="10422"/>
                </a:lnTo>
                <a:lnTo>
                  <a:pt x="23155" y="10668"/>
                </a:lnTo>
                <a:lnTo>
                  <a:pt x="23167" y="10898"/>
                </a:lnTo>
                <a:lnTo>
                  <a:pt x="23178" y="11108"/>
                </a:lnTo>
                <a:lnTo>
                  <a:pt x="23178" y="11108"/>
                </a:lnTo>
                <a:lnTo>
                  <a:pt x="23188" y="11295"/>
                </a:lnTo>
                <a:lnTo>
                  <a:pt x="23196" y="11485"/>
                </a:lnTo>
                <a:lnTo>
                  <a:pt x="23204" y="11676"/>
                </a:lnTo>
                <a:lnTo>
                  <a:pt x="23214" y="11870"/>
                </a:lnTo>
                <a:lnTo>
                  <a:pt x="23220" y="11966"/>
                </a:lnTo>
                <a:lnTo>
                  <a:pt x="23227" y="12064"/>
                </a:lnTo>
                <a:lnTo>
                  <a:pt x="23234" y="12160"/>
                </a:lnTo>
                <a:lnTo>
                  <a:pt x="23244" y="12258"/>
                </a:lnTo>
                <a:lnTo>
                  <a:pt x="23254" y="12354"/>
                </a:lnTo>
                <a:lnTo>
                  <a:pt x="23267" y="12450"/>
                </a:lnTo>
                <a:lnTo>
                  <a:pt x="23280" y="12545"/>
                </a:lnTo>
                <a:lnTo>
                  <a:pt x="23296" y="12641"/>
                </a:lnTo>
                <a:lnTo>
                  <a:pt x="23314" y="12736"/>
                </a:lnTo>
                <a:lnTo>
                  <a:pt x="23333" y="12829"/>
                </a:lnTo>
                <a:lnTo>
                  <a:pt x="23356" y="12922"/>
                </a:lnTo>
                <a:lnTo>
                  <a:pt x="23368" y="12968"/>
                </a:lnTo>
                <a:lnTo>
                  <a:pt x="23381" y="13014"/>
                </a:lnTo>
                <a:lnTo>
                  <a:pt x="23395" y="13060"/>
                </a:lnTo>
                <a:lnTo>
                  <a:pt x="23409" y="13106"/>
                </a:lnTo>
                <a:lnTo>
                  <a:pt x="23424" y="13150"/>
                </a:lnTo>
                <a:lnTo>
                  <a:pt x="23440" y="13195"/>
                </a:lnTo>
                <a:lnTo>
                  <a:pt x="23456" y="13240"/>
                </a:lnTo>
                <a:lnTo>
                  <a:pt x="23473" y="13284"/>
                </a:lnTo>
                <a:lnTo>
                  <a:pt x="23492" y="13328"/>
                </a:lnTo>
                <a:lnTo>
                  <a:pt x="23511" y="13371"/>
                </a:lnTo>
                <a:lnTo>
                  <a:pt x="23531" y="13415"/>
                </a:lnTo>
                <a:lnTo>
                  <a:pt x="23552" y="13458"/>
                </a:lnTo>
                <a:lnTo>
                  <a:pt x="23573" y="13500"/>
                </a:lnTo>
                <a:lnTo>
                  <a:pt x="23596" y="13542"/>
                </a:lnTo>
                <a:lnTo>
                  <a:pt x="23619" y="13583"/>
                </a:lnTo>
                <a:lnTo>
                  <a:pt x="23644" y="13625"/>
                </a:lnTo>
                <a:lnTo>
                  <a:pt x="23669" y="13665"/>
                </a:lnTo>
                <a:lnTo>
                  <a:pt x="23695" y="13706"/>
                </a:lnTo>
                <a:lnTo>
                  <a:pt x="23723" y="13746"/>
                </a:lnTo>
                <a:lnTo>
                  <a:pt x="23751" y="13784"/>
                </a:lnTo>
                <a:lnTo>
                  <a:pt x="23781" y="13824"/>
                </a:lnTo>
                <a:lnTo>
                  <a:pt x="23812" y="13862"/>
                </a:lnTo>
                <a:lnTo>
                  <a:pt x="23844" y="13901"/>
                </a:lnTo>
                <a:lnTo>
                  <a:pt x="23877" y="13937"/>
                </a:lnTo>
                <a:lnTo>
                  <a:pt x="23911" y="13975"/>
                </a:lnTo>
                <a:lnTo>
                  <a:pt x="23946" y="14010"/>
                </a:lnTo>
                <a:lnTo>
                  <a:pt x="23946" y="14010"/>
                </a:lnTo>
                <a:lnTo>
                  <a:pt x="24010" y="14072"/>
                </a:lnTo>
                <a:lnTo>
                  <a:pt x="24075" y="14132"/>
                </a:lnTo>
                <a:lnTo>
                  <a:pt x="24143" y="14191"/>
                </a:lnTo>
                <a:lnTo>
                  <a:pt x="24213" y="14247"/>
                </a:lnTo>
                <a:lnTo>
                  <a:pt x="24284" y="14303"/>
                </a:lnTo>
                <a:lnTo>
                  <a:pt x="24358" y="14356"/>
                </a:lnTo>
                <a:lnTo>
                  <a:pt x="24432" y="14408"/>
                </a:lnTo>
                <a:lnTo>
                  <a:pt x="24510" y="14459"/>
                </a:lnTo>
                <a:lnTo>
                  <a:pt x="24589" y="14507"/>
                </a:lnTo>
                <a:lnTo>
                  <a:pt x="24669" y="14554"/>
                </a:lnTo>
                <a:lnTo>
                  <a:pt x="24752" y="14600"/>
                </a:lnTo>
                <a:lnTo>
                  <a:pt x="24835" y="14645"/>
                </a:lnTo>
                <a:lnTo>
                  <a:pt x="24920" y="14688"/>
                </a:lnTo>
                <a:lnTo>
                  <a:pt x="25006" y="14730"/>
                </a:lnTo>
                <a:lnTo>
                  <a:pt x="25095" y="14770"/>
                </a:lnTo>
                <a:lnTo>
                  <a:pt x="25183" y="14809"/>
                </a:lnTo>
                <a:lnTo>
                  <a:pt x="25274" y="14846"/>
                </a:lnTo>
                <a:lnTo>
                  <a:pt x="25366" y="14883"/>
                </a:lnTo>
                <a:lnTo>
                  <a:pt x="25459" y="14918"/>
                </a:lnTo>
                <a:lnTo>
                  <a:pt x="25553" y="14951"/>
                </a:lnTo>
                <a:lnTo>
                  <a:pt x="25649" y="14985"/>
                </a:lnTo>
                <a:lnTo>
                  <a:pt x="25744" y="15016"/>
                </a:lnTo>
                <a:lnTo>
                  <a:pt x="25841" y="15045"/>
                </a:lnTo>
                <a:lnTo>
                  <a:pt x="25939" y="15074"/>
                </a:lnTo>
                <a:lnTo>
                  <a:pt x="26037" y="15102"/>
                </a:lnTo>
                <a:lnTo>
                  <a:pt x="26137" y="15129"/>
                </a:lnTo>
                <a:lnTo>
                  <a:pt x="26237" y="15155"/>
                </a:lnTo>
                <a:lnTo>
                  <a:pt x="26338" y="15179"/>
                </a:lnTo>
                <a:lnTo>
                  <a:pt x="26440" y="15203"/>
                </a:lnTo>
                <a:lnTo>
                  <a:pt x="26541" y="15225"/>
                </a:lnTo>
                <a:lnTo>
                  <a:pt x="26644" y="15246"/>
                </a:lnTo>
                <a:lnTo>
                  <a:pt x="26746" y="15267"/>
                </a:lnTo>
                <a:lnTo>
                  <a:pt x="26849" y="15287"/>
                </a:lnTo>
                <a:lnTo>
                  <a:pt x="26952" y="15305"/>
                </a:lnTo>
                <a:lnTo>
                  <a:pt x="27055" y="15322"/>
                </a:lnTo>
                <a:lnTo>
                  <a:pt x="27159" y="15339"/>
                </a:lnTo>
                <a:lnTo>
                  <a:pt x="27263" y="15355"/>
                </a:lnTo>
                <a:lnTo>
                  <a:pt x="27367" y="15370"/>
                </a:lnTo>
                <a:lnTo>
                  <a:pt x="27471" y="15384"/>
                </a:lnTo>
                <a:lnTo>
                  <a:pt x="27574" y="15398"/>
                </a:lnTo>
                <a:lnTo>
                  <a:pt x="27678" y="15410"/>
                </a:lnTo>
                <a:lnTo>
                  <a:pt x="27782" y="15422"/>
                </a:lnTo>
                <a:lnTo>
                  <a:pt x="27885" y="15433"/>
                </a:lnTo>
                <a:lnTo>
                  <a:pt x="27987" y="15444"/>
                </a:lnTo>
                <a:lnTo>
                  <a:pt x="28193" y="15463"/>
                </a:lnTo>
                <a:lnTo>
                  <a:pt x="28396" y="15478"/>
                </a:lnTo>
                <a:lnTo>
                  <a:pt x="28596" y="15493"/>
                </a:lnTo>
                <a:lnTo>
                  <a:pt x="28795" y="15504"/>
                </a:lnTo>
                <a:lnTo>
                  <a:pt x="28988" y="15514"/>
                </a:lnTo>
                <a:lnTo>
                  <a:pt x="29179" y="15522"/>
                </a:lnTo>
                <a:lnTo>
                  <a:pt x="29366" y="15527"/>
                </a:lnTo>
                <a:lnTo>
                  <a:pt x="29548" y="15533"/>
                </a:lnTo>
                <a:lnTo>
                  <a:pt x="29725" y="15536"/>
                </a:lnTo>
                <a:lnTo>
                  <a:pt x="29897" y="15538"/>
                </a:lnTo>
                <a:lnTo>
                  <a:pt x="29897" y="15538"/>
                </a:lnTo>
                <a:lnTo>
                  <a:pt x="30160" y="15539"/>
                </a:lnTo>
                <a:lnTo>
                  <a:pt x="30424" y="15539"/>
                </a:lnTo>
                <a:lnTo>
                  <a:pt x="30689" y="15537"/>
                </a:lnTo>
                <a:lnTo>
                  <a:pt x="30952" y="15533"/>
                </a:lnTo>
                <a:lnTo>
                  <a:pt x="31217" y="15527"/>
                </a:lnTo>
                <a:lnTo>
                  <a:pt x="31482" y="15522"/>
                </a:lnTo>
                <a:lnTo>
                  <a:pt x="32013" y="15507"/>
                </a:lnTo>
                <a:lnTo>
                  <a:pt x="32543" y="15491"/>
                </a:lnTo>
                <a:lnTo>
                  <a:pt x="33074" y="15476"/>
                </a:lnTo>
                <a:lnTo>
                  <a:pt x="33340" y="15470"/>
                </a:lnTo>
                <a:lnTo>
                  <a:pt x="33605" y="15464"/>
                </a:lnTo>
                <a:lnTo>
                  <a:pt x="33871" y="15460"/>
                </a:lnTo>
                <a:lnTo>
                  <a:pt x="34137" y="15456"/>
                </a:lnTo>
                <a:lnTo>
                  <a:pt x="34401" y="15455"/>
                </a:lnTo>
                <a:lnTo>
                  <a:pt x="34666" y="15456"/>
                </a:lnTo>
                <a:lnTo>
                  <a:pt x="34931" y="15458"/>
                </a:lnTo>
                <a:lnTo>
                  <a:pt x="35196" y="15464"/>
                </a:lnTo>
                <a:lnTo>
                  <a:pt x="35328" y="15468"/>
                </a:lnTo>
                <a:lnTo>
                  <a:pt x="35461" y="15473"/>
                </a:lnTo>
                <a:lnTo>
                  <a:pt x="35592" y="15477"/>
                </a:lnTo>
                <a:lnTo>
                  <a:pt x="35724" y="15484"/>
                </a:lnTo>
                <a:lnTo>
                  <a:pt x="35856" y="15491"/>
                </a:lnTo>
                <a:lnTo>
                  <a:pt x="35989" y="15498"/>
                </a:lnTo>
                <a:lnTo>
                  <a:pt x="36121" y="15506"/>
                </a:lnTo>
                <a:lnTo>
                  <a:pt x="36251" y="15516"/>
                </a:lnTo>
                <a:lnTo>
                  <a:pt x="36383" y="15526"/>
                </a:lnTo>
                <a:lnTo>
                  <a:pt x="36515" y="15538"/>
                </a:lnTo>
                <a:lnTo>
                  <a:pt x="36647" y="15550"/>
                </a:lnTo>
                <a:lnTo>
                  <a:pt x="36777" y="15564"/>
                </a:lnTo>
                <a:lnTo>
                  <a:pt x="36909" y="15578"/>
                </a:lnTo>
                <a:lnTo>
                  <a:pt x="37040" y="15594"/>
                </a:lnTo>
                <a:lnTo>
                  <a:pt x="37172" y="15610"/>
                </a:lnTo>
                <a:lnTo>
                  <a:pt x="37302" y="15628"/>
                </a:lnTo>
                <a:lnTo>
                  <a:pt x="37433" y="15647"/>
                </a:lnTo>
                <a:lnTo>
                  <a:pt x="37564" y="15667"/>
                </a:lnTo>
                <a:lnTo>
                  <a:pt x="37694" y="15689"/>
                </a:lnTo>
                <a:lnTo>
                  <a:pt x="37825" y="15711"/>
                </a:lnTo>
                <a:lnTo>
                  <a:pt x="37955" y="15735"/>
                </a:lnTo>
                <a:lnTo>
                  <a:pt x="38085" y="15761"/>
                </a:lnTo>
                <a:lnTo>
                  <a:pt x="38216" y="15787"/>
                </a:lnTo>
                <a:lnTo>
                  <a:pt x="38345" y="15815"/>
                </a:lnTo>
                <a:lnTo>
                  <a:pt x="38345" y="15815"/>
                </a:lnTo>
                <a:lnTo>
                  <a:pt x="38517" y="15855"/>
                </a:lnTo>
                <a:lnTo>
                  <a:pt x="38688" y="15896"/>
                </a:lnTo>
                <a:lnTo>
                  <a:pt x="38859" y="15939"/>
                </a:lnTo>
                <a:lnTo>
                  <a:pt x="39031" y="15985"/>
                </a:lnTo>
                <a:lnTo>
                  <a:pt x="39204" y="16033"/>
                </a:lnTo>
                <a:lnTo>
                  <a:pt x="39375" y="16083"/>
                </a:lnTo>
                <a:lnTo>
                  <a:pt x="39546" y="16136"/>
                </a:lnTo>
                <a:lnTo>
                  <a:pt x="39719" y="16190"/>
                </a:lnTo>
                <a:lnTo>
                  <a:pt x="39891" y="16247"/>
                </a:lnTo>
                <a:lnTo>
                  <a:pt x="40062" y="16305"/>
                </a:lnTo>
                <a:lnTo>
                  <a:pt x="40233" y="16366"/>
                </a:lnTo>
                <a:lnTo>
                  <a:pt x="40404" y="16429"/>
                </a:lnTo>
                <a:lnTo>
                  <a:pt x="40574" y="16495"/>
                </a:lnTo>
                <a:lnTo>
                  <a:pt x="40743" y="16562"/>
                </a:lnTo>
                <a:lnTo>
                  <a:pt x="40912" y="16632"/>
                </a:lnTo>
                <a:lnTo>
                  <a:pt x="41080" y="16704"/>
                </a:lnTo>
                <a:lnTo>
                  <a:pt x="41248" y="16778"/>
                </a:lnTo>
                <a:lnTo>
                  <a:pt x="41414" y="16855"/>
                </a:lnTo>
                <a:lnTo>
                  <a:pt x="41580" y="16933"/>
                </a:lnTo>
                <a:lnTo>
                  <a:pt x="41744" y="17014"/>
                </a:lnTo>
                <a:lnTo>
                  <a:pt x="41907" y="17097"/>
                </a:lnTo>
                <a:lnTo>
                  <a:pt x="42069" y="17181"/>
                </a:lnTo>
                <a:lnTo>
                  <a:pt x="42229" y="17269"/>
                </a:lnTo>
                <a:lnTo>
                  <a:pt x="42389" y="17358"/>
                </a:lnTo>
                <a:lnTo>
                  <a:pt x="42546" y="17449"/>
                </a:lnTo>
                <a:lnTo>
                  <a:pt x="42703" y="17543"/>
                </a:lnTo>
                <a:lnTo>
                  <a:pt x="42781" y="17591"/>
                </a:lnTo>
                <a:lnTo>
                  <a:pt x="42858" y="17638"/>
                </a:lnTo>
                <a:lnTo>
                  <a:pt x="42935" y="17687"/>
                </a:lnTo>
                <a:lnTo>
                  <a:pt x="43011" y="17736"/>
                </a:lnTo>
                <a:lnTo>
                  <a:pt x="43087" y="17786"/>
                </a:lnTo>
                <a:lnTo>
                  <a:pt x="43162" y="17837"/>
                </a:lnTo>
                <a:lnTo>
                  <a:pt x="43237" y="17888"/>
                </a:lnTo>
                <a:lnTo>
                  <a:pt x="43312" y="17939"/>
                </a:lnTo>
                <a:lnTo>
                  <a:pt x="43385" y="17991"/>
                </a:lnTo>
                <a:lnTo>
                  <a:pt x="43459" y="18043"/>
                </a:lnTo>
                <a:lnTo>
                  <a:pt x="43532" y="18096"/>
                </a:lnTo>
                <a:lnTo>
                  <a:pt x="43604" y="18149"/>
                </a:lnTo>
                <a:lnTo>
                  <a:pt x="43677" y="18203"/>
                </a:lnTo>
                <a:lnTo>
                  <a:pt x="43748" y="18257"/>
                </a:lnTo>
                <a:lnTo>
                  <a:pt x="43819" y="18313"/>
                </a:lnTo>
                <a:lnTo>
                  <a:pt x="43889" y="18368"/>
                </a:lnTo>
                <a:lnTo>
                  <a:pt x="43959" y="18425"/>
                </a:lnTo>
                <a:lnTo>
                  <a:pt x="44028" y="18481"/>
                </a:lnTo>
                <a:lnTo>
                  <a:pt x="44097" y="18539"/>
                </a:lnTo>
                <a:lnTo>
                  <a:pt x="44164" y="18596"/>
                </a:lnTo>
                <a:lnTo>
                  <a:pt x="44232" y="18655"/>
                </a:lnTo>
                <a:lnTo>
                  <a:pt x="44298" y="18714"/>
                </a:lnTo>
                <a:lnTo>
                  <a:pt x="44365" y="18772"/>
                </a:lnTo>
                <a:lnTo>
                  <a:pt x="44430" y="18832"/>
                </a:lnTo>
                <a:lnTo>
                  <a:pt x="44496" y="18893"/>
                </a:lnTo>
                <a:lnTo>
                  <a:pt x="44560" y="18954"/>
                </a:lnTo>
                <a:lnTo>
                  <a:pt x="44623" y="19015"/>
                </a:lnTo>
                <a:lnTo>
                  <a:pt x="44686" y="19077"/>
                </a:lnTo>
                <a:lnTo>
                  <a:pt x="44749" y="19140"/>
                </a:lnTo>
                <a:lnTo>
                  <a:pt x="44809" y="19203"/>
                </a:lnTo>
                <a:lnTo>
                  <a:pt x="44870" y="19266"/>
                </a:lnTo>
                <a:lnTo>
                  <a:pt x="44931" y="19330"/>
                </a:lnTo>
                <a:lnTo>
                  <a:pt x="44990" y="19396"/>
                </a:lnTo>
                <a:lnTo>
                  <a:pt x="45048" y="19460"/>
                </a:lnTo>
                <a:lnTo>
                  <a:pt x="45107" y="19526"/>
                </a:lnTo>
                <a:lnTo>
                  <a:pt x="45164" y="19593"/>
                </a:lnTo>
                <a:lnTo>
                  <a:pt x="45220" y="19659"/>
                </a:lnTo>
                <a:lnTo>
                  <a:pt x="45276" y="19727"/>
                </a:lnTo>
                <a:lnTo>
                  <a:pt x="45331" y="19794"/>
                </a:lnTo>
                <a:lnTo>
                  <a:pt x="45384" y="19863"/>
                </a:lnTo>
                <a:lnTo>
                  <a:pt x="45438" y="19931"/>
                </a:lnTo>
                <a:lnTo>
                  <a:pt x="45490" y="20001"/>
                </a:lnTo>
                <a:lnTo>
                  <a:pt x="45542" y="20071"/>
                </a:lnTo>
                <a:lnTo>
                  <a:pt x="45593" y="20141"/>
                </a:lnTo>
                <a:lnTo>
                  <a:pt x="45643" y="20213"/>
                </a:lnTo>
                <a:lnTo>
                  <a:pt x="45692" y="20284"/>
                </a:lnTo>
                <a:lnTo>
                  <a:pt x="45740" y="20355"/>
                </a:lnTo>
                <a:lnTo>
                  <a:pt x="45788" y="20429"/>
                </a:lnTo>
                <a:lnTo>
                  <a:pt x="45835" y="20502"/>
                </a:lnTo>
                <a:lnTo>
                  <a:pt x="45880" y="20575"/>
                </a:lnTo>
                <a:lnTo>
                  <a:pt x="45924" y="20649"/>
                </a:lnTo>
                <a:lnTo>
                  <a:pt x="45969" y="20724"/>
                </a:lnTo>
                <a:lnTo>
                  <a:pt x="46012" y="20799"/>
                </a:lnTo>
                <a:lnTo>
                  <a:pt x="46054" y="20875"/>
                </a:lnTo>
                <a:lnTo>
                  <a:pt x="46095" y="20951"/>
                </a:lnTo>
                <a:lnTo>
                  <a:pt x="46134" y="21028"/>
                </a:lnTo>
                <a:lnTo>
                  <a:pt x="46174" y="21105"/>
                </a:lnTo>
                <a:lnTo>
                  <a:pt x="46212" y="21183"/>
                </a:lnTo>
                <a:lnTo>
                  <a:pt x="46250" y="21261"/>
                </a:lnTo>
                <a:lnTo>
                  <a:pt x="46286" y="21340"/>
                </a:lnTo>
                <a:lnTo>
                  <a:pt x="46321" y="21419"/>
                </a:lnTo>
                <a:lnTo>
                  <a:pt x="46355" y="21499"/>
                </a:lnTo>
                <a:lnTo>
                  <a:pt x="46389" y="21580"/>
                </a:lnTo>
                <a:lnTo>
                  <a:pt x="46420" y="21661"/>
                </a:lnTo>
                <a:lnTo>
                  <a:pt x="46452" y="21742"/>
                </a:lnTo>
                <a:lnTo>
                  <a:pt x="46482" y="21824"/>
                </a:lnTo>
                <a:lnTo>
                  <a:pt x="46511" y="21907"/>
                </a:lnTo>
                <a:lnTo>
                  <a:pt x="46539" y="21990"/>
                </a:lnTo>
                <a:lnTo>
                  <a:pt x="46566" y="22073"/>
                </a:lnTo>
                <a:lnTo>
                  <a:pt x="46592" y="22157"/>
                </a:lnTo>
                <a:lnTo>
                  <a:pt x="46616" y="22242"/>
                </a:lnTo>
                <a:lnTo>
                  <a:pt x="46639" y="22327"/>
                </a:lnTo>
                <a:lnTo>
                  <a:pt x="46662" y="22413"/>
                </a:lnTo>
                <a:lnTo>
                  <a:pt x="46684" y="22499"/>
                </a:lnTo>
                <a:lnTo>
                  <a:pt x="46704" y="22585"/>
                </a:lnTo>
                <a:lnTo>
                  <a:pt x="46723" y="22673"/>
                </a:lnTo>
                <a:lnTo>
                  <a:pt x="46723" y="22673"/>
                </a:lnTo>
                <a:lnTo>
                  <a:pt x="46728" y="22705"/>
                </a:lnTo>
                <a:lnTo>
                  <a:pt x="46735" y="22751"/>
                </a:lnTo>
                <a:lnTo>
                  <a:pt x="46741" y="22810"/>
                </a:lnTo>
                <a:lnTo>
                  <a:pt x="46748" y="22881"/>
                </a:lnTo>
                <a:lnTo>
                  <a:pt x="46755" y="22963"/>
                </a:lnTo>
                <a:lnTo>
                  <a:pt x="46762" y="23054"/>
                </a:lnTo>
                <a:lnTo>
                  <a:pt x="46776" y="23263"/>
                </a:lnTo>
                <a:lnTo>
                  <a:pt x="46790" y="23499"/>
                </a:lnTo>
                <a:lnTo>
                  <a:pt x="46796" y="23625"/>
                </a:lnTo>
                <a:lnTo>
                  <a:pt x="46802" y="23756"/>
                </a:lnTo>
                <a:lnTo>
                  <a:pt x="46806" y="23890"/>
                </a:lnTo>
                <a:lnTo>
                  <a:pt x="46811" y="24025"/>
                </a:lnTo>
                <a:lnTo>
                  <a:pt x="46814" y="24162"/>
                </a:lnTo>
                <a:lnTo>
                  <a:pt x="46817" y="24298"/>
                </a:lnTo>
                <a:lnTo>
                  <a:pt x="46819" y="24434"/>
                </a:lnTo>
                <a:lnTo>
                  <a:pt x="46819" y="24568"/>
                </a:lnTo>
                <a:lnTo>
                  <a:pt x="46818" y="24700"/>
                </a:lnTo>
                <a:lnTo>
                  <a:pt x="46816" y="24829"/>
                </a:lnTo>
                <a:lnTo>
                  <a:pt x="46812" y="24951"/>
                </a:lnTo>
                <a:lnTo>
                  <a:pt x="46807" y="25069"/>
                </a:lnTo>
                <a:lnTo>
                  <a:pt x="46800" y="25181"/>
                </a:lnTo>
                <a:lnTo>
                  <a:pt x="46792" y="25284"/>
                </a:lnTo>
                <a:lnTo>
                  <a:pt x="46786" y="25332"/>
                </a:lnTo>
                <a:lnTo>
                  <a:pt x="46782" y="25379"/>
                </a:lnTo>
                <a:lnTo>
                  <a:pt x="46776" y="25423"/>
                </a:lnTo>
                <a:lnTo>
                  <a:pt x="46769" y="25464"/>
                </a:lnTo>
                <a:lnTo>
                  <a:pt x="46762" y="25503"/>
                </a:lnTo>
                <a:lnTo>
                  <a:pt x="46755" y="25539"/>
                </a:lnTo>
                <a:lnTo>
                  <a:pt x="46747" y="25573"/>
                </a:lnTo>
                <a:lnTo>
                  <a:pt x="46739" y="25602"/>
                </a:lnTo>
                <a:lnTo>
                  <a:pt x="46729" y="25630"/>
                </a:lnTo>
                <a:lnTo>
                  <a:pt x="46720" y="25653"/>
                </a:lnTo>
                <a:lnTo>
                  <a:pt x="46709" y="25674"/>
                </a:lnTo>
                <a:lnTo>
                  <a:pt x="46698" y="25691"/>
                </a:lnTo>
                <a:lnTo>
                  <a:pt x="46693" y="25699"/>
                </a:lnTo>
                <a:lnTo>
                  <a:pt x="46687" y="25704"/>
                </a:lnTo>
                <a:lnTo>
                  <a:pt x="46680" y="25710"/>
                </a:lnTo>
                <a:lnTo>
                  <a:pt x="46674" y="25714"/>
                </a:lnTo>
                <a:lnTo>
                  <a:pt x="46669" y="25718"/>
                </a:lnTo>
                <a:lnTo>
                  <a:pt x="46662" y="25721"/>
                </a:lnTo>
                <a:lnTo>
                  <a:pt x="46656" y="25722"/>
                </a:lnTo>
                <a:lnTo>
                  <a:pt x="46649" y="25722"/>
                </a:lnTo>
                <a:lnTo>
                  <a:pt x="46649" y="25722"/>
                </a:lnTo>
                <a:lnTo>
                  <a:pt x="44083" y="25722"/>
                </a:lnTo>
                <a:lnTo>
                  <a:pt x="44083" y="2572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74622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Many barriers to Assistive Technology adoption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0" y="1356420"/>
            <a:ext cx="3643313" cy="1624560"/>
            <a:chOff x="0" y="1356419"/>
            <a:chExt cx="5382335" cy="2399993"/>
          </a:xfrm>
        </p:grpSpPr>
        <p:sp>
          <p:nvSpPr>
            <p:cNvPr id="13" name="Rectangle 12"/>
            <p:cNvSpPr/>
            <p:nvPr/>
          </p:nvSpPr>
          <p:spPr>
            <a:xfrm>
              <a:off x="0" y="2420431"/>
              <a:ext cx="4132738" cy="271968"/>
            </a:xfrm>
            <a:prstGeom prst="rect">
              <a:avLst/>
            </a:prstGeom>
            <a:gradFill flip="none" rotWithShape="1">
              <a:gsLst>
                <a:gs pos="98000">
                  <a:schemeClr val="bg1">
                    <a:lumMod val="50000"/>
                  </a:schemeClr>
                </a:gs>
                <a:gs pos="0">
                  <a:schemeClr val="bg1">
                    <a:lumMod val="50000"/>
                  </a:schemeClr>
                </a:gs>
                <a:gs pos="31000">
                  <a:srgbClr val="666666">
                    <a:tint val="44500"/>
                    <a:satMod val="160000"/>
                  </a:srgbClr>
                </a:gs>
                <a:gs pos="55000">
                  <a:srgbClr val="666666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152495" y="1819815"/>
              <a:ext cx="3136900" cy="1473200"/>
            </a:xfrm>
            <a:prstGeom prst="roundRect">
              <a:avLst>
                <a:gd name="adj" fmla="val 632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/>
                <a:t>BARRIERS TO ADOPTION</a:t>
              </a:r>
              <a:endParaRPr lang="en-US" sz="2400" b="1" dirty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219170" y="1882441"/>
              <a:ext cx="3003550" cy="1347948"/>
            </a:xfrm>
            <a:prstGeom prst="roundRect">
              <a:avLst>
                <a:gd name="adj" fmla="val 2965"/>
              </a:avLst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3761665" y="1356419"/>
              <a:ext cx="1620670" cy="2399993"/>
              <a:chOff x="3132153" y="3403957"/>
              <a:chExt cx="1620670" cy="2399993"/>
            </a:xfrm>
          </p:grpSpPr>
          <p:grpSp>
            <p:nvGrpSpPr>
              <p:cNvPr id="17" name="Group 16"/>
              <p:cNvGrpSpPr/>
              <p:nvPr/>
            </p:nvGrpSpPr>
            <p:grpSpPr>
              <a:xfrm>
                <a:off x="4418954" y="3565145"/>
                <a:ext cx="333869" cy="1829815"/>
                <a:chOff x="4418954" y="3565145"/>
                <a:chExt cx="333869" cy="1829815"/>
              </a:xfrm>
            </p:grpSpPr>
            <p:sp>
              <p:nvSpPr>
                <p:cNvPr id="40" name="Freeform 39"/>
                <p:cNvSpPr/>
                <p:nvPr/>
              </p:nvSpPr>
              <p:spPr>
                <a:xfrm>
                  <a:off x="4418954" y="4966519"/>
                  <a:ext cx="328306" cy="428441"/>
                </a:xfrm>
                <a:custGeom>
                  <a:avLst/>
                  <a:gdLst>
                    <a:gd name="connsiteX0" fmla="*/ 0 w 328306"/>
                    <a:gd name="connsiteY0" fmla="*/ 0 h 428441"/>
                    <a:gd name="connsiteX1" fmla="*/ 328306 w 328306"/>
                    <a:gd name="connsiteY1" fmla="*/ 0 h 428441"/>
                    <a:gd name="connsiteX2" fmla="*/ 328306 w 328306"/>
                    <a:gd name="connsiteY2" fmla="*/ 58638 h 428441"/>
                    <a:gd name="connsiteX3" fmla="*/ 267004 w 328306"/>
                    <a:gd name="connsiteY3" fmla="*/ 77667 h 428441"/>
                    <a:gd name="connsiteX4" fmla="*/ 64557 w 328306"/>
                    <a:gd name="connsiteY4" fmla="*/ 383088 h 428441"/>
                    <a:gd name="connsiteX5" fmla="*/ 69129 w 328306"/>
                    <a:gd name="connsiteY5" fmla="*/ 428441 h 428441"/>
                    <a:gd name="connsiteX6" fmla="*/ 0 w 328306"/>
                    <a:gd name="connsiteY6" fmla="*/ 428441 h 4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306" h="428441">
                      <a:moveTo>
                        <a:pt x="0" y="0"/>
                      </a:moveTo>
                      <a:lnTo>
                        <a:pt x="328306" y="0"/>
                      </a:lnTo>
                      <a:lnTo>
                        <a:pt x="328306" y="58638"/>
                      </a:lnTo>
                      <a:lnTo>
                        <a:pt x="267004" y="77667"/>
                      </a:lnTo>
                      <a:cubicBezTo>
                        <a:pt x="148035" y="127987"/>
                        <a:pt x="64557" y="245789"/>
                        <a:pt x="64557" y="383088"/>
                      </a:cubicBezTo>
                      <a:lnTo>
                        <a:pt x="69129" y="428441"/>
                      </a:lnTo>
                      <a:lnTo>
                        <a:pt x="0" y="428441"/>
                      </a:lnTo>
                      <a:close/>
                    </a:path>
                  </a:pathLst>
                </a:custGeom>
                <a:solidFill>
                  <a:srgbClr val="43414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/>
                </a:p>
              </p:txBody>
            </p:sp>
            <p:sp>
              <p:nvSpPr>
                <p:cNvPr id="41" name="Freeform 40"/>
                <p:cNvSpPr/>
                <p:nvPr/>
              </p:nvSpPr>
              <p:spPr>
                <a:xfrm>
                  <a:off x="4422441" y="3565145"/>
                  <a:ext cx="328306" cy="428441"/>
                </a:xfrm>
                <a:custGeom>
                  <a:avLst/>
                  <a:gdLst>
                    <a:gd name="connsiteX0" fmla="*/ 0 w 328306"/>
                    <a:gd name="connsiteY0" fmla="*/ 0 h 428441"/>
                    <a:gd name="connsiteX1" fmla="*/ 328306 w 328306"/>
                    <a:gd name="connsiteY1" fmla="*/ 0 h 428441"/>
                    <a:gd name="connsiteX2" fmla="*/ 328306 w 328306"/>
                    <a:gd name="connsiteY2" fmla="*/ 58638 h 428441"/>
                    <a:gd name="connsiteX3" fmla="*/ 267004 w 328306"/>
                    <a:gd name="connsiteY3" fmla="*/ 77667 h 428441"/>
                    <a:gd name="connsiteX4" fmla="*/ 64557 w 328306"/>
                    <a:gd name="connsiteY4" fmla="*/ 383088 h 428441"/>
                    <a:gd name="connsiteX5" fmla="*/ 69129 w 328306"/>
                    <a:gd name="connsiteY5" fmla="*/ 428441 h 428441"/>
                    <a:gd name="connsiteX6" fmla="*/ 0 w 328306"/>
                    <a:gd name="connsiteY6" fmla="*/ 428441 h 4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306" h="428441">
                      <a:moveTo>
                        <a:pt x="0" y="0"/>
                      </a:moveTo>
                      <a:lnTo>
                        <a:pt x="328306" y="0"/>
                      </a:lnTo>
                      <a:lnTo>
                        <a:pt x="328306" y="58638"/>
                      </a:lnTo>
                      <a:lnTo>
                        <a:pt x="267004" y="77667"/>
                      </a:lnTo>
                      <a:cubicBezTo>
                        <a:pt x="148035" y="127987"/>
                        <a:pt x="64557" y="245789"/>
                        <a:pt x="64557" y="383088"/>
                      </a:cubicBezTo>
                      <a:lnTo>
                        <a:pt x="69129" y="428441"/>
                      </a:lnTo>
                      <a:lnTo>
                        <a:pt x="0" y="428441"/>
                      </a:lnTo>
                      <a:close/>
                    </a:path>
                  </a:pathLst>
                </a:custGeom>
                <a:solidFill>
                  <a:srgbClr val="43414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/>
                </a:p>
              </p:txBody>
            </p:sp>
            <p:sp>
              <p:nvSpPr>
                <p:cNvPr id="42" name="Freeform 41"/>
                <p:cNvSpPr/>
                <p:nvPr/>
              </p:nvSpPr>
              <p:spPr>
                <a:xfrm>
                  <a:off x="4424517" y="4265832"/>
                  <a:ext cx="328306" cy="428441"/>
                </a:xfrm>
                <a:custGeom>
                  <a:avLst/>
                  <a:gdLst>
                    <a:gd name="connsiteX0" fmla="*/ 0 w 328306"/>
                    <a:gd name="connsiteY0" fmla="*/ 0 h 428441"/>
                    <a:gd name="connsiteX1" fmla="*/ 328306 w 328306"/>
                    <a:gd name="connsiteY1" fmla="*/ 0 h 428441"/>
                    <a:gd name="connsiteX2" fmla="*/ 328306 w 328306"/>
                    <a:gd name="connsiteY2" fmla="*/ 58638 h 428441"/>
                    <a:gd name="connsiteX3" fmla="*/ 267004 w 328306"/>
                    <a:gd name="connsiteY3" fmla="*/ 77667 h 428441"/>
                    <a:gd name="connsiteX4" fmla="*/ 64557 w 328306"/>
                    <a:gd name="connsiteY4" fmla="*/ 383088 h 428441"/>
                    <a:gd name="connsiteX5" fmla="*/ 69129 w 328306"/>
                    <a:gd name="connsiteY5" fmla="*/ 428441 h 428441"/>
                    <a:gd name="connsiteX6" fmla="*/ 0 w 328306"/>
                    <a:gd name="connsiteY6" fmla="*/ 428441 h 4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306" h="428441">
                      <a:moveTo>
                        <a:pt x="0" y="0"/>
                      </a:moveTo>
                      <a:lnTo>
                        <a:pt x="328306" y="0"/>
                      </a:lnTo>
                      <a:lnTo>
                        <a:pt x="328306" y="58638"/>
                      </a:lnTo>
                      <a:lnTo>
                        <a:pt x="267004" y="77667"/>
                      </a:lnTo>
                      <a:cubicBezTo>
                        <a:pt x="148035" y="127987"/>
                        <a:pt x="64557" y="245789"/>
                        <a:pt x="64557" y="383088"/>
                      </a:cubicBezTo>
                      <a:lnTo>
                        <a:pt x="69129" y="428441"/>
                      </a:lnTo>
                      <a:lnTo>
                        <a:pt x="0" y="428441"/>
                      </a:lnTo>
                      <a:close/>
                    </a:path>
                  </a:pathLst>
                </a:custGeom>
                <a:solidFill>
                  <a:srgbClr val="43414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/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3132153" y="3565145"/>
                <a:ext cx="338328" cy="1829815"/>
                <a:chOff x="3132153" y="3565145"/>
                <a:chExt cx="338328" cy="1829815"/>
              </a:xfrm>
            </p:grpSpPr>
            <p:sp>
              <p:nvSpPr>
                <p:cNvPr id="37" name="Freeform 36"/>
                <p:cNvSpPr/>
                <p:nvPr/>
              </p:nvSpPr>
              <p:spPr>
                <a:xfrm flipH="1">
                  <a:off x="3137790" y="4966519"/>
                  <a:ext cx="332691" cy="428441"/>
                </a:xfrm>
                <a:custGeom>
                  <a:avLst/>
                  <a:gdLst>
                    <a:gd name="connsiteX0" fmla="*/ 0 w 328306"/>
                    <a:gd name="connsiteY0" fmla="*/ 0 h 428441"/>
                    <a:gd name="connsiteX1" fmla="*/ 328306 w 328306"/>
                    <a:gd name="connsiteY1" fmla="*/ 0 h 428441"/>
                    <a:gd name="connsiteX2" fmla="*/ 328306 w 328306"/>
                    <a:gd name="connsiteY2" fmla="*/ 58638 h 428441"/>
                    <a:gd name="connsiteX3" fmla="*/ 267004 w 328306"/>
                    <a:gd name="connsiteY3" fmla="*/ 77667 h 428441"/>
                    <a:gd name="connsiteX4" fmla="*/ 64557 w 328306"/>
                    <a:gd name="connsiteY4" fmla="*/ 383088 h 428441"/>
                    <a:gd name="connsiteX5" fmla="*/ 69129 w 328306"/>
                    <a:gd name="connsiteY5" fmla="*/ 428441 h 428441"/>
                    <a:gd name="connsiteX6" fmla="*/ 0 w 328306"/>
                    <a:gd name="connsiteY6" fmla="*/ 428441 h 4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306" h="428441">
                      <a:moveTo>
                        <a:pt x="0" y="0"/>
                      </a:moveTo>
                      <a:lnTo>
                        <a:pt x="328306" y="0"/>
                      </a:lnTo>
                      <a:lnTo>
                        <a:pt x="328306" y="58638"/>
                      </a:lnTo>
                      <a:lnTo>
                        <a:pt x="267004" y="77667"/>
                      </a:lnTo>
                      <a:cubicBezTo>
                        <a:pt x="148035" y="127987"/>
                        <a:pt x="64557" y="245789"/>
                        <a:pt x="64557" y="383088"/>
                      </a:cubicBezTo>
                      <a:lnTo>
                        <a:pt x="69129" y="428441"/>
                      </a:lnTo>
                      <a:lnTo>
                        <a:pt x="0" y="428441"/>
                      </a:lnTo>
                      <a:close/>
                    </a:path>
                  </a:pathLst>
                </a:custGeom>
                <a:solidFill>
                  <a:srgbClr val="43414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/>
                </a:p>
              </p:txBody>
            </p:sp>
            <p:sp>
              <p:nvSpPr>
                <p:cNvPr id="38" name="Freeform 37"/>
                <p:cNvSpPr/>
                <p:nvPr/>
              </p:nvSpPr>
              <p:spPr>
                <a:xfrm flipH="1">
                  <a:off x="3134257" y="3565145"/>
                  <a:ext cx="332691" cy="428441"/>
                </a:xfrm>
                <a:custGeom>
                  <a:avLst/>
                  <a:gdLst>
                    <a:gd name="connsiteX0" fmla="*/ 0 w 328306"/>
                    <a:gd name="connsiteY0" fmla="*/ 0 h 428441"/>
                    <a:gd name="connsiteX1" fmla="*/ 328306 w 328306"/>
                    <a:gd name="connsiteY1" fmla="*/ 0 h 428441"/>
                    <a:gd name="connsiteX2" fmla="*/ 328306 w 328306"/>
                    <a:gd name="connsiteY2" fmla="*/ 58638 h 428441"/>
                    <a:gd name="connsiteX3" fmla="*/ 267004 w 328306"/>
                    <a:gd name="connsiteY3" fmla="*/ 77667 h 428441"/>
                    <a:gd name="connsiteX4" fmla="*/ 64557 w 328306"/>
                    <a:gd name="connsiteY4" fmla="*/ 383088 h 428441"/>
                    <a:gd name="connsiteX5" fmla="*/ 69129 w 328306"/>
                    <a:gd name="connsiteY5" fmla="*/ 428441 h 428441"/>
                    <a:gd name="connsiteX6" fmla="*/ 0 w 328306"/>
                    <a:gd name="connsiteY6" fmla="*/ 428441 h 4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306" h="428441">
                      <a:moveTo>
                        <a:pt x="0" y="0"/>
                      </a:moveTo>
                      <a:lnTo>
                        <a:pt x="328306" y="0"/>
                      </a:lnTo>
                      <a:lnTo>
                        <a:pt x="328306" y="58638"/>
                      </a:lnTo>
                      <a:lnTo>
                        <a:pt x="267004" y="77667"/>
                      </a:lnTo>
                      <a:cubicBezTo>
                        <a:pt x="148035" y="127987"/>
                        <a:pt x="64557" y="245789"/>
                        <a:pt x="64557" y="383088"/>
                      </a:cubicBezTo>
                      <a:lnTo>
                        <a:pt x="69129" y="428441"/>
                      </a:lnTo>
                      <a:lnTo>
                        <a:pt x="0" y="428441"/>
                      </a:lnTo>
                      <a:close/>
                    </a:path>
                  </a:pathLst>
                </a:custGeom>
                <a:solidFill>
                  <a:srgbClr val="43414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/>
                </a:p>
              </p:txBody>
            </p:sp>
            <p:sp>
              <p:nvSpPr>
                <p:cNvPr id="39" name="Freeform 38"/>
                <p:cNvSpPr/>
                <p:nvPr/>
              </p:nvSpPr>
              <p:spPr>
                <a:xfrm flipH="1">
                  <a:off x="3132153" y="4265832"/>
                  <a:ext cx="332691" cy="428441"/>
                </a:xfrm>
                <a:custGeom>
                  <a:avLst/>
                  <a:gdLst>
                    <a:gd name="connsiteX0" fmla="*/ 0 w 328306"/>
                    <a:gd name="connsiteY0" fmla="*/ 0 h 428441"/>
                    <a:gd name="connsiteX1" fmla="*/ 328306 w 328306"/>
                    <a:gd name="connsiteY1" fmla="*/ 0 h 428441"/>
                    <a:gd name="connsiteX2" fmla="*/ 328306 w 328306"/>
                    <a:gd name="connsiteY2" fmla="*/ 58638 h 428441"/>
                    <a:gd name="connsiteX3" fmla="*/ 267004 w 328306"/>
                    <a:gd name="connsiteY3" fmla="*/ 77667 h 428441"/>
                    <a:gd name="connsiteX4" fmla="*/ 64557 w 328306"/>
                    <a:gd name="connsiteY4" fmla="*/ 383088 h 428441"/>
                    <a:gd name="connsiteX5" fmla="*/ 69129 w 328306"/>
                    <a:gd name="connsiteY5" fmla="*/ 428441 h 428441"/>
                    <a:gd name="connsiteX6" fmla="*/ 0 w 328306"/>
                    <a:gd name="connsiteY6" fmla="*/ 428441 h 4284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28306" h="428441">
                      <a:moveTo>
                        <a:pt x="0" y="0"/>
                      </a:moveTo>
                      <a:lnTo>
                        <a:pt x="328306" y="0"/>
                      </a:lnTo>
                      <a:lnTo>
                        <a:pt x="328306" y="58638"/>
                      </a:lnTo>
                      <a:lnTo>
                        <a:pt x="267004" y="77667"/>
                      </a:lnTo>
                      <a:cubicBezTo>
                        <a:pt x="148035" y="127987"/>
                        <a:pt x="64557" y="245789"/>
                        <a:pt x="64557" y="383088"/>
                      </a:cubicBezTo>
                      <a:lnTo>
                        <a:pt x="69129" y="428441"/>
                      </a:lnTo>
                      <a:lnTo>
                        <a:pt x="0" y="428441"/>
                      </a:lnTo>
                      <a:close/>
                    </a:path>
                  </a:pathLst>
                </a:custGeom>
                <a:solidFill>
                  <a:srgbClr val="43414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/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3487364" y="3403957"/>
                <a:ext cx="914706" cy="2399993"/>
                <a:chOff x="3490146" y="3403957"/>
                <a:chExt cx="914706" cy="2399993"/>
              </a:xfrm>
            </p:grpSpPr>
            <p:sp>
              <p:nvSpPr>
                <p:cNvPr id="20" name="Rounded Rectangle 19"/>
                <p:cNvSpPr/>
                <p:nvPr/>
              </p:nvSpPr>
              <p:spPr>
                <a:xfrm>
                  <a:off x="3490146" y="3403957"/>
                  <a:ext cx="914706" cy="2399993"/>
                </a:xfrm>
                <a:prstGeom prst="roundRect">
                  <a:avLst/>
                </a:prstGeom>
                <a:solidFill>
                  <a:srgbClr val="666666"/>
                </a:solidFill>
                <a:ln w="57150">
                  <a:solidFill>
                    <a:srgbClr val="CACCCB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400" dirty="0"/>
                </a:p>
              </p:txBody>
            </p:sp>
            <p:grpSp>
              <p:nvGrpSpPr>
                <p:cNvPr id="21" name="Group 20"/>
                <p:cNvGrpSpPr/>
                <p:nvPr/>
              </p:nvGrpSpPr>
              <p:grpSpPr>
                <a:xfrm>
                  <a:off x="3641470" y="4987181"/>
                  <a:ext cx="612058" cy="621890"/>
                  <a:chOff x="3641470" y="4987181"/>
                  <a:chExt cx="612058" cy="621890"/>
                </a:xfrm>
              </p:grpSpPr>
              <p:sp>
                <p:nvSpPr>
                  <p:cNvPr id="33" name="Oval 32"/>
                  <p:cNvSpPr/>
                  <p:nvPr/>
                </p:nvSpPr>
                <p:spPr>
                  <a:xfrm>
                    <a:off x="3641470" y="4987181"/>
                    <a:ext cx="612058" cy="612058"/>
                  </a:xfrm>
                  <a:prstGeom prst="ellipse">
                    <a:avLst/>
                  </a:prstGeom>
                  <a:solidFill>
                    <a:srgbClr val="33333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400" dirty="0"/>
                  </a:p>
                </p:txBody>
              </p:sp>
              <p:sp>
                <p:nvSpPr>
                  <p:cNvPr id="34" name="Oval 33"/>
                  <p:cNvSpPr/>
                  <p:nvPr/>
                </p:nvSpPr>
                <p:spPr>
                  <a:xfrm>
                    <a:off x="3691861" y="5038799"/>
                    <a:ext cx="511277" cy="511277"/>
                  </a:xfrm>
                  <a:prstGeom prst="ellipse">
                    <a:avLst/>
                  </a:prstGeom>
                  <a:solidFill>
                    <a:srgbClr val="05050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400" dirty="0"/>
                  </a:p>
                </p:txBody>
              </p:sp>
              <p:sp>
                <p:nvSpPr>
                  <p:cNvPr id="35" name="Oval 34"/>
                  <p:cNvSpPr/>
                  <p:nvPr/>
                </p:nvSpPr>
                <p:spPr>
                  <a:xfrm>
                    <a:off x="3691861" y="5097794"/>
                    <a:ext cx="511277" cy="511277"/>
                  </a:xfrm>
                  <a:prstGeom prst="ellipse">
                    <a:avLst/>
                  </a:prstGeom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400" dirty="0"/>
                  </a:p>
                </p:txBody>
              </p:sp>
              <p:sp>
                <p:nvSpPr>
                  <p:cNvPr id="36" name="Freeform 35"/>
                  <p:cNvSpPr/>
                  <p:nvPr/>
                </p:nvSpPr>
                <p:spPr>
                  <a:xfrm>
                    <a:off x="3734723" y="5140656"/>
                    <a:ext cx="333442" cy="363643"/>
                  </a:xfrm>
                  <a:custGeom>
                    <a:avLst/>
                    <a:gdLst>
                      <a:gd name="connsiteX0" fmla="*/ 236589 w 361322"/>
                      <a:gd name="connsiteY0" fmla="*/ 0 h 394048"/>
                      <a:gd name="connsiteX1" fmla="*/ 328680 w 361322"/>
                      <a:gd name="connsiteY1" fmla="*/ 18593 h 394048"/>
                      <a:gd name="connsiteX2" fmla="*/ 361322 w 361322"/>
                      <a:gd name="connsiteY2" fmla="*/ 36310 h 394048"/>
                      <a:gd name="connsiteX3" fmla="*/ 345601 w 361322"/>
                      <a:gd name="connsiteY3" fmla="*/ 31430 h 394048"/>
                      <a:gd name="connsiteX4" fmla="*/ 293624 w 361322"/>
                      <a:gd name="connsiteY4" fmla="*/ 26190 h 394048"/>
                      <a:gd name="connsiteX5" fmla="*/ 35721 w 361322"/>
                      <a:gd name="connsiteY5" fmla="*/ 284093 h 394048"/>
                      <a:gd name="connsiteX6" fmla="*/ 55989 w 361322"/>
                      <a:gd name="connsiteY6" fmla="*/ 384481 h 394048"/>
                      <a:gd name="connsiteX7" fmla="*/ 61182 w 361322"/>
                      <a:gd name="connsiteY7" fmla="*/ 394048 h 394048"/>
                      <a:gd name="connsiteX8" fmla="*/ 40406 w 361322"/>
                      <a:gd name="connsiteY8" fmla="*/ 368868 h 394048"/>
                      <a:gd name="connsiteX9" fmla="*/ 0 w 361322"/>
                      <a:gd name="connsiteY9" fmla="*/ 236589 h 394048"/>
                      <a:gd name="connsiteX10" fmla="*/ 236589 w 361322"/>
                      <a:gd name="connsiteY10" fmla="*/ 0 h 3940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61322" h="394048">
                        <a:moveTo>
                          <a:pt x="236589" y="0"/>
                        </a:moveTo>
                        <a:cubicBezTo>
                          <a:pt x="269255" y="0"/>
                          <a:pt x="300375" y="6621"/>
                          <a:pt x="328680" y="18593"/>
                        </a:cubicBezTo>
                        <a:lnTo>
                          <a:pt x="361322" y="36310"/>
                        </a:lnTo>
                        <a:lnTo>
                          <a:pt x="345601" y="31430"/>
                        </a:lnTo>
                        <a:cubicBezTo>
                          <a:pt x="328812" y="27994"/>
                          <a:pt x="311429" y="26190"/>
                          <a:pt x="293624" y="26190"/>
                        </a:cubicBezTo>
                        <a:cubicBezTo>
                          <a:pt x="151188" y="26190"/>
                          <a:pt x="35721" y="141657"/>
                          <a:pt x="35721" y="284093"/>
                        </a:cubicBezTo>
                        <a:cubicBezTo>
                          <a:pt x="35721" y="319702"/>
                          <a:pt x="42938" y="353626"/>
                          <a:pt x="55989" y="384481"/>
                        </a:cubicBezTo>
                        <a:lnTo>
                          <a:pt x="61182" y="394048"/>
                        </a:lnTo>
                        <a:lnTo>
                          <a:pt x="40406" y="368868"/>
                        </a:lnTo>
                        <a:cubicBezTo>
                          <a:pt x="14896" y="331108"/>
                          <a:pt x="0" y="285588"/>
                          <a:pt x="0" y="236589"/>
                        </a:cubicBezTo>
                        <a:cubicBezTo>
                          <a:pt x="0" y="105925"/>
                          <a:pt x="105925" y="0"/>
                          <a:pt x="23658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 sz="2400" dirty="0"/>
                  </a:p>
                </p:txBody>
              </p:sp>
            </p:grpSp>
            <p:grpSp>
              <p:nvGrpSpPr>
                <p:cNvPr id="22" name="Group 21"/>
                <p:cNvGrpSpPr/>
                <p:nvPr/>
              </p:nvGrpSpPr>
              <p:grpSpPr>
                <a:xfrm>
                  <a:off x="3641470" y="4293008"/>
                  <a:ext cx="612058" cy="621890"/>
                  <a:chOff x="3641470" y="4293008"/>
                  <a:chExt cx="612058" cy="621890"/>
                </a:xfrm>
              </p:grpSpPr>
              <p:sp>
                <p:nvSpPr>
                  <p:cNvPr id="28" name="Oval 27"/>
                  <p:cNvSpPr/>
                  <p:nvPr/>
                </p:nvSpPr>
                <p:spPr>
                  <a:xfrm>
                    <a:off x="3641470" y="4293008"/>
                    <a:ext cx="612058" cy="612058"/>
                  </a:xfrm>
                  <a:prstGeom prst="ellipse">
                    <a:avLst/>
                  </a:prstGeom>
                  <a:solidFill>
                    <a:srgbClr val="33333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400" dirty="0"/>
                  </a:p>
                </p:txBody>
              </p:sp>
              <p:sp>
                <p:nvSpPr>
                  <p:cNvPr id="29" name="Oval 28"/>
                  <p:cNvSpPr/>
                  <p:nvPr/>
                </p:nvSpPr>
                <p:spPr>
                  <a:xfrm>
                    <a:off x="3691861" y="4344626"/>
                    <a:ext cx="511277" cy="511277"/>
                  </a:xfrm>
                  <a:prstGeom prst="ellipse">
                    <a:avLst/>
                  </a:prstGeom>
                  <a:solidFill>
                    <a:srgbClr val="05050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400" dirty="0"/>
                  </a:p>
                </p:txBody>
              </p:sp>
              <p:grpSp>
                <p:nvGrpSpPr>
                  <p:cNvPr id="30" name="Group 29"/>
                  <p:cNvGrpSpPr/>
                  <p:nvPr/>
                </p:nvGrpSpPr>
                <p:grpSpPr>
                  <a:xfrm>
                    <a:off x="3691861" y="4403621"/>
                    <a:ext cx="511277" cy="511277"/>
                    <a:chOff x="4839624" y="5660921"/>
                    <a:chExt cx="511277" cy="511277"/>
                  </a:xfrm>
                </p:grpSpPr>
                <p:sp>
                  <p:nvSpPr>
                    <p:cNvPr id="31" name="Oval 30"/>
                    <p:cNvSpPr/>
                    <p:nvPr/>
                  </p:nvSpPr>
                  <p:spPr>
                    <a:xfrm>
                      <a:off x="4839624" y="5660921"/>
                      <a:ext cx="511277" cy="511277"/>
                    </a:xfrm>
                    <a:prstGeom prst="ellipse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sz="2400" dirty="0"/>
                    </a:p>
                  </p:txBody>
                </p:sp>
                <p:sp>
                  <p:nvSpPr>
                    <p:cNvPr id="32" name="Freeform 31"/>
                    <p:cNvSpPr/>
                    <p:nvPr/>
                  </p:nvSpPr>
                  <p:spPr>
                    <a:xfrm>
                      <a:off x="4882486" y="5703783"/>
                      <a:ext cx="333442" cy="363643"/>
                    </a:xfrm>
                    <a:custGeom>
                      <a:avLst/>
                      <a:gdLst>
                        <a:gd name="connsiteX0" fmla="*/ 236589 w 361322"/>
                        <a:gd name="connsiteY0" fmla="*/ 0 h 394048"/>
                        <a:gd name="connsiteX1" fmla="*/ 328680 w 361322"/>
                        <a:gd name="connsiteY1" fmla="*/ 18593 h 394048"/>
                        <a:gd name="connsiteX2" fmla="*/ 361322 w 361322"/>
                        <a:gd name="connsiteY2" fmla="*/ 36310 h 394048"/>
                        <a:gd name="connsiteX3" fmla="*/ 345601 w 361322"/>
                        <a:gd name="connsiteY3" fmla="*/ 31430 h 394048"/>
                        <a:gd name="connsiteX4" fmla="*/ 293624 w 361322"/>
                        <a:gd name="connsiteY4" fmla="*/ 26190 h 394048"/>
                        <a:gd name="connsiteX5" fmla="*/ 35721 w 361322"/>
                        <a:gd name="connsiteY5" fmla="*/ 284093 h 394048"/>
                        <a:gd name="connsiteX6" fmla="*/ 55989 w 361322"/>
                        <a:gd name="connsiteY6" fmla="*/ 384481 h 394048"/>
                        <a:gd name="connsiteX7" fmla="*/ 61182 w 361322"/>
                        <a:gd name="connsiteY7" fmla="*/ 394048 h 394048"/>
                        <a:gd name="connsiteX8" fmla="*/ 40406 w 361322"/>
                        <a:gd name="connsiteY8" fmla="*/ 368868 h 394048"/>
                        <a:gd name="connsiteX9" fmla="*/ 0 w 361322"/>
                        <a:gd name="connsiteY9" fmla="*/ 236589 h 394048"/>
                        <a:gd name="connsiteX10" fmla="*/ 236589 w 361322"/>
                        <a:gd name="connsiteY10" fmla="*/ 0 h 3940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361322" h="394048">
                          <a:moveTo>
                            <a:pt x="236589" y="0"/>
                          </a:moveTo>
                          <a:cubicBezTo>
                            <a:pt x="269255" y="0"/>
                            <a:pt x="300375" y="6621"/>
                            <a:pt x="328680" y="18593"/>
                          </a:cubicBezTo>
                          <a:lnTo>
                            <a:pt x="361322" y="36310"/>
                          </a:lnTo>
                          <a:lnTo>
                            <a:pt x="345601" y="31430"/>
                          </a:lnTo>
                          <a:cubicBezTo>
                            <a:pt x="328812" y="27994"/>
                            <a:pt x="311429" y="26190"/>
                            <a:pt x="293624" y="26190"/>
                          </a:cubicBezTo>
                          <a:cubicBezTo>
                            <a:pt x="151188" y="26190"/>
                            <a:pt x="35721" y="141657"/>
                            <a:pt x="35721" y="284093"/>
                          </a:cubicBezTo>
                          <a:cubicBezTo>
                            <a:pt x="35721" y="319702"/>
                            <a:pt x="42938" y="353626"/>
                            <a:pt x="55989" y="384481"/>
                          </a:cubicBezTo>
                          <a:lnTo>
                            <a:pt x="61182" y="394048"/>
                          </a:lnTo>
                          <a:lnTo>
                            <a:pt x="40406" y="368868"/>
                          </a:lnTo>
                          <a:cubicBezTo>
                            <a:pt x="14896" y="331108"/>
                            <a:pt x="0" y="285588"/>
                            <a:pt x="0" y="236589"/>
                          </a:cubicBezTo>
                          <a:cubicBezTo>
                            <a:pt x="0" y="105925"/>
                            <a:pt x="105925" y="0"/>
                            <a:pt x="236589" y="0"/>
                          </a:cubicBez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en-US" sz="2400" dirty="0"/>
                    </a:p>
                  </p:txBody>
                </p:sp>
              </p:grpSp>
            </p:grpSp>
            <p:grpSp>
              <p:nvGrpSpPr>
                <p:cNvPr id="23" name="Group 22"/>
                <p:cNvGrpSpPr/>
                <p:nvPr/>
              </p:nvGrpSpPr>
              <p:grpSpPr>
                <a:xfrm>
                  <a:off x="3641470" y="3598835"/>
                  <a:ext cx="612058" cy="621890"/>
                  <a:chOff x="3641470" y="3598835"/>
                  <a:chExt cx="612058" cy="621890"/>
                </a:xfrm>
              </p:grpSpPr>
              <p:sp>
                <p:nvSpPr>
                  <p:cNvPr id="24" name="Oval 23"/>
                  <p:cNvSpPr/>
                  <p:nvPr/>
                </p:nvSpPr>
                <p:spPr>
                  <a:xfrm>
                    <a:off x="3641470" y="3598835"/>
                    <a:ext cx="612058" cy="612058"/>
                  </a:xfrm>
                  <a:prstGeom prst="ellipse">
                    <a:avLst/>
                  </a:prstGeom>
                  <a:solidFill>
                    <a:srgbClr val="33333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400" dirty="0"/>
                  </a:p>
                </p:txBody>
              </p:sp>
              <p:sp>
                <p:nvSpPr>
                  <p:cNvPr id="25" name="Oval 24"/>
                  <p:cNvSpPr/>
                  <p:nvPr/>
                </p:nvSpPr>
                <p:spPr>
                  <a:xfrm>
                    <a:off x="3691861" y="3650453"/>
                    <a:ext cx="511277" cy="511277"/>
                  </a:xfrm>
                  <a:prstGeom prst="ellipse">
                    <a:avLst/>
                  </a:prstGeom>
                  <a:solidFill>
                    <a:srgbClr val="05050A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400" dirty="0"/>
                  </a:p>
                </p:txBody>
              </p:sp>
              <p:sp>
                <p:nvSpPr>
                  <p:cNvPr id="26" name="Oval 25"/>
                  <p:cNvSpPr/>
                  <p:nvPr/>
                </p:nvSpPr>
                <p:spPr>
                  <a:xfrm>
                    <a:off x="3691861" y="3709448"/>
                    <a:ext cx="511277" cy="511277"/>
                  </a:xfrm>
                  <a:prstGeom prst="ellipse">
                    <a:avLst/>
                  </a:prstGeom>
                  <a:solidFill>
                    <a:srgbClr val="D92B2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2400" dirty="0"/>
                  </a:p>
                </p:txBody>
              </p:sp>
              <p:sp>
                <p:nvSpPr>
                  <p:cNvPr id="27" name="Freeform 26"/>
                  <p:cNvSpPr/>
                  <p:nvPr/>
                </p:nvSpPr>
                <p:spPr>
                  <a:xfrm>
                    <a:off x="3734723" y="3752310"/>
                    <a:ext cx="333442" cy="363643"/>
                  </a:xfrm>
                  <a:custGeom>
                    <a:avLst/>
                    <a:gdLst>
                      <a:gd name="connsiteX0" fmla="*/ 236589 w 361322"/>
                      <a:gd name="connsiteY0" fmla="*/ 0 h 394048"/>
                      <a:gd name="connsiteX1" fmla="*/ 328680 w 361322"/>
                      <a:gd name="connsiteY1" fmla="*/ 18593 h 394048"/>
                      <a:gd name="connsiteX2" fmla="*/ 361322 w 361322"/>
                      <a:gd name="connsiteY2" fmla="*/ 36310 h 394048"/>
                      <a:gd name="connsiteX3" fmla="*/ 345601 w 361322"/>
                      <a:gd name="connsiteY3" fmla="*/ 31430 h 394048"/>
                      <a:gd name="connsiteX4" fmla="*/ 293624 w 361322"/>
                      <a:gd name="connsiteY4" fmla="*/ 26190 h 394048"/>
                      <a:gd name="connsiteX5" fmla="*/ 35721 w 361322"/>
                      <a:gd name="connsiteY5" fmla="*/ 284093 h 394048"/>
                      <a:gd name="connsiteX6" fmla="*/ 55989 w 361322"/>
                      <a:gd name="connsiteY6" fmla="*/ 384481 h 394048"/>
                      <a:gd name="connsiteX7" fmla="*/ 61182 w 361322"/>
                      <a:gd name="connsiteY7" fmla="*/ 394048 h 394048"/>
                      <a:gd name="connsiteX8" fmla="*/ 40406 w 361322"/>
                      <a:gd name="connsiteY8" fmla="*/ 368868 h 394048"/>
                      <a:gd name="connsiteX9" fmla="*/ 0 w 361322"/>
                      <a:gd name="connsiteY9" fmla="*/ 236589 h 394048"/>
                      <a:gd name="connsiteX10" fmla="*/ 236589 w 361322"/>
                      <a:gd name="connsiteY10" fmla="*/ 0 h 3940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61322" h="394048">
                        <a:moveTo>
                          <a:pt x="236589" y="0"/>
                        </a:moveTo>
                        <a:cubicBezTo>
                          <a:pt x="269255" y="0"/>
                          <a:pt x="300375" y="6621"/>
                          <a:pt x="328680" y="18593"/>
                        </a:cubicBezTo>
                        <a:lnTo>
                          <a:pt x="361322" y="36310"/>
                        </a:lnTo>
                        <a:lnTo>
                          <a:pt x="345601" y="31430"/>
                        </a:lnTo>
                        <a:cubicBezTo>
                          <a:pt x="328812" y="27994"/>
                          <a:pt x="311429" y="26190"/>
                          <a:pt x="293624" y="26190"/>
                        </a:cubicBezTo>
                        <a:cubicBezTo>
                          <a:pt x="151188" y="26190"/>
                          <a:pt x="35721" y="141657"/>
                          <a:pt x="35721" y="284093"/>
                        </a:cubicBezTo>
                        <a:cubicBezTo>
                          <a:pt x="35721" y="319702"/>
                          <a:pt x="42938" y="353626"/>
                          <a:pt x="55989" y="384481"/>
                        </a:cubicBezTo>
                        <a:lnTo>
                          <a:pt x="61182" y="394048"/>
                        </a:lnTo>
                        <a:lnTo>
                          <a:pt x="40406" y="368868"/>
                        </a:lnTo>
                        <a:cubicBezTo>
                          <a:pt x="14896" y="331108"/>
                          <a:pt x="0" y="285588"/>
                          <a:pt x="0" y="236589"/>
                        </a:cubicBezTo>
                        <a:cubicBezTo>
                          <a:pt x="0" y="105925"/>
                          <a:pt x="105925" y="0"/>
                          <a:pt x="23658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 sz="2400" dirty="0"/>
                  </a:p>
                </p:txBody>
              </p:sp>
            </p:grpSp>
          </p:grpSp>
        </p:grpSp>
      </p:grpSp>
      <p:grpSp>
        <p:nvGrpSpPr>
          <p:cNvPr id="44" name="Groupe 1323"/>
          <p:cNvGrpSpPr/>
          <p:nvPr/>
        </p:nvGrpSpPr>
        <p:grpSpPr>
          <a:xfrm>
            <a:off x="4903754" y="2654641"/>
            <a:ext cx="715966" cy="568814"/>
            <a:chOff x="6474731" y="2021165"/>
            <a:chExt cx="1381686" cy="1127387"/>
          </a:xfrm>
        </p:grpSpPr>
        <p:sp>
          <p:nvSpPr>
            <p:cNvPr id="198" name="Freeform 45"/>
            <p:cNvSpPr>
              <a:spLocks/>
            </p:cNvSpPr>
            <p:nvPr/>
          </p:nvSpPr>
          <p:spPr bwMode="auto">
            <a:xfrm flipH="1">
              <a:off x="6474731" y="2717720"/>
              <a:ext cx="1381686" cy="430832"/>
            </a:xfrm>
            <a:custGeom>
              <a:avLst/>
              <a:gdLst>
                <a:gd name="T0" fmla="*/ 0 w 7498"/>
                <a:gd name="T1" fmla="*/ 1225 h 3005"/>
                <a:gd name="T2" fmla="*/ 0 w 7498"/>
                <a:gd name="T3" fmla="*/ 945 h 3005"/>
                <a:gd name="T4" fmla="*/ 5 w 7498"/>
                <a:gd name="T5" fmla="*/ 901 h 3005"/>
                <a:gd name="T6" fmla="*/ 15 w 7498"/>
                <a:gd name="T7" fmla="*/ 863 h 3005"/>
                <a:gd name="T8" fmla="*/ 31 w 7498"/>
                <a:gd name="T9" fmla="*/ 831 h 3005"/>
                <a:gd name="T10" fmla="*/ 47 w 7498"/>
                <a:gd name="T11" fmla="*/ 805 h 3005"/>
                <a:gd name="T12" fmla="*/ 65 w 7498"/>
                <a:gd name="T13" fmla="*/ 785 h 3005"/>
                <a:gd name="T14" fmla="*/ 91 w 7498"/>
                <a:gd name="T15" fmla="*/ 762 h 3005"/>
                <a:gd name="T16" fmla="*/ 1669 w 7498"/>
                <a:gd name="T17" fmla="*/ 0 h 3005"/>
                <a:gd name="T18" fmla="*/ 5830 w 7498"/>
                <a:gd name="T19" fmla="*/ 0 h 3005"/>
                <a:gd name="T20" fmla="*/ 7404 w 7498"/>
                <a:gd name="T21" fmla="*/ 760 h 3005"/>
                <a:gd name="T22" fmla="*/ 7419 w 7498"/>
                <a:gd name="T23" fmla="*/ 771 h 3005"/>
                <a:gd name="T24" fmla="*/ 7442 w 7498"/>
                <a:gd name="T25" fmla="*/ 795 h 3005"/>
                <a:gd name="T26" fmla="*/ 7460 w 7498"/>
                <a:gd name="T27" fmla="*/ 818 h 3005"/>
                <a:gd name="T28" fmla="*/ 7476 w 7498"/>
                <a:gd name="T29" fmla="*/ 847 h 3005"/>
                <a:gd name="T30" fmla="*/ 7490 w 7498"/>
                <a:gd name="T31" fmla="*/ 881 h 3005"/>
                <a:gd name="T32" fmla="*/ 7497 w 7498"/>
                <a:gd name="T33" fmla="*/ 922 h 3005"/>
                <a:gd name="T34" fmla="*/ 7498 w 7498"/>
                <a:gd name="T35" fmla="*/ 945 h 3005"/>
                <a:gd name="T36" fmla="*/ 7498 w 7498"/>
                <a:gd name="T37" fmla="*/ 1225 h 3005"/>
                <a:gd name="T38" fmla="*/ 7498 w 7498"/>
                <a:gd name="T39" fmla="*/ 1244 h 3005"/>
                <a:gd name="T40" fmla="*/ 7492 w 7498"/>
                <a:gd name="T41" fmla="*/ 1278 h 3005"/>
                <a:gd name="T42" fmla="*/ 7484 w 7498"/>
                <a:gd name="T43" fmla="*/ 1305 h 3005"/>
                <a:gd name="T44" fmla="*/ 7469 w 7498"/>
                <a:gd name="T45" fmla="*/ 1334 h 3005"/>
                <a:gd name="T46" fmla="*/ 7446 w 7498"/>
                <a:gd name="T47" fmla="*/ 1364 h 3005"/>
                <a:gd name="T48" fmla="*/ 7415 w 7498"/>
                <a:gd name="T49" fmla="*/ 1391 h 3005"/>
                <a:gd name="T50" fmla="*/ 7396 w 7498"/>
                <a:gd name="T51" fmla="*/ 1402 h 3005"/>
                <a:gd name="T52" fmla="*/ 7342 w 7498"/>
                <a:gd name="T53" fmla="*/ 1429 h 3005"/>
                <a:gd name="T54" fmla="*/ 6846 w 7498"/>
                <a:gd name="T55" fmla="*/ 1665 h 3005"/>
                <a:gd name="T56" fmla="*/ 4173 w 7498"/>
                <a:gd name="T57" fmla="*/ 2927 h 3005"/>
                <a:gd name="T58" fmla="*/ 4165 w 7498"/>
                <a:gd name="T59" fmla="*/ 2930 h 3005"/>
                <a:gd name="T60" fmla="*/ 4102 w 7498"/>
                <a:gd name="T61" fmla="*/ 2952 h 3005"/>
                <a:gd name="T62" fmla="*/ 4050 w 7498"/>
                <a:gd name="T63" fmla="*/ 2966 h 3005"/>
                <a:gd name="T64" fmla="*/ 3987 w 7498"/>
                <a:gd name="T65" fmla="*/ 2980 h 3005"/>
                <a:gd name="T66" fmla="*/ 3915 w 7498"/>
                <a:gd name="T67" fmla="*/ 2993 h 3005"/>
                <a:gd name="T68" fmla="*/ 3836 w 7498"/>
                <a:gd name="T69" fmla="*/ 3002 h 3005"/>
                <a:gd name="T70" fmla="*/ 3749 w 7498"/>
                <a:gd name="T71" fmla="*/ 3005 h 3005"/>
                <a:gd name="T72" fmla="*/ 3706 w 7498"/>
                <a:gd name="T73" fmla="*/ 3005 h 3005"/>
                <a:gd name="T74" fmla="*/ 3622 w 7498"/>
                <a:gd name="T75" fmla="*/ 2997 h 3005"/>
                <a:gd name="T76" fmla="*/ 3547 w 7498"/>
                <a:gd name="T77" fmla="*/ 2987 h 3005"/>
                <a:gd name="T78" fmla="*/ 3479 w 7498"/>
                <a:gd name="T79" fmla="*/ 2973 h 3005"/>
                <a:gd name="T80" fmla="*/ 3422 w 7498"/>
                <a:gd name="T81" fmla="*/ 2959 h 3005"/>
                <a:gd name="T82" fmla="*/ 3358 w 7498"/>
                <a:gd name="T83" fmla="*/ 2939 h 3005"/>
                <a:gd name="T84" fmla="*/ 3325 w 7498"/>
                <a:gd name="T85" fmla="*/ 2927 h 3005"/>
                <a:gd name="T86" fmla="*/ 1755 w 7498"/>
                <a:gd name="T87" fmla="*/ 2187 h 3005"/>
                <a:gd name="T88" fmla="*/ 273 w 7498"/>
                <a:gd name="T89" fmla="*/ 1484 h 3005"/>
                <a:gd name="T90" fmla="*/ 102 w 7498"/>
                <a:gd name="T91" fmla="*/ 1402 h 3005"/>
                <a:gd name="T92" fmla="*/ 93 w 7498"/>
                <a:gd name="T93" fmla="*/ 1396 h 3005"/>
                <a:gd name="T94" fmla="*/ 67 w 7498"/>
                <a:gd name="T95" fmla="*/ 1377 h 3005"/>
                <a:gd name="T96" fmla="*/ 40 w 7498"/>
                <a:gd name="T97" fmla="*/ 1349 h 3005"/>
                <a:gd name="T98" fmla="*/ 21 w 7498"/>
                <a:gd name="T99" fmla="*/ 1320 h 3005"/>
                <a:gd name="T100" fmla="*/ 10 w 7498"/>
                <a:gd name="T101" fmla="*/ 1292 h 3005"/>
                <a:gd name="T102" fmla="*/ 3 w 7498"/>
                <a:gd name="T103" fmla="*/ 1266 h 3005"/>
                <a:gd name="T104" fmla="*/ 0 w 7498"/>
                <a:gd name="T105" fmla="*/ 1230 h 3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98" h="3005">
                  <a:moveTo>
                    <a:pt x="0" y="1225"/>
                  </a:moveTo>
                  <a:lnTo>
                    <a:pt x="0" y="1225"/>
                  </a:lnTo>
                  <a:lnTo>
                    <a:pt x="0" y="945"/>
                  </a:lnTo>
                  <a:lnTo>
                    <a:pt x="0" y="945"/>
                  </a:lnTo>
                  <a:lnTo>
                    <a:pt x="1" y="922"/>
                  </a:lnTo>
                  <a:lnTo>
                    <a:pt x="5" y="901"/>
                  </a:lnTo>
                  <a:lnTo>
                    <a:pt x="9" y="881"/>
                  </a:lnTo>
                  <a:lnTo>
                    <a:pt x="15" y="863"/>
                  </a:lnTo>
                  <a:lnTo>
                    <a:pt x="22" y="847"/>
                  </a:lnTo>
                  <a:lnTo>
                    <a:pt x="31" y="831"/>
                  </a:lnTo>
                  <a:lnTo>
                    <a:pt x="39" y="818"/>
                  </a:lnTo>
                  <a:lnTo>
                    <a:pt x="47" y="805"/>
                  </a:lnTo>
                  <a:lnTo>
                    <a:pt x="57" y="795"/>
                  </a:lnTo>
                  <a:lnTo>
                    <a:pt x="65" y="785"/>
                  </a:lnTo>
                  <a:lnTo>
                    <a:pt x="79" y="771"/>
                  </a:lnTo>
                  <a:lnTo>
                    <a:pt x="91" y="762"/>
                  </a:lnTo>
                  <a:lnTo>
                    <a:pt x="95" y="760"/>
                  </a:lnTo>
                  <a:lnTo>
                    <a:pt x="1669" y="0"/>
                  </a:lnTo>
                  <a:lnTo>
                    <a:pt x="3749" y="1280"/>
                  </a:lnTo>
                  <a:lnTo>
                    <a:pt x="5830" y="0"/>
                  </a:lnTo>
                  <a:lnTo>
                    <a:pt x="7404" y="760"/>
                  </a:lnTo>
                  <a:lnTo>
                    <a:pt x="7404" y="760"/>
                  </a:lnTo>
                  <a:lnTo>
                    <a:pt x="7408" y="762"/>
                  </a:lnTo>
                  <a:lnTo>
                    <a:pt x="7419" y="771"/>
                  </a:lnTo>
                  <a:lnTo>
                    <a:pt x="7434" y="785"/>
                  </a:lnTo>
                  <a:lnTo>
                    <a:pt x="7442" y="795"/>
                  </a:lnTo>
                  <a:lnTo>
                    <a:pt x="7451" y="805"/>
                  </a:lnTo>
                  <a:lnTo>
                    <a:pt x="7460" y="818"/>
                  </a:lnTo>
                  <a:lnTo>
                    <a:pt x="7468" y="831"/>
                  </a:lnTo>
                  <a:lnTo>
                    <a:pt x="7476" y="847"/>
                  </a:lnTo>
                  <a:lnTo>
                    <a:pt x="7484" y="863"/>
                  </a:lnTo>
                  <a:lnTo>
                    <a:pt x="7490" y="881"/>
                  </a:lnTo>
                  <a:lnTo>
                    <a:pt x="7494" y="901"/>
                  </a:lnTo>
                  <a:lnTo>
                    <a:pt x="7497" y="922"/>
                  </a:lnTo>
                  <a:lnTo>
                    <a:pt x="7498" y="945"/>
                  </a:lnTo>
                  <a:lnTo>
                    <a:pt x="7498" y="945"/>
                  </a:lnTo>
                  <a:lnTo>
                    <a:pt x="7498" y="1225"/>
                  </a:lnTo>
                  <a:lnTo>
                    <a:pt x="7498" y="1225"/>
                  </a:lnTo>
                  <a:lnTo>
                    <a:pt x="7498" y="1230"/>
                  </a:lnTo>
                  <a:lnTo>
                    <a:pt x="7498" y="1244"/>
                  </a:lnTo>
                  <a:lnTo>
                    <a:pt x="7495" y="1266"/>
                  </a:lnTo>
                  <a:lnTo>
                    <a:pt x="7492" y="1278"/>
                  </a:lnTo>
                  <a:lnTo>
                    <a:pt x="7489" y="1292"/>
                  </a:lnTo>
                  <a:lnTo>
                    <a:pt x="7484" y="1305"/>
                  </a:lnTo>
                  <a:lnTo>
                    <a:pt x="7476" y="1320"/>
                  </a:lnTo>
                  <a:lnTo>
                    <a:pt x="7469" y="1334"/>
                  </a:lnTo>
                  <a:lnTo>
                    <a:pt x="7459" y="1349"/>
                  </a:lnTo>
                  <a:lnTo>
                    <a:pt x="7446" y="1364"/>
                  </a:lnTo>
                  <a:lnTo>
                    <a:pt x="7432" y="1377"/>
                  </a:lnTo>
                  <a:lnTo>
                    <a:pt x="7415" y="1391"/>
                  </a:lnTo>
                  <a:lnTo>
                    <a:pt x="7406" y="1396"/>
                  </a:lnTo>
                  <a:lnTo>
                    <a:pt x="7396" y="1402"/>
                  </a:lnTo>
                  <a:lnTo>
                    <a:pt x="7396" y="1402"/>
                  </a:lnTo>
                  <a:lnTo>
                    <a:pt x="7342" y="1429"/>
                  </a:lnTo>
                  <a:lnTo>
                    <a:pt x="7226" y="1484"/>
                  </a:lnTo>
                  <a:lnTo>
                    <a:pt x="6846" y="1665"/>
                  </a:lnTo>
                  <a:lnTo>
                    <a:pt x="5743" y="2187"/>
                  </a:lnTo>
                  <a:lnTo>
                    <a:pt x="4173" y="2927"/>
                  </a:lnTo>
                  <a:lnTo>
                    <a:pt x="4173" y="2927"/>
                  </a:lnTo>
                  <a:lnTo>
                    <a:pt x="4165" y="2930"/>
                  </a:lnTo>
                  <a:lnTo>
                    <a:pt x="4140" y="2939"/>
                  </a:lnTo>
                  <a:lnTo>
                    <a:pt x="4102" y="2952"/>
                  </a:lnTo>
                  <a:lnTo>
                    <a:pt x="4077" y="2959"/>
                  </a:lnTo>
                  <a:lnTo>
                    <a:pt x="4050" y="2966"/>
                  </a:lnTo>
                  <a:lnTo>
                    <a:pt x="4020" y="2973"/>
                  </a:lnTo>
                  <a:lnTo>
                    <a:pt x="3987" y="2980"/>
                  </a:lnTo>
                  <a:lnTo>
                    <a:pt x="3952" y="2987"/>
                  </a:lnTo>
                  <a:lnTo>
                    <a:pt x="3915" y="2993"/>
                  </a:lnTo>
                  <a:lnTo>
                    <a:pt x="3876" y="2997"/>
                  </a:lnTo>
                  <a:lnTo>
                    <a:pt x="3836" y="3002"/>
                  </a:lnTo>
                  <a:lnTo>
                    <a:pt x="3793" y="3005"/>
                  </a:lnTo>
                  <a:lnTo>
                    <a:pt x="3749" y="3005"/>
                  </a:lnTo>
                  <a:lnTo>
                    <a:pt x="3749" y="3005"/>
                  </a:lnTo>
                  <a:lnTo>
                    <a:pt x="3706" y="3005"/>
                  </a:lnTo>
                  <a:lnTo>
                    <a:pt x="3663" y="3002"/>
                  </a:lnTo>
                  <a:lnTo>
                    <a:pt x="3622" y="2997"/>
                  </a:lnTo>
                  <a:lnTo>
                    <a:pt x="3584" y="2993"/>
                  </a:lnTo>
                  <a:lnTo>
                    <a:pt x="3547" y="2987"/>
                  </a:lnTo>
                  <a:lnTo>
                    <a:pt x="3511" y="2980"/>
                  </a:lnTo>
                  <a:lnTo>
                    <a:pt x="3479" y="2973"/>
                  </a:lnTo>
                  <a:lnTo>
                    <a:pt x="3449" y="2966"/>
                  </a:lnTo>
                  <a:lnTo>
                    <a:pt x="3422" y="2959"/>
                  </a:lnTo>
                  <a:lnTo>
                    <a:pt x="3397" y="2952"/>
                  </a:lnTo>
                  <a:lnTo>
                    <a:pt x="3358" y="2939"/>
                  </a:lnTo>
                  <a:lnTo>
                    <a:pt x="3333" y="2930"/>
                  </a:lnTo>
                  <a:lnTo>
                    <a:pt x="3325" y="2927"/>
                  </a:lnTo>
                  <a:lnTo>
                    <a:pt x="3325" y="2927"/>
                  </a:lnTo>
                  <a:lnTo>
                    <a:pt x="1755" y="2187"/>
                  </a:lnTo>
                  <a:lnTo>
                    <a:pt x="652" y="1665"/>
                  </a:lnTo>
                  <a:lnTo>
                    <a:pt x="273" y="1484"/>
                  </a:lnTo>
                  <a:lnTo>
                    <a:pt x="156" y="1429"/>
                  </a:lnTo>
                  <a:lnTo>
                    <a:pt x="102" y="1402"/>
                  </a:lnTo>
                  <a:lnTo>
                    <a:pt x="102" y="1402"/>
                  </a:lnTo>
                  <a:lnTo>
                    <a:pt x="93" y="1396"/>
                  </a:lnTo>
                  <a:lnTo>
                    <a:pt x="84" y="1391"/>
                  </a:lnTo>
                  <a:lnTo>
                    <a:pt x="67" y="1377"/>
                  </a:lnTo>
                  <a:lnTo>
                    <a:pt x="52" y="1364"/>
                  </a:lnTo>
                  <a:lnTo>
                    <a:pt x="40" y="1349"/>
                  </a:lnTo>
                  <a:lnTo>
                    <a:pt x="29" y="1334"/>
                  </a:lnTo>
                  <a:lnTo>
                    <a:pt x="21" y="1320"/>
                  </a:lnTo>
                  <a:lnTo>
                    <a:pt x="15" y="1305"/>
                  </a:lnTo>
                  <a:lnTo>
                    <a:pt x="10" y="1292"/>
                  </a:lnTo>
                  <a:lnTo>
                    <a:pt x="7" y="1278"/>
                  </a:lnTo>
                  <a:lnTo>
                    <a:pt x="3" y="1266"/>
                  </a:lnTo>
                  <a:lnTo>
                    <a:pt x="0" y="1244"/>
                  </a:lnTo>
                  <a:lnTo>
                    <a:pt x="0" y="1230"/>
                  </a:lnTo>
                  <a:lnTo>
                    <a:pt x="0" y="1225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9" name="Freeform 46"/>
            <p:cNvSpPr>
              <a:spLocks/>
            </p:cNvSpPr>
            <p:nvPr/>
          </p:nvSpPr>
          <p:spPr bwMode="auto">
            <a:xfrm flipH="1">
              <a:off x="6474731" y="2717720"/>
              <a:ext cx="1381686" cy="430832"/>
            </a:xfrm>
            <a:custGeom>
              <a:avLst/>
              <a:gdLst>
                <a:gd name="T0" fmla="*/ 0 w 7498"/>
                <a:gd name="T1" fmla="*/ 1225 h 3005"/>
                <a:gd name="T2" fmla="*/ 0 w 7498"/>
                <a:gd name="T3" fmla="*/ 945 h 3005"/>
                <a:gd name="T4" fmla="*/ 5 w 7498"/>
                <a:gd name="T5" fmla="*/ 901 h 3005"/>
                <a:gd name="T6" fmla="*/ 15 w 7498"/>
                <a:gd name="T7" fmla="*/ 863 h 3005"/>
                <a:gd name="T8" fmla="*/ 31 w 7498"/>
                <a:gd name="T9" fmla="*/ 831 h 3005"/>
                <a:gd name="T10" fmla="*/ 47 w 7498"/>
                <a:gd name="T11" fmla="*/ 805 h 3005"/>
                <a:gd name="T12" fmla="*/ 65 w 7498"/>
                <a:gd name="T13" fmla="*/ 785 h 3005"/>
                <a:gd name="T14" fmla="*/ 91 w 7498"/>
                <a:gd name="T15" fmla="*/ 762 h 3005"/>
                <a:gd name="T16" fmla="*/ 1669 w 7498"/>
                <a:gd name="T17" fmla="*/ 0 h 3005"/>
                <a:gd name="T18" fmla="*/ 5830 w 7498"/>
                <a:gd name="T19" fmla="*/ 0 h 3005"/>
                <a:gd name="T20" fmla="*/ 7404 w 7498"/>
                <a:gd name="T21" fmla="*/ 760 h 3005"/>
                <a:gd name="T22" fmla="*/ 7419 w 7498"/>
                <a:gd name="T23" fmla="*/ 771 h 3005"/>
                <a:gd name="T24" fmla="*/ 7442 w 7498"/>
                <a:gd name="T25" fmla="*/ 795 h 3005"/>
                <a:gd name="T26" fmla="*/ 7460 w 7498"/>
                <a:gd name="T27" fmla="*/ 818 h 3005"/>
                <a:gd name="T28" fmla="*/ 7476 w 7498"/>
                <a:gd name="T29" fmla="*/ 847 h 3005"/>
                <a:gd name="T30" fmla="*/ 7490 w 7498"/>
                <a:gd name="T31" fmla="*/ 881 h 3005"/>
                <a:gd name="T32" fmla="*/ 7497 w 7498"/>
                <a:gd name="T33" fmla="*/ 922 h 3005"/>
                <a:gd name="T34" fmla="*/ 7498 w 7498"/>
                <a:gd name="T35" fmla="*/ 945 h 3005"/>
                <a:gd name="T36" fmla="*/ 7498 w 7498"/>
                <a:gd name="T37" fmla="*/ 1225 h 3005"/>
                <a:gd name="T38" fmla="*/ 7498 w 7498"/>
                <a:gd name="T39" fmla="*/ 1244 h 3005"/>
                <a:gd name="T40" fmla="*/ 7492 w 7498"/>
                <a:gd name="T41" fmla="*/ 1278 h 3005"/>
                <a:gd name="T42" fmla="*/ 7484 w 7498"/>
                <a:gd name="T43" fmla="*/ 1305 h 3005"/>
                <a:gd name="T44" fmla="*/ 7469 w 7498"/>
                <a:gd name="T45" fmla="*/ 1334 h 3005"/>
                <a:gd name="T46" fmla="*/ 7446 w 7498"/>
                <a:gd name="T47" fmla="*/ 1364 h 3005"/>
                <a:gd name="T48" fmla="*/ 7415 w 7498"/>
                <a:gd name="T49" fmla="*/ 1391 h 3005"/>
                <a:gd name="T50" fmla="*/ 7396 w 7498"/>
                <a:gd name="T51" fmla="*/ 1402 h 3005"/>
                <a:gd name="T52" fmla="*/ 7342 w 7498"/>
                <a:gd name="T53" fmla="*/ 1429 h 3005"/>
                <a:gd name="T54" fmla="*/ 6846 w 7498"/>
                <a:gd name="T55" fmla="*/ 1665 h 3005"/>
                <a:gd name="T56" fmla="*/ 4173 w 7498"/>
                <a:gd name="T57" fmla="*/ 2927 h 3005"/>
                <a:gd name="T58" fmla="*/ 4165 w 7498"/>
                <a:gd name="T59" fmla="*/ 2930 h 3005"/>
                <a:gd name="T60" fmla="*/ 4102 w 7498"/>
                <a:gd name="T61" fmla="*/ 2952 h 3005"/>
                <a:gd name="T62" fmla="*/ 4050 w 7498"/>
                <a:gd name="T63" fmla="*/ 2966 h 3005"/>
                <a:gd name="T64" fmla="*/ 3987 w 7498"/>
                <a:gd name="T65" fmla="*/ 2980 h 3005"/>
                <a:gd name="T66" fmla="*/ 3915 w 7498"/>
                <a:gd name="T67" fmla="*/ 2993 h 3005"/>
                <a:gd name="T68" fmla="*/ 3836 w 7498"/>
                <a:gd name="T69" fmla="*/ 3002 h 3005"/>
                <a:gd name="T70" fmla="*/ 3749 w 7498"/>
                <a:gd name="T71" fmla="*/ 3005 h 3005"/>
                <a:gd name="T72" fmla="*/ 3706 w 7498"/>
                <a:gd name="T73" fmla="*/ 3005 h 3005"/>
                <a:gd name="T74" fmla="*/ 3622 w 7498"/>
                <a:gd name="T75" fmla="*/ 2997 h 3005"/>
                <a:gd name="T76" fmla="*/ 3547 w 7498"/>
                <a:gd name="T77" fmla="*/ 2987 h 3005"/>
                <a:gd name="T78" fmla="*/ 3479 w 7498"/>
                <a:gd name="T79" fmla="*/ 2973 h 3005"/>
                <a:gd name="T80" fmla="*/ 3422 w 7498"/>
                <a:gd name="T81" fmla="*/ 2959 h 3005"/>
                <a:gd name="T82" fmla="*/ 3358 w 7498"/>
                <a:gd name="T83" fmla="*/ 2939 h 3005"/>
                <a:gd name="T84" fmla="*/ 3325 w 7498"/>
                <a:gd name="T85" fmla="*/ 2927 h 3005"/>
                <a:gd name="T86" fmla="*/ 1755 w 7498"/>
                <a:gd name="T87" fmla="*/ 2187 h 3005"/>
                <a:gd name="T88" fmla="*/ 273 w 7498"/>
                <a:gd name="T89" fmla="*/ 1484 h 3005"/>
                <a:gd name="T90" fmla="*/ 102 w 7498"/>
                <a:gd name="T91" fmla="*/ 1402 h 3005"/>
                <a:gd name="T92" fmla="*/ 93 w 7498"/>
                <a:gd name="T93" fmla="*/ 1396 h 3005"/>
                <a:gd name="T94" fmla="*/ 67 w 7498"/>
                <a:gd name="T95" fmla="*/ 1377 h 3005"/>
                <a:gd name="T96" fmla="*/ 40 w 7498"/>
                <a:gd name="T97" fmla="*/ 1349 h 3005"/>
                <a:gd name="T98" fmla="*/ 21 w 7498"/>
                <a:gd name="T99" fmla="*/ 1320 h 3005"/>
                <a:gd name="T100" fmla="*/ 10 w 7498"/>
                <a:gd name="T101" fmla="*/ 1292 h 3005"/>
                <a:gd name="T102" fmla="*/ 3 w 7498"/>
                <a:gd name="T103" fmla="*/ 1266 h 3005"/>
                <a:gd name="T104" fmla="*/ 0 w 7498"/>
                <a:gd name="T105" fmla="*/ 1230 h 3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98" h="3005">
                  <a:moveTo>
                    <a:pt x="0" y="1225"/>
                  </a:moveTo>
                  <a:lnTo>
                    <a:pt x="0" y="1225"/>
                  </a:lnTo>
                  <a:lnTo>
                    <a:pt x="0" y="945"/>
                  </a:lnTo>
                  <a:lnTo>
                    <a:pt x="0" y="945"/>
                  </a:lnTo>
                  <a:lnTo>
                    <a:pt x="1" y="922"/>
                  </a:lnTo>
                  <a:lnTo>
                    <a:pt x="5" y="901"/>
                  </a:lnTo>
                  <a:lnTo>
                    <a:pt x="9" y="881"/>
                  </a:lnTo>
                  <a:lnTo>
                    <a:pt x="15" y="863"/>
                  </a:lnTo>
                  <a:lnTo>
                    <a:pt x="22" y="847"/>
                  </a:lnTo>
                  <a:lnTo>
                    <a:pt x="31" y="831"/>
                  </a:lnTo>
                  <a:lnTo>
                    <a:pt x="39" y="818"/>
                  </a:lnTo>
                  <a:lnTo>
                    <a:pt x="47" y="805"/>
                  </a:lnTo>
                  <a:lnTo>
                    <a:pt x="57" y="795"/>
                  </a:lnTo>
                  <a:lnTo>
                    <a:pt x="65" y="785"/>
                  </a:lnTo>
                  <a:lnTo>
                    <a:pt x="79" y="771"/>
                  </a:lnTo>
                  <a:lnTo>
                    <a:pt x="91" y="762"/>
                  </a:lnTo>
                  <a:lnTo>
                    <a:pt x="95" y="760"/>
                  </a:lnTo>
                  <a:lnTo>
                    <a:pt x="1669" y="0"/>
                  </a:lnTo>
                  <a:lnTo>
                    <a:pt x="3749" y="1280"/>
                  </a:lnTo>
                  <a:lnTo>
                    <a:pt x="5830" y="0"/>
                  </a:lnTo>
                  <a:lnTo>
                    <a:pt x="7404" y="760"/>
                  </a:lnTo>
                  <a:lnTo>
                    <a:pt x="7404" y="760"/>
                  </a:lnTo>
                  <a:lnTo>
                    <a:pt x="7408" y="762"/>
                  </a:lnTo>
                  <a:lnTo>
                    <a:pt x="7419" y="771"/>
                  </a:lnTo>
                  <a:lnTo>
                    <a:pt x="7434" y="785"/>
                  </a:lnTo>
                  <a:lnTo>
                    <a:pt x="7442" y="795"/>
                  </a:lnTo>
                  <a:lnTo>
                    <a:pt x="7451" y="805"/>
                  </a:lnTo>
                  <a:lnTo>
                    <a:pt x="7460" y="818"/>
                  </a:lnTo>
                  <a:lnTo>
                    <a:pt x="7468" y="831"/>
                  </a:lnTo>
                  <a:lnTo>
                    <a:pt x="7476" y="847"/>
                  </a:lnTo>
                  <a:lnTo>
                    <a:pt x="7484" y="863"/>
                  </a:lnTo>
                  <a:lnTo>
                    <a:pt x="7490" y="881"/>
                  </a:lnTo>
                  <a:lnTo>
                    <a:pt x="7494" y="901"/>
                  </a:lnTo>
                  <a:lnTo>
                    <a:pt x="7497" y="922"/>
                  </a:lnTo>
                  <a:lnTo>
                    <a:pt x="7498" y="945"/>
                  </a:lnTo>
                  <a:lnTo>
                    <a:pt x="7498" y="945"/>
                  </a:lnTo>
                  <a:lnTo>
                    <a:pt x="7498" y="1225"/>
                  </a:lnTo>
                  <a:lnTo>
                    <a:pt x="7498" y="1225"/>
                  </a:lnTo>
                  <a:lnTo>
                    <a:pt x="7498" y="1230"/>
                  </a:lnTo>
                  <a:lnTo>
                    <a:pt x="7498" y="1244"/>
                  </a:lnTo>
                  <a:lnTo>
                    <a:pt x="7495" y="1266"/>
                  </a:lnTo>
                  <a:lnTo>
                    <a:pt x="7492" y="1278"/>
                  </a:lnTo>
                  <a:lnTo>
                    <a:pt x="7489" y="1292"/>
                  </a:lnTo>
                  <a:lnTo>
                    <a:pt x="7484" y="1305"/>
                  </a:lnTo>
                  <a:lnTo>
                    <a:pt x="7476" y="1320"/>
                  </a:lnTo>
                  <a:lnTo>
                    <a:pt x="7469" y="1334"/>
                  </a:lnTo>
                  <a:lnTo>
                    <a:pt x="7459" y="1349"/>
                  </a:lnTo>
                  <a:lnTo>
                    <a:pt x="7446" y="1364"/>
                  </a:lnTo>
                  <a:lnTo>
                    <a:pt x="7432" y="1377"/>
                  </a:lnTo>
                  <a:lnTo>
                    <a:pt x="7415" y="1391"/>
                  </a:lnTo>
                  <a:lnTo>
                    <a:pt x="7406" y="1396"/>
                  </a:lnTo>
                  <a:lnTo>
                    <a:pt x="7396" y="1402"/>
                  </a:lnTo>
                  <a:lnTo>
                    <a:pt x="7396" y="1402"/>
                  </a:lnTo>
                  <a:lnTo>
                    <a:pt x="7342" y="1429"/>
                  </a:lnTo>
                  <a:lnTo>
                    <a:pt x="7226" y="1484"/>
                  </a:lnTo>
                  <a:lnTo>
                    <a:pt x="6846" y="1665"/>
                  </a:lnTo>
                  <a:lnTo>
                    <a:pt x="5743" y="2187"/>
                  </a:lnTo>
                  <a:lnTo>
                    <a:pt x="4173" y="2927"/>
                  </a:lnTo>
                  <a:lnTo>
                    <a:pt x="4173" y="2927"/>
                  </a:lnTo>
                  <a:lnTo>
                    <a:pt x="4165" y="2930"/>
                  </a:lnTo>
                  <a:lnTo>
                    <a:pt x="4140" y="2939"/>
                  </a:lnTo>
                  <a:lnTo>
                    <a:pt x="4102" y="2952"/>
                  </a:lnTo>
                  <a:lnTo>
                    <a:pt x="4077" y="2959"/>
                  </a:lnTo>
                  <a:lnTo>
                    <a:pt x="4050" y="2966"/>
                  </a:lnTo>
                  <a:lnTo>
                    <a:pt x="4020" y="2973"/>
                  </a:lnTo>
                  <a:lnTo>
                    <a:pt x="3987" y="2980"/>
                  </a:lnTo>
                  <a:lnTo>
                    <a:pt x="3952" y="2987"/>
                  </a:lnTo>
                  <a:lnTo>
                    <a:pt x="3915" y="2993"/>
                  </a:lnTo>
                  <a:lnTo>
                    <a:pt x="3876" y="2997"/>
                  </a:lnTo>
                  <a:lnTo>
                    <a:pt x="3836" y="3002"/>
                  </a:lnTo>
                  <a:lnTo>
                    <a:pt x="3793" y="3005"/>
                  </a:lnTo>
                  <a:lnTo>
                    <a:pt x="3749" y="3005"/>
                  </a:lnTo>
                  <a:lnTo>
                    <a:pt x="3749" y="3005"/>
                  </a:lnTo>
                  <a:lnTo>
                    <a:pt x="3706" y="3005"/>
                  </a:lnTo>
                  <a:lnTo>
                    <a:pt x="3663" y="3002"/>
                  </a:lnTo>
                  <a:lnTo>
                    <a:pt x="3622" y="2997"/>
                  </a:lnTo>
                  <a:lnTo>
                    <a:pt x="3584" y="2993"/>
                  </a:lnTo>
                  <a:lnTo>
                    <a:pt x="3547" y="2987"/>
                  </a:lnTo>
                  <a:lnTo>
                    <a:pt x="3511" y="2980"/>
                  </a:lnTo>
                  <a:lnTo>
                    <a:pt x="3479" y="2973"/>
                  </a:lnTo>
                  <a:lnTo>
                    <a:pt x="3449" y="2966"/>
                  </a:lnTo>
                  <a:lnTo>
                    <a:pt x="3422" y="2959"/>
                  </a:lnTo>
                  <a:lnTo>
                    <a:pt x="3397" y="2952"/>
                  </a:lnTo>
                  <a:lnTo>
                    <a:pt x="3358" y="2939"/>
                  </a:lnTo>
                  <a:lnTo>
                    <a:pt x="3333" y="2930"/>
                  </a:lnTo>
                  <a:lnTo>
                    <a:pt x="3325" y="2927"/>
                  </a:lnTo>
                  <a:lnTo>
                    <a:pt x="3325" y="2927"/>
                  </a:lnTo>
                  <a:lnTo>
                    <a:pt x="1755" y="2187"/>
                  </a:lnTo>
                  <a:lnTo>
                    <a:pt x="652" y="1665"/>
                  </a:lnTo>
                  <a:lnTo>
                    <a:pt x="273" y="1484"/>
                  </a:lnTo>
                  <a:lnTo>
                    <a:pt x="156" y="1429"/>
                  </a:lnTo>
                  <a:lnTo>
                    <a:pt x="102" y="1402"/>
                  </a:lnTo>
                  <a:lnTo>
                    <a:pt x="102" y="1402"/>
                  </a:lnTo>
                  <a:lnTo>
                    <a:pt x="93" y="1396"/>
                  </a:lnTo>
                  <a:lnTo>
                    <a:pt x="84" y="1391"/>
                  </a:lnTo>
                  <a:lnTo>
                    <a:pt x="67" y="1377"/>
                  </a:lnTo>
                  <a:lnTo>
                    <a:pt x="52" y="1364"/>
                  </a:lnTo>
                  <a:lnTo>
                    <a:pt x="40" y="1349"/>
                  </a:lnTo>
                  <a:lnTo>
                    <a:pt x="29" y="1334"/>
                  </a:lnTo>
                  <a:lnTo>
                    <a:pt x="21" y="1320"/>
                  </a:lnTo>
                  <a:lnTo>
                    <a:pt x="15" y="1305"/>
                  </a:lnTo>
                  <a:lnTo>
                    <a:pt x="10" y="1292"/>
                  </a:lnTo>
                  <a:lnTo>
                    <a:pt x="7" y="1278"/>
                  </a:lnTo>
                  <a:lnTo>
                    <a:pt x="3" y="1266"/>
                  </a:lnTo>
                  <a:lnTo>
                    <a:pt x="0" y="1244"/>
                  </a:lnTo>
                  <a:lnTo>
                    <a:pt x="0" y="1230"/>
                  </a:lnTo>
                  <a:lnTo>
                    <a:pt x="0" y="12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0" name="Freeform 47"/>
            <p:cNvSpPr>
              <a:spLocks/>
            </p:cNvSpPr>
            <p:nvPr/>
          </p:nvSpPr>
          <p:spPr bwMode="auto">
            <a:xfrm flipH="1">
              <a:off x="6793383" y="2884120"/>
              <a:ext cx="123849" cy="41277"/>
            </a:xfrm>
            <a:custGeom>
              <a:avLst/>
              <a:gdLst>
                <a:gd name="T0" fmla="*/ 0 w 674"/>
                <a:gd name="T1" fmla="*/ 292 h 292"/>
                <a:gd name="T2" fmla="*/ 0 w 674"/>
                <a:gd name="T3" fmla="*/ 292 h 292"/>
                <a:gd name="T4" fmla="*/ 79 w 674"/>
                <a:gd name="T5" fmla="*/ 266 h 292"/>
                <a:gd name="T6" fmla="*/ 160 w 674"/>
                <a:gd name="T7" fmla="*/ 238 h 292"/>
                <a:gd name="T8" fmla="*/ 243 w 674"/>
                <a:gd name="T9" fmla="*/ 207 h 292"/>
                <a:gd name="T10" fmla="*/ 284 w 674"/>
                <a:gd name="T11" fmla="*/ 190 h 292"/>
                <a:gd name="T12" fmla="*/ 327 w 674"/>
                <a:gd name="T13" fmla="*/ 172 h 292"/>
                <a:gd name="T14" fmla="*/ 371 w 674"/>
                <a:gd name="T15" fmla="*/ 155 h 292"/>
                <a:gd name="T16" fmla="*/ 413 w 674"/>
                <a:gd name="T17" fmla="*/ 135 h 292"/>
                <a:gd name="T18" fmla="*/ 457 w 674"/>
                <a:gd name="T19" fmla="*/ 115 h 292"/>
                <a:gd name="T20" fmla="*/ 501 w 674"/>
                <a:gd name="T21" fmla="*/ 93 h 292"/>
                <a:gd name="T22" fmla="*/ 544 w 674"/>
                <a:gd name="T23" fmla="*/ 71 h 292"/>
                <a:gd name="T24" fmla="*/ 588 w 674"/>
                <a:gd name="T25" fmla="*/ 48 h 292"/>
                <a:gd name="T26" fmla="*/ 632 w 674"/>
                <a:gd name="T27" fmla="*/ 25 h 292"/>
                <a:gd name="T28" fmla="*/ 674 w 674"/>
                <a:gd name="T29" fmla="*/ 0 h 292"/>
                <a:gd name="T30" fmla="*/ 674 w 674"/>
                <a:gd name="T31" fmla="*/ 0 h 292"/>
                <a:gd name="T32" fmla="*/ 642 w 674"/>
                <a:gd name="T33" fmla="*/ 22 h 292"/>
                <a:gd name="T34" fmla="*/ 608 w 674"/>
                <a:gd name="T35" fmla="*/ 43 h 292"/>
                <a:gd name="T36" fmla="*/ 572 w 674"/>
                <a:gd name="T37" fmla="*/ 64 h 292"/>
                <a:gd name="T38" fmla="*/ 535 w 674"/>
                <a:gd name="T39" fmla="*/ 84 h 292"/>
                <a:gd name="T40" fmla="*/ 497 w 674"/>
                <a:gd name="T41" fmla="*/ 104 h 292"/>
                <a:gd name="T42" fmla="*/ 457 w 674"/>
                <a:gd name="T43" fmla="*/ 122 h 292"/>
                <a:gd name="T44" fmla="*/ 415 w 674"/>
                <a:gd name="T45" fmla="*/ 141 h 292"/>
                <a:gd name="T46" fmla="*/ 373 w 674"/>
                <a:gd name="T47" fmla="*/ 160 h 292"/>
                <a:gd name="T48" fmla="*/ 330 w 674"/>
                <a:gd name="T49" fmla="*/ 178 h 292"/>
                <a:gd name="T50" fmla="*/ 285 w 674"/>
                <a:gd name="T51" fmla="*/ 194 h 292"/>
                <a:gd name="T52" fmla="*/ 240 w 674"/>
                <a:gd name="T53" fmla="*/ 211 h 292"/>
                <a:gd name="T54" fmla="*/ 194 w 674"/>
                <a:gd name="T55" fmla="*/ 228 h 292"/>
                <a:gd name="T56" fmla="*/ 98 w 674"/>
                <a:gd name="T57" fmla="*/ 261 h 292"/>
                <a:gd name="T58" fmla="*/ 0 w 674"/>
                <a:gd name="T59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74" h="292">
                  <a:moveTo>
                    <a:pt x="0" y="292"/>
                  </a:moveTo>
                  <a:lnTo>
                    <a:pt x="0" y="292"/>
                  </a:lnTo>
                  <a:lnTo>
                    <a:pt x="79" y="266"/>
                  </a:lnTo>
                  <a:lnTo>
                    <a:pt x="160" y="238"/>
                  </a:lnTo>
                  <a:lnTo>
                    <a:pt x="243" y="207"/>
                  </a:lnTo>
                  <a:lnTo>
                    <a:pt x="284" y="190"/>
                  </a:lnTo>
                  <a:lnTo>
                    <a:pt x="327" y="172"/>
                  </a:lnTo>
                  <a:lnTo>
                    <a:pt x="371" y="155"/>
                  </a:lnTo>
                  <a:lnTo>
                    <a:pt x="413" y="135"/>
                  </a:lnTo>
                  <a:lnTo>
                    <a:pt x="457" y="115"/>
                  </a:lnTo>
                  <a:lnTo>
                    <a:pt x="501" y="93"/>
                  </a:lnTo>
                  <a:lnTo>
                    <a:pt x="544" y="71"/>
                  </a:lnTo>
                  <a:lnTo>
                    <a:pt x="588" y="48"/>
                  </a:lnTo>
                  <a:lnTo>
                    <a:pt x="632" y="25"/>
                  </a:lnTo>
                  <a:lnTo>
                    <a:pt x="674" y="0"/>
                  </a:lnTo>
                  <a:lnTo>
                    <a:pt x="674" y="0"/>
                  </a:lnTo>
                  <a:lnTo>
                    <a:pt x="642" y="22"/>
                  </a:lnTo>
                  <a:lnTo>
                    <a:pt x="608" y="43"/>
                  </a:lnTo>
                  <a:lnTo>
                    <a:pt x="572" y="64"/>
                  </a:lnTo>
                  <a:lnTo>
                    <a:pt x="535" y="84"/>
                  </a:lnTo>
                  <a:lnTo>
                    <a:pt x="497" y="104"/>
                  </a:lnTo>
                  <a:lnTo>
                    <a:pt x="457" y="122"/>
                  </a:lnTo>
                  <a:lnTo>
                    <a:pt x="415" y="141"/>
                  </a:lnTo>
                  <a:lnTo>
                    <a:pt x="373" y="160"/>
                  </a:lnTo>
                  <a:lnTo>
                    <a:pt x="330" y="178"/>
                  </a:lnTo>
                  <a:lnTo>
                    <a:pt x="285" y="194"/>
                  </a:lnTo>
                  <a:lnTo>
                    <a:pt x="240" y="211"/>
                  </a:lnTo>
                  <a:lnTo>
                    <a:pt x="194" y="228"/>
                  </a:lnTo>
                  <a:lnTo>
                    <a:pt x="98" y="261"/>
                  </a:lnTo>
                  <a:lnTo>
                    <a:pt x="0" y="29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1" name="Freeform 48"/>
            <p:cNvSpPr>
              <a:spLocks/>
            </p:cNvSpPr>
            <p:nvPr/>
          </p:nvSpPr>
          <p:spPr bwMode="auto">
            <a:xfrm flipH="1">
              <a:off x="6793383" y="2884120"/>
              <a:ext cx="123849" cy="41277"/>
            </a:xfrm>
            <a:custGeom>
              <a:avLst/>
              <a:gdLst>
                <a:gd name="T0" fmla="*/ 0 w 674"/>
                <a:gd name="T1" fmla="*/ 292 h 292"/>
                <a:gd name="T2" fmla="*/ 0 w 674"/>
                <a:gd name="T3" fmla="*/ 292 h 292"/>
                <a:gd name="T4" fmla="*/ 79 w 674"/>
                <a:gd name="T5" fmla="*/ 266 h 292"/>
                <a:gd name="T6" fmla="*/ 160 w 674"/>
                <a:gd name="T7" fmla="*/ 238 h 292"/>
                <a:gd name="T8" fmla="*/ 243 w 674"/>
                <a:gd name="T9" fmla="*/ 207 h 292"/>
                <a:gd name="T10" fmla="*/ 284 w 674"/>
                <a:gd name="T11" fmla="*/ 190 h 292"/>
                <a:gd name="T12" fmla="*/ 327 w 674"/>
                <a:gd name="T13" fmla="*/ 172 h 292"/>
                <a:gd name="T14" fmla="*/ 371 w 674"/>
                <a:gd name="T15" fmla="*/ 155 h 292"/>
                <a:gd name="T16" fmla="*/ 413 w 674"/>
                <a:gd name="T17" fmla="*/ 135 h 292"/>
                <a:gd name="T18" fmla="*/ 457 w 674"/>
                <a:gd name="T19" fmla="*/ 115 h 292"/>
                <a:gd name="T20" fmla="*/ 501 w 674"/>
                <a:gd name="T21" fmla="*/ 93 h 292"/>
                <a:gd name="T22" fmla="*/ 544 w 674"/>
                <a:gd name="T23" fmla="*/ 71 h 292"/>
                <a:gd name="T24" fmla="*/ 588 w 674"/>
                <a:gd name="T25" fmla="*/ 48 h 292"/>
                <a:gd name="T26" fmla="*/ 632 w 674"/>
                <a:gd name="T27" fmla="*/ 25 h 292"/>
                <a:gd name="T28" fmla="*/ 674 w 674"/>
                <a:gd name="T29" fmla="*/ 0 h 292"/>
                <a:gd name="T30" fmla="*/ 674 w 674"/>
                <a:gd name="T31" fmla="*/ 0 h 292"/>
                <a:gd name="T32" fmla="*/ 642 w 674"/>
                <a:gd name="T33" fmla="*/ 22 h 292"/>
                <a:gd name="T34" fmla="*/ 608 w 674"/>
                <a:gd name="T35" fmla="*/ 43 h 292"/>
                <a:gd name="T36" fmla="*/ 572 w 674"/>
                <a:gd name="T37" fmla="*/ 64 h 292"/>
                <a:gd name="T38" fmla="*/ 535 w 674"/>
                <a:gd name="T39" fmla="*/ 84 h 292"/>
                <a:gd name="T40" fmla="*/ 497 w 674"/>
                <a:gd name="T41" fmla="*/ 104 h 292"/>
                <a:gd name="T42" fmla="*/ 457 w 674"/>
                <a:gd name="T43" fmla="*/ 122 h 292"/>
                <a:gd name="T44" fmla="*/ 415 w 674"/>
                <a:gd name="T45" fmla="*/ 141 h 292"/>
                <a:gd name="T46" fmla="*/ 373 w 674"/>
                <a:gd name="T47" fmla="*/ 160 h 292"/>
                <a:gd name="T48" fmla="*/ 330 w 674"/>
                <a:gd name="T49" fmla="*/ 178 h 292"/>
                <a:gd name="T50" fmla="*/ 285 w 674"/>
                <a:gd name="T51" fmla="*/ 194 h 292"/>
                <a:gd name="T52" fmla="*/ 240 w 674"/>
                <a:gd name="T53" fmla="*/ 211 h 292"/>
                <a:gd name="T54" fmla="*/ 194 w 674"/>
                <a:gd name="T55" fmla="*/ 228 h 292"/>
                <a:gd name="T56" fmla="*/ 98 w 674"/>
                <a:gd name="T57" fmla="*/ 261 h 292"/>
                <a:gd name="T58" fmla="*/ 0 w 674"/>
                <a:gd name="T59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74" h="292">
                  <a:moveTo>
                    <a:pt x="0" y="292"/>
                  </a:moveTo>
                  <a:lnTo>
                    <a:pt x="0" y="292"/>
                  </a:lnTo>
                  <a:lnTo>
                    <a:pt x="79" y="266"/>
                  </a:lnTo>
                  <a:lnTo>
                    <a:pt x="160" y="238"/>
                  </a:lnTo>
                  <a:lnTo>
                    <a:pt x="243" y="207"/>
                  </a:lnTo>
                  <a:lnTo>
                    <a:pt x="284" y="190"/>
                  </a:lnTo>
                  <a:lnTo>
                    <a:pt x="327" y="172"/>
                  </a:lnTo>
                  <a:lnTo>
                    <a:pt x="371" y="155"/>
                  </a:lnTo>
                  <a:lnTo>
                    <a:pt x="413" y="135"/>
                  </a:lnTo>
                  <a:lnTo>
                    <a:pt x="457" y="115"/>
                  </a:lnTo>
                  <a:lnTo>
                    <a:pt x="501" y="93"/>
                  </a:lnTo>
                  <a:lnTo>
                    <a:pt x="544" y="71"/>
                  </a:lnTo>
                  <a:lnTo>
                    <a:pt x="588" y="48"/>
                  </a:lnTo>
                  <a:lnTo>
                    <a:pt x="632" y="25"/>
                  </a:lnTo>
                  <a:lnTo>
                    <a:pt x="674" y="0"/>
                  </a:lnTo>
                  <a:lnTo>
                    <a:pt x="674" y="0"/>
                  </a:lnTo>
                  <a:lnTo>
                    <a:pt x="642" y="22"/>
                  </a:lnTo>
                  <a:lnTo>
                    <a:pt x="608" y="43"/>
                  </a:lnTo>
                  <a:lnTo>
                    <a:pt x="572" y="64"/>
                  </a:lnTo>
                  <a:lnTo>
                    <a:pt x="535" y="84"/>
                  </a:lnTo>
                  <a:lnTo>
                    <a:pt x="497" y="104"/>
                  </a:lnTo>
                  <a:lnTo>
                    <a:pt x="457" y="122"/>
                  </a:lnTo>
                  <a:lnTo>
                    <a:pt x="415" y="141"/>
                  </a:lnTo>
                  <a:lnTo>
                    <a:pt x="373" y="160"/>
                  </a:lnTo>
                  <a:lnTo>
                    <a:pt x="330" y="178"/>
                  </a:lnTo>
                  <a:lnTo>
                    <a:pt x="285" y="194"/>
                  </a:lnTo>
                  <a:lnTo>
                    <a:pt x="240" y="211"/>
                  </a:lnTo>
                  <a:lnTo>
                    <a:pt x="194" y="228"/>
                  </a:lnTo>
                  <a:lnTo>
                    <a:pt x="98" y="261"/>
                  </a:lnTo>
                  <a:lnTo>
                    <a:pt x="0" y="29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2" name="Freeform 49"/>
            <p:cNvSpPr>
              <a:spLocks/>
            </p:cNvSpPr>
            <p:nvPr/>
          </p:nvSpPr>
          <p:spPr bwMode="auto">
            <a:xfrm flipH="1">
              <a:off x="6918521" y="2925397"/>
              <a:ext cx="2580" cy="1290"/>
            </a:xfrm>
            <a:custGeom>
              <a:avLst/>
              <a:gdLst>
                <a:gd name="T0" fmla="*/ 8 w 17"/>
                <a:gd name="T1" fmla="*/ 2 h 5"/>
                <a:gd name="T2" fmla="*/ 8 w 17"/>
                <a:gd name="T3" fmla="*/ 2 h 5"/>
                <a:gd name="T4" fmla="*/ 0 w 17"/>
                <a:gd name="T5" fmla="*/ 5 h 5"/>
                <a:gd name="T6" fmla="*/ 0 w 17"/>
                <a:gd name="T7" fmla="*/ 5 h 5"/>
                <a:gd name="T8" fmla="*/ 17 w 17"/>
                <a:gd name="T9" fmla="*/ 0 h 5"/>
                <a:gd name="T10" fmla="*/ 17 w 17"/>
                <a:gd name="T11" fmla="*/ 0 h 5"/>
                <a:gd name="T12" fmla="*/ 8 w 17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8" y="2"/>
                  </a:moveTo>
                  <a:lnTo>
                    <a:pt x="8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3" name="Freeform 50"/>
            <p:cNvSpPr>
              <a:spLocks/>
            </p:cNvSpPr>
            <p:nvPr/>
          </p:nvSpPr>
          <p:spPr bwMode="auto">
            <a:xfrm flipH="1">
              <a:off x="6918521" y="2925397"/>
              <a:ext cx="2580" cy="1290"/>
            </a:xfrm>
            <a:custGeom>
              <a:avLst/>
              <a:gdLst>
                <a:gd name="T0" fmla="*/ 8 w 17"/>
                <a:gd name="T1" fmla="*/ 2 h 5"/>
                <a:gd name="T2" fmla="*/ 8 w 17"/>
                <a:gd name="T3" fmla="*/ 2 h 5"/>
                <a:gd name="T4" fmla="*/ 0 w 17"/>
                <a:gd name="T5" fmla="*/ 5 h 5"/>
                <a:gd name="T6" fmla="*/ 0 w 17"/>
                <a:gd name="T7" fmla="*/ 5 h 5"/>
                <a:gd name="T8" fmla="*/ 17 w 17"/>
                <a:gd name="T9" fmla="*/ 0 h 5"/>
                <a:gd name="T10" fmla="*/ 17 w 17"/>
                <a:gd name="T11" fmla="*/ 0 h 5"/>
                <a:gd name="T12" fmla="*/ 8 w 17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8" y="2"/>
                  </a:moveTo>
                  <a:lnTo>
                    <a:pt x="8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4" name="Freeform 51"/>
            <p:cNvSpPr>
              <a:spLocks/>
            </p:cNvSpPr>
            <p:nvPr/>
          </p:nvSpPr>
          <p:spPr bwMode="auto">
            <a:xfrm flipH="1">
              <a:off x="7490032" y="2886700"/>
              <a:ext cx="43863" cy="16769"/>
            </a:xfrm>
            <a:custGeom>
              <a:avLst/>
              <a:gdLst>
                <a:gd name="T0" fmla="*/ 0 w 234"/>
                <a:gd name="T1" fmla="*/ 0 h 124"/>
                <a:gd name="T2" fmla="*/ 0 w 234"/>
                <a:gd name="T3" fmla="*/ 0 h 124"/>
                <a:gd name="T4" fmla="*/ 23 w 234"/>
                <a:gd name="T5" fmla="*/ 13 h 124"/>
                <a:gd name="T6" fmla="*/ 75 w 234"/>
                <a:gd name="T7" fmla="*/ 43 h 124"/>
                <a:gd name="T8" fmla="*/ 110 w 234"/>
                <a:gd name="T9" fmla="*/ 62 h 124"/>
                <a:gd name="T10" fmla="*/ 149 w 234"/>
                <a:gd name="T11" fmla="*/ 82 h 124"/>
                <a:gd name="T12" fmla="*/ 190 w 234"/>
                <a:gd name="T13" fmla="*/ 103 h 124"/>
                <a:gd name="T14" fmla="*/ 234 w 234"/>
                <a:gd name="T15" fmla="*/ 124 h 124"/>
                <a:gd name="T16" fmla="*/ 234 w 234"/>
                <a:gd name="T17" fmla="*/ 124 h 124"/>
                <a:gd name="T18" fmla="*/ 171 w 234"/>
                <a:gd name="T19" fmla="*/ 95 h 124"/>
                <a:gd name="T20" fmla="*/ 141 w 234"/>
                <a:gd name="T21" fmla="*/ 79 h 124"/>
                <a:gd name="T22" fmla="*/ 110 w 234"/>
                <a:gd name="T23" fmla="*/ 65 h 124"/>
                <a:gd name="T24" fmla="*/ 82 w 234"/>
                <a:gd name="T25" fmla="*/ 49 h 124"/>
                <a:gd name="T26" fmla="*/ 54 w 234"/>
                <a:gd name="T27" fmla="*/ 32 h 124"/>
                <a:gd name="T28" fmla="*/ 27 w 234"/>
                <a:gd name="T29" fmla="*/ 17 h 124"/>
                <a:gd name="T30" fmla="*/ 0 w 234"/>
                <a:gd name="T31" fmla="*/ 0 h 124"/>
                <a:gd name="T32" fmla="*/ 0 w 234"/>
                <a:gd name="T3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4" h="124">
                  <a:moveTo>
                    <a:pt x="0" y="0"/>
                  </a:moveTo>
                  <a:lnTo>
                    <a:pt x="0" y="0"/>
                  </a:lnTo>
                  <a:lnTo>
                    <a:pt x="23" y="13"/>
                  </a:lnTo>
                  <a:lnTo>
                    <a:pt x="75" y="43"/>
                  </a:lnTo>
                  <a:lnTo>
                    <a:pt x="110" y="62"/>
                  </a:lnTo>
                  <a:lnTo>
                    <a:pt x="149" y="82"/>
                  </a:lnTo>
                  <a:lnTo>
                    <a:pt x="190" y="103"/>
                  </a:lnTo>
                  <a:lnTo>
                    <a:pt x="234" y="124"/>
                  </a:lnTo>
                  <a:lnTo>
                    <a:pt x="234" y="124"/>
                  </a:lnTo>
                  <a:lnTo>
                    <a:pt x="171" y="95"/>
                  </a:lnTo>
                  <a:lnTo>
                    <a:pt x="141" y="79"/>
                  </a:lnTo>
                  <a:lnTo>
                    <a:pt x="110" y="65"/>
                  </a:lnTo>
                  <a:lnTo>
                    <a:pt x="82" y="49"/>
                  </a:lnTo>
                  <a:lnTo>
                    <a:pt x="54" y="32"/>
                  </a:lnTo>
                  <a:lnTo>
                    <a:pt x="27" y="1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5" name="Freeform 52"/>
            <p:cNvSpPr>
              <a:spLocks/>
            </p:cNvSpPr>
            <p:nvPr/>
          </p:nvSpPr>
          <p:spPr bwMode="auto">
            <a:xfrm flipH="1">
              <a:off x="6923682" y="2926687"/>
              <a:ext cx="2580" cy="1290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11 w 11"/>
                <a:gd name="T5" fmla="*/ 0 h 3"/>
                <a:gd name="T6" fmla="*/ 11 w 11"/>
                <a:gd name="T7" fmla="*/ 0 h 3"/>
                <a:gd name="T8" fmla="*/ 0 w 1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6" name="Freeform 53"/>
            <p:cNvSpPr>
              <a:spLocks/>
            </p:cNvSpPr>
            <p:nvPr/>
          </p:nvSpPr>
          <p:spPr bwMode="auto">
            <a:xfrm flipH="1">
              <a:off x="6923682" y="2926687"/>
              <a:ext cx="2580" cy="1290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11 w 11"/>
                <a:gd name="T5" fmla="*/ 0 h 3"/>
                <a:gd name="T6" fmla="*/ 11 w 11"/>
                <a:gd name="T7" fmla="*/ 0 h 3"/>
                <a:gd name="T8" fmla="*/ 0 w 1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7" name="Freeform 54"/>
            <p:cNvSpPr>
              <a:spLocks noEditPoints="1"/>
            </p:cNvSpPr>
            <p:nvPr/>
          </p:nvSpPr>
          <p:spPr bwMode="auto">
            <a:xfrm flipH="1">
              <a:off x="6743069" y="2691922"/>
              <a:ext cx="845009" cy="259274"/>
            </a:xfrm>
            <a:custGeom>
              <a:avLst/>
              <a:gdLst>
                <a:gd name="T0" fmla="*/ 614 w 4587"/>
                <a:gd name="T1" fmla="*/ 1511 h 1809"/>
                <a:gd name="T2" fmla="*/ 870 w 4587"/>
                <a:gd name="T3" fmla="*/ 1603 h 1809"/>
                <a:gd name="T4" fmla="*/ 1021 w 4587"/>
                <a:gd name="T5" fmla="*/ 1649 h 1809"/>
                <a:gd name="T6" fmla="*/ 1201 w 4587"/>
                <a:gd name="T7" fmla="*/ 1695 h 1809"/>
                <a:gd name="T8" fmla="*/ 1378 w 4587"/>
                <a:gd name="T9" fmla="*/ 1731 h 1809"/>
                <a:gd name="T10" fmla="*/ 1552 w 4587"/>
                <a:gd name="T11" fmla="*/ 1759 h 1809"/>
                <a:gd name="T12" fmla="*/ 1766 w 4587"/>
                <a:gd name="T13" fmla="*/ 1784 h 1809"/>
                <a:gd name="T14" fmla="*/ 2040 w 4587"/>
                <a:gd name="T15" fmla="*/ 1804 h 1809"/>
                <a:gd name="T16" fmla="*/ 2262 w 4587"/>
                <a:gd name="T17" fmla="*/ 1809 h 1809"/>
                <a:gd name="T18" fmla="*/ 2352 w 4587"/>
                <a:gd name="T19" fmla="*/ 1809 h 1809"/>
                <a:gd name="T20" fmla="*/ 2620 w 4587"/>
                <a:gd name="T21" fmla="*/ 1800 h 1809"/>
                <a:gd name="T22" fmla="*/ 2814 w 4587"/>
                <a:gd name="T23" fmla="*/ 1786 h 1809"/>
                <a:gd name="T24" fmla="*/ 3036 w 4587"/>
                <a:gd name="T25" fmla="*/ 1758 h 1809"/>
                <a:gd name="T26" fmla="*/ 2941 w 4587"/>
                <a:gd name="T27" fmla="*/ 795 h 1809"/>
                <a:gd name="T28" fmla="*/ 2706 w 4587"/>
                <a:gd name="T29" fmla="*/ 822 h 1809"/>
                <a:gd name="T30" fmla="*/ 2462 w 4587"/>
                <a:gd name="T31" fmla="*/ 837 h 1809"/>
                <a:gd name="T32" fmla="*/ 2293 w 4587"/>
                <a:gd name="T33" fmla="*/ 840 h 1809"/>
                <a:gd name="T34" fmla="*/ 1981 w 4587"/>
                <a:gd name="T35" fmla="*/ 830 h 1809"/>
                <a:gd name="T36" fmla="*/ 1684 w 4587"/>
                <a:gd name="T37" fmla="*/ 800 h 1809"/>
                <a:gd name="T38" fmla="*/ 1405 w 4587"/>
                <a:gd name="T39" fmla="*/ 752 h 1809"/>
                <a:gd name="T40" fmla="*/ 1149 w 4587"/>
                <a:gd name="T41" fmla="*/ 687 h 1809"/>
                <a:gd name="T42" fmla="*/ 955 w 4587"/>
                <a:gd name="T43" fmla="*/ 623 h 1809"/>
                <a:gd name="T44" fmla="*/ 848 w 4587"/>
                <a:gd name="T45" fmla="*/ 579 h 1809"/>
                <a:gd name="T46" fmla="*/ 42 w 4587"/>
                <a:gd name="T47" fmla="*/ 657 h 1809"/>
                <a:gd name="T48" fmla="*/ 274 w 4587"/>
                <a:gd name="T49" fmla="*/ 0 h 1809"/>
                <a:gd name="T50" fmla="*/ 292 w 4587"/>
                <a:gd name="T51" fmla="*/ 90 h 1809"/>
                <a:gd name="T52" fmla="*/ 330 w 4587"/>
                <a:gd name="T53" fmla="*/ 178 h 1809"/>
                <a:gd name="T54" fmla="*/ 389 w 4587"/>
                <a:gd name="T55" fmla="*/ 262 h 1809"/>
                <a:gd name="T56" fmla="*/ 467 w 4587"/>
                <a:gd name="T57" fmla="*/ 342 h 1809"/>
                <a:gd name="T58" fmla="*/ 561 w 4587"/>
                <a:gd name="T59" fmla="*/ 418 h 1809"/>
                <a:gd name="T60" fmla="*/ 296 w 4587"/>
                <a:gd name="T61" fmla="*/ 1351 h 1809"/>
                <a:gd name="T62" fmla="*/ 251 w 4587"/>
                <a:gd name="T63" fmla="*/ 1321 h 1809"/>
                <a:gd name="T64" fmla="*/ 190 w 4587"/>
                <a:gd name="T65" fmla="*/ 1271 h 1809"/>
                <a:gd name="T66" fmla="*/ 136 w 4587"/>
                <a:gd name="T67" fmla="*/ 1219 h 1809"/>
                <a:gd name="T68" fmla="*/ 91 w 4587"/>
                <a:gd name="T69" fmla="*/ 1163 h 1809"/>
                <a:gd name="T70" fmla="*/ 54 w 4587"/>
                <a:gd name="T71" fmla="*/ 1104 h 1809"/>
                <a:gd name="T72" fmla="*/ 26 w 4587"/>
                <a:gd name="T73" fmla="*/ 1041 h 1809"/>
                <a:gd name="T74" fmla="*/ 8 w 4587"/>
                <a:gd name="T75" fmla="*/ 974 h 1809"/>
                <a:gd name="T76" fmla="*/ 0 w 4587"/>
                <a:gd name="T77" fmla="*/ 902 h 1809"/>
                <a:gd name="T78" fmla="*/ 3 w 4587"/>
                <a:gd name="T79" fmla="*/ 825 h 1809"/>
                <a:gd name="T80" fmla="*/ 17 w 4587"/>
                <a:gd name="T81" fmla="*/ 744 h 1809"/>
                <a:gd name="T82" fmla="*/ 42 w 4587"/>
                <a:gd name="T83" fmla="*/ 657 h 1809"/>
                <a:gd name="T84" fmla="*/ 4544 w 4587"/>
                <a:gd name="T85" fmla="*/ 657 h 1809"/>
                <a:gd name="T86" fmla="*/ 4562 w 4587"/>
                <a:gd name="T87" fmla="*/ 713 h 1809"/>
                <a:gd name="T88" fmla="*/ 4579 w 4587"/>
                <a:gd name="T89" fmla="*/ 795 h 1809"/>
                <a:gd name="T90" fmla="*/ 4587 w 4587"/>
                <a:gd name="T91" fmla="*/ 871 h 1809"/>
                <a:gd name="T92" fmla="*/ 4584 w 4587"/>
                <a:gd name="T93" fmla="*/ 942 h 1809"/>
                <a:gd name="T94" fmla="*/ 4570 w 4587"/>
                <a:gd name="T95" fmla="*/ 1009 h 1809"/>
                <a:gd name="T96" fmla="*/ 4548 w 4587"/>
                <a:gd name="T97" fmla="*/ 1072 h 1809"/>
                <a:gd name="T98" fmla="*/ 4517 w 4587"/>
                <a:gd name="T99" fmla="*/ 1132 h 1809"/>
                <a:gd name="T100" fmla="*/ 4478 w 4587"/>
                <a:gd name="T101" fmla="*/ 1187 h 1809"/>
                <a:gd name="T102" fmla="*/ 4430 w 4587"/>
                <a:gd name="T103" fmla="*/ 1241 h 1809"/>
                <a:gd name="T104" fmla="*/ 4375 w 4587"/>
                <a:gd name="T105" fmla="*/ 1290 h 1809"/>
                <a:gd name="T106" fmla="*/ 4313 w 4587"/>
                <a:gd name="T107" fmla="*/ 1336 h 1809"/>
                <a:gd name="T108" fmla="*/ 4042 w 4587"/>
                <a:gd name="T109" fmla="*/ 406 h 1809"/>
                <a:gd name="T110" fmla="*/ 4126 w 4587"/>
                <a:gd name="T111" fmla="*/ 337 h 1809"/>
                <a:gd name="T112" fmla="*/ 4196 w 4587"/>
                <a:gd name="T113" fmla="*/ 264 h 1809"/>
                <a:gd name="T114" fmla="*/ 4250 w 4587"/>
                <a:gd name="T115" fmla="*/ 189 h 1809"/>
                <a:gd name="T116" fmla="*/ 4287 w 4587"/>
                <a:gd name="T117" fmla="*/ 110 h 1809"/>
                <a:gd name="T118" fmla="*/ 4308 w 4587"/>
                <a:gd name="T119" fmla="*/ 29 h 1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87" h="1809">
                  <a:moveTo>
                    <a:pt x="615" y="1511"/>
                  </a:moveTo>
                  <a:lnTo>
                    <a:pt x="614" y="1511"/>
                  </a:lnTo>
                  <a:lnTo>
                    <a:pt x="614" y="1511"/>
                  </a:lnTo>
                  <a:lnTo>
                    <a:pt x="696" y="1543"/>
                  </a:lnTo>
                  <a:lnTo>
                    <a:pt x="782" y="1574"/>
                  </a:lnTo>
                  <a:lnTo>
                    <a:pt x="870" y="1603"/>
                  </a:lnTo>
                  <a:lnTo>
                    <a:pt x="962" y="1631"/>
                  </a:lnTo>
                  <a:lnTo>
                    <a:pt x="962" y="1631"/>
                  </a:lnTo>
                  <a:lnTo>
                    <a:pt x="1021" y="1649"/>
                  </a:lnTo>
                  <a:lnTo>
                    <a:pt x="1081" y="1666"/>
                  </a:lnTo>
                  <a:lnTo>
                    <a:pt x="1140" y="1681"/>
                  </a:lnTo>
                  <a:lnTo>
                    <a:pt x="1201" y="1695"/>
                  </a:lnTo>
                  <a:lnTo>
                    <a:pt x="1261" y="1708"/>
                  </a:lnTo>
                  <a:lnTo>
                    <a:pt x="1320" y="1720"/>
                  </a:lnTo>
                  <a:lnTo>
                    <a:pt x="1378" y="1731"/>
                  </a:lnTo>
                  <a:lnTo>
                    <a:pt x="1438" y="1742"/>
                  </a:lnTo>
                  <a:lnTo>
                    <a:pt x="1495" y="1751"/>
                  </a:lnTo>
                  <a:lnTo>
                    <a:pt x="1552" y="1759"/>
                  </a:lnTo>
                  <a:lnTo>
                    <a:pt x="1607" y="1767"/>
                  </a:lnTo>
                  <a:lnTo>
                    <a:pt x="1662" y="1773"/>
                  </a:lnTo>
                  <a:lnTo>
                    <a:pt x="1766" y="1784"/>
                  </a:lnTo>
                  <a:lnTo>
                    <a:pt x="1865" y="1793"/>
                  </a:lnTo>
                  <a:lnTo>
                    <a:pt x="1956" y="1800"/>
                  </a:lnTo>
                  <a:lnTo>
                    <a:pt x="2040" y="1804"/>
                  </a:lnTo>
                  <a:lnTo>
                    <a:pt x="2112" y="1807"/>
                  </a:lnTo>
                  <a:lnTo>
                    <a:pt x="2175" y="1808"/>
                  </a:lnTo>
                  <a:lnTo>
                    <a:pt x="2262" y="1809"/>
                  </a:lnTo>
                  <a:lnTo>
                    <a:pt x="2293" y="1808"/>
                  </a:lnTo>
                  <a:lnTo>
                    <a:pt x="2293" y="1808"/>
                  </a:lnTo>
                  <a:lnTo>
                    <a:pt x="2352" y="1809"/>
                  </a:lnTo>
                  <a:lnTo>
                    <a:pt x="2419" y="1808"/>
                  </a:lnTo>
                  <a:lnTo>
                    <a:pt x="2510" y="1805"/>
                  </a:lnTo>
                  <a:lnTo>
                    <a:pt x="2620" y="1800"/>
                  </a:lnTo>
                  <a:lnTo>
                    <a:pt x="2681" y="1796"/>
                  </a:lnTo>
                  <a:lnTo>
                    <a:pt x="2746" y="1792"/>
                  </a:lnTo>
                  <a:lnTo>
                    <a:pt x="2814" y="1786"/>
                  </a:lnTo>
                  <a:lnTo>
                    <a:pt x="2885" y="1778"/>
                  </a:lnTo>
                  <a:lnTo>
                    <a:pt x="2960" y="1769"/>
                  </a:lnTo>
                  <a:lnTo>
                    <a:pt x="3036" y="1758"/>
                  </a:lnTo>
                  <a:lnTo>
                    <a:pt x="3036" y="1758"/>
                  </a:lnTo>
                  <a:lnTo>
                    <a:pt x="2941" y="795"/>
                  </a:lnTo>
                  <a:lnTo>
                    <a:pt x="2941" y="795"/>
                  </a:lnTo>
                  <a:lnTo>
                    <a:pt x="2864" y="805"/>
                  </a:lnTo>
                  <a:lnTo>
                    <a:pt x="2786" y="814"/>
                  </a:lnTo>
                  <a:lnTo>
                    <a:pt x="2706" y="822"/>
                  </a:lnTo>
                  <a:lnTo>
                    <a:pt x="2626" y="829"/>
                  </a:lnTo>
                  <a:lnTo>
                    <a:pt x="2544" y="833"/>
                  </a:lnTo>
                  <a:lnTo>
                    <a:pt x="2462" y="837"/>
                  </a:lnTo>
                  <a:lnTo>
                    <a:pt x="2378" y="839"/>
                  </a:lnTo>
                  <a:lnTo>
                    <a:pt x="2293" y="840"/>
                  </a:lnTo>
                  <a:lnTo>
                    <a:pt x="2293" y="840"/>
                  </a:lnTo>
                  <a:lnTo>
                    <a:pt x="2187" y="839"/>
                  </a:lnTo>
                  <a:lnTo>
                    <a:pt x="2083" y="835"/>
                  </a:lnTo>
                  <a:lnTo>
                    <a:pt x="1981" y="830"/>
                  </a:lnTo>
                  <a:lnTo>
                    <a:pt x="1880" y="822"/>
                  </a:lnTo>
                  <a:lnTo>
                    <a:pt x="1781" y="812"/>
                  </a:lnTo>
                  <a:lnTo>
                    <a:pt x="1684" y="800"/>
                  </a:lnTo>
                  <a:lnTo>
                    <a:pt x="1588" y="786"/>
                  </a:lnTo>
                  <a:lnTo>
                    <a:pt x="1496" y="770"/>
                  </a:lnTo>
                  <a:lnTo>
                    <a:pt x="1405" y="752"/>
                  </a:lnTo>
                  <a:lnTo>
                    <a:pt x="1317" y="732"/>
                  </a:lnTo>
                  <a:lnTo>
                    <a:pt x="1232" y="711"/>
                  </a:lnTo>
                  <a:lnTo>
                    <a:pt x="1149" y="687"/>
                  </a:lnTo>
                  <a:lnTo>
                    <a:pt x="1069" y="662"/>
                  </a:lnTo>
                  <a:lnTo>
                    <a:pt x="992" y="636"/>
                  </a:lnTo>
                  <a:lnTo>
                    <a:pt x="955" y="623"/>
                  </a:lnTo>
                  <a:lnTo>
                    <a:pt x="919" y="608"/>
                  </a:lnTo>
                  <a:lnTo>
                    <a:pt x="883" y="594"/>
                  </a:lnTo>
                  <a:lnTo>
                    <a:pt x="848" y="579"/>
                  </a:lnTo>
                  <a:lnTo>
                    <a:pt x="848" y="579"/>
                  </a:lnTo>
                  <a:lnTo>
                    <a:pt x="615" y="1511"/>
                  </a:lnTo>
                  <a:close/>
                  <a:moveTo>
                    <a:pt x="42" y="657"/>
                  </a:moveTo>
                  <a:lnTo>
                    <a:pt x="42" y="657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8" y="30"/>
                  </a:lnTo>
                  <a:lnTo>
                    <a:pt x="284" y="60"/>
                  </a:lnTo>
                  <a:lnTo>
                    <a:pt x="292" y="90"/>
                  </a:lnTo>
                  <a:lnTo>
                    <a:pt x="302" y="119"/>
                  </a:lnTo>
                  <a:lnTo>
                    <a:pt x="316" y="150"/>
                  </a:lnTo>
                  <a:lnTo>
                    <a:pt x="330" y="178"/>
                  </a:lnTo>
                  <a:lnTo>
                    <a:pt x="348" y="207"/>
                  </a:lnTo>
                  <a:lnTo>
                    <a:pt x="368" y="235"/>
                  </a:lnTo>
                  <a:lnTo>
                    <a:pt x="389" y="262"/>
                  </a:lnTo>
                  <a:lnTo>
                    <a:pt x="413" y="289"/>
                  </a:lnTo>
                  <a:lnTo>
                    <a:pt x="439" y="316"/>
                  </a:lnTo>
                  <a:lnTo>
                    <a:pt x="467" y="342"/>
                  </a:lnTo>
                  <a:lnTo>
                    <a:pt x="496" y="368"/>
                  </a:lnTo>
                  <a:lnTo>
                    <a:pt x="528" y="395"/>
                  </a:lnTo>
                  <a:lnTo>
                    <a:pt x="561" y="418"/>
                  </a:lnTo>
                  <a:lnTo>
                    <a:pt x="597" y="443"/>
                  </a:lnTo>
                  <a:lnTo>
                    <a:pt x="597" y="443"/>
                  </a:lnTo>
                  <a:lnTo>
                    <a:pt x="296" y="1351"/>
                  </a:lnTo>
                  <a:lnTo>
                    <a:pt x="296" y="1351"/>
                  </a:lnTo>
                  <a:lnTo>
                    <a:pt x="273" y="1336"/>
                  </a:lnTo>
                  <a:lnTo>
                    <a:pt x="251" y="1321"/>
                  </a:lnTo>
                  <a:lnTo>
                    <a:pt x="231" y="1304"/>
                  </a:lnTo>
                  <a:lnTo>
                    <a:pt x="210" y="1287"/>
                  </a:lnTo>
                  <a:lnTo>
                    <a:pt x="190" y="1271"/>
                  </a:lnTo>
                  <a:lnTo>
                    <a:pt x="171" y="1254"/>
                  </a:lnTo>
                  <a:lnTo>
                    <a:pt x="154" y="1236"/>
                  </a:lnTo>
                  <a:lnTo>
                    <a:pt x="136" y="1219"/>
                  </a:lnTo>
                  <a:lnTo>
                    <a:pt x="120" y="1201"/>
                  </a:lnTo>
                  <a:lnTo>
                    <a:pt x="105" y="1182"/>
                  </a:lnTo>
                  <a:lnTo>
                    <a:pt x="91" y="1163"/>
                  </a:lnTo>
                  <a:lnTo>
                    <a:pt x="78" y="1144"/>
                  </a:lnTo>
                  <a:lnTo>
                    <a:pt x="65" y="1124"/>
                  </a:lnTo>
                  <a:lnTo>
                    <a:pt x="54" y="1104"/>
                  </a:lnTo>
                  <a:lnTo>
                    <a:pt x="44" y="1083"/>
                  </a:lnTo>
                  <a:lnTo>
                    <a:pt x="34" y="1062"/>
                  </a:lnTo>
                  <a:lnTo>
                    <a:pt x="26" y="1041"/>
                  </a:lnTo>
                  <a:lnTo>
                    <a:pt x="19" y="1019"/>
                  </a:lnTo>
                  <a:lnTo>
                    <a:pt x="13" y="997"/>
                  </a:lnTo>
                  <a:lnTo>
                    <a:pt x="8" y="974"/>
                  </a:lnTo>
                  <a:lnTo>
                    <a:pt x="4" y="950"/>
                  </a:lnTo>
                  <a:lnTo>
                    <a:pt x="2" y="926"/>
                  </a:lnTo>
                  <a:lnTo>
                    <a:pt x="0" y="902"/>
                  </a:lnTo>
                  <a:lnTo>
                    <a:pt x="0" y="877"/>
                  </a:lnTo>
                  <a:lnTo>
                    <a:pt x="1" y="851"/>
                  </a:lnTo>
                  <a:lnTo>
                    <a:pt x="3" y="825"/>
                  </a:lnTo>
                  <a:lnTo>
                    <a:pt x="6" y="799"/>
                  </a:lnTo>
                  <a:lnTo>
                    <a:pt x="11" y="772"/>
                  </a:lnTo>
                  <a:lnTo>
                    <a:pt x="17" y="744"/>
                  </a:lnTo>
                  <a:lnTo>
                    <a:pt x="24" y="715"/>
                  </a:lnTo>
                  <a:lnTo>
                    <a:pt x="33" y="686"/>
                  </a:lnTo>
                  <a:lnTo>
                    <a:pt x="42" y="657"/>
                  </a:lnTo>
                  <a:close/>
                  <a:moveTo>
                    <a:pt x="4311" y="2"/>
                  </a:moveTo>
                  <a:lnTo>
                    <a:pt x="4311" y="2"/>
                  </a:lnTo>
                  <a:lnTo>
                    <a:pt x="4544" y="657"/>
                  </a:lnTo>
                  <a:lnTo>
                    <a:pt x="4544" y="657"/>
                  </a:lnTo>
                  <a:lnTo>
                    <a:pt x="4553" y="685"/>
                  </a:lnTo>
                  <a:lnTo>
                    <a:pt x="4562" y="713"/>
                  </a:lnTo>
                  <a:lnTo>
                    <a:pt x="4569" y="740"/>
                  </a:lnTo>
                  <a:lnTo>
                    <a:pt x="4575" y="768"/>
                  </a:lnTo>
                  <a:lnTo>
                    <a:pt x="4579" y="795"/>
                  </a:lnTo>
                  <a:lnTo>
                    <a:pt x="4583" y="820"/>
                  </a:lnTo>
                  <a:lnTo>
                    <a:pt x="4586" y="846"/>
                  </a:lnTo>
                  <a:lnTo>
                    <a:pt x="4587" y="871"/>
                  </a:lnTo>
                  <a:lnTo>
                    <a:pt x="4587" y="895"/>
                  </a:lnTo>
                  <a:lnTo>
                    <a:pt x="4586" y="919"/>
                  </a:lnTo>
                  <a:lnTo>
                    <a:pt x="4584" y="942"/>
                  </a:lnTo>
                  <a:lnTo>
                    <a:pt x="4579" y="964"/>
                  </a:lnTo>
                  <a:lnTo>
                    <a:pt x="4575" y="987"/>
                  </a:lnTo>
                  <a:lnTo>
                    <a:pt x="4570" y="1009"/>
                  </a:lnTo>
                  <a:lnTo>
                    <a:pt x="4564" y="1030"/>
                  </a:lnTo>
                  <a:lnTo>
                    <a:pt x="4557" y="1052"/>
                  </a:lnTo>
                  <a:lnTo>
                    <a:pt x="4548" y="1072"/>
                  </a:lnTo>
                  <a:lnTo>
                    <a:pt x="4539" y="1093"/>
                  </a:lnTo>
                  <a:lnTo>
                    <a:pt x="4529" y="1112"/>
                  </a:lnTo>
                  <a:lnTo>
                    <a:pt x="4517" y="1132"/>
                  </a:lnTo>
                  <a:lnTo>
                    <a:pt x="4505" y="1151"/>
                  </a:lnTo>
                  <a:lnTo>
                    <a:pt x="4491" y="1170"/>
                  </a:lnTo>
                  <a:lnTo>
                    <a:pt x="4478" y="1187"/>
                  </a:lnTo>
                  <a:lnTo>
                    <a:pt x="4462" y="1205"/>
                  </a:lnTo>
                  <a:lnTo>
                    <a:pt x="4446" y="1223"/>
                  </a:lnTo>
                  <a:lnTo>
                    <a:pt x="4430" y="1241"/>
                  </a:lnTo>
                  <a:lnTo>
                    <a:pt x="4412" y="1257"/>
                  </a:lnTo>
                  <a:lnTo>
                    <a:pt x="4394" y="1273"/>
                  </a:lnTo>
                  <a:lnTo>
                    <a:pt x="4375" y="1290"/>
                  </a:lnTo>
                  <a:lnTo>
                    <a:pt x="4355" y="1305"/>
                  </a:lnTo>
                  <a:lnTo>
                    <a:pt x="4334" y="1321"/>
                  </a:lnTo>
                  <a:lnTo>
                    <a:pt x="4313" y="1336"/>
                  </a:lnTo>
                  <a:lnTo>
                    <a:pt x="4313" y="1336"/>
                  </a:lnTo>
                  <a:lnTo>
                    <a:pt x="4042" y="406"/>
                  </a:lnTo>
                  <a:lnTo>
                    <a:pt x="4042" y="406"/>
                  </a:lnTo>
                  <a:lnTo>
                    <a:pt x="4072" y="384"/>
                  </a:lnTo>
                  <a:lnTo>
                    <a:pt x="4100" y="361"/>
                  </a:lnTo>
                  <a:lnTo>
                    <a:pt x="4126" y="337"/>
                  </a:lnTo>
                  <a:lnTo>
                    <a:pt x="4151" y="313"/>
                  </a:lnTo>
                  <a:lnTo>
                    <a:pt x="4174" y="289"/>
                  </a:lnTo>
                  <a:lnTo>
                    <a:pt x="4196" y="264"/>
                  </a:lnTo>
                  <a:lnTo>
                    <a:pt x="4216" y="239"/>
                  </a:lnTo>
                  <a:lnTo>
                    <a:pt x="4233" y="214"/>
                  </a:lnTo>
                  <a:lnTo>
                    <a:pt x="4250" y="189"/>
                  </a:lnTo>
                  <a:lnTo>
                    <a:pt x="4264" y="163"/>
                  </a:lnTo>
                  <a:lnTo>
                    <a:pt x="4277" y="137"/>
                  </a:lnTo>
                  <a:lnTo>
                    <a:pt x="4287" y="110"/>
                  </a:lnTo>
                  <a:lnTo>
                    <a:pt x="4297" y="83"/>
                  </a:lnTo>
                  <a:lnTo>
                    <a:pt x="4303" y="57"/>
                  </a:lnTo>
                  <a:lnTo>
                    <a:pt x="4308" y="29"/>
                  </a:lnTo>
                  <a:lnTo>
                    <a:pt x="4311" y="2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8" name="Freeform 55"/>
            <p:cNvSpPr>
              <a:spLocks/>
            </p:cNvSpPr>
            <p:nvPr/>
          </p:nvSpPr>
          <p:spPr bwMode="auto">
            <a:xfrm flipH="1">
              <a:off x="7028180" y="2775767"/>
              <a:ext cx="446371" cy="175429"/>
            </a:xfrm>
            <a:custGeom>
              <a:avLst/>
              <a:gdLst>
                <a:gd name="T0" fmla="*/ 0 w 2422"/>
                <a:gd name="T1" fmla="*/ 932 h 1230"/>
                <a:gd name="T2" fmla="*/ 82 w 2422"/>
                <a:gd name="T3" fmla="*/ 964 h 1230"/>
                <a:gd name="T4" fmla="*/ 256 w 2422"/>
                <a:gd name="T5" fmla="*/ 1024 h 1230"/>
                <a:gd name="T6" fmla="*/ 348 w 2422"/>
                <a:gd name="T7" fmla="*/ 1052 h 1230"/>
                <a:gd name="T8" fmla="*/ 467 w 2422"/>
                <a:gd name="T9" fmla="*/ 1087 h 1230"/>
                <a:gd name="T10" fmla="*/ 587 w 2422"/>
                <a:gd name="T11" fmla="*/ 1116 h 1230"/>
                <a:gd name="T12" fmla="*/ 706 w 2422"/>
                <a:gd name="T13" fmla="*/ 1141 h 1230"/>
                <a:gd name="T14" fmla="*/ 824 w 2422"/>
                <a:gd name="T15" fmla="*/ 1163 h 1230"/>
                <a:gd name="T16" fmla="*/ 938 w 2422"/>
                <a:gd name="T17" fmla="*/ 1180 h 1230"/>
                <a:gd name="T18" fmla="*/ 1048 w 2422"/>
                <a:gd name="T19" fmla="*/ 1194 h 1230"/>
                <a:gd name="T20" fmla="*/ 1251 w 2422"/>
                <a:gd name="T21" fmla="*/ 1214 h 1230"/>
                <a:gd name="T22" fmla="*/ 1426 w 2422"/>
                <a:gd name="T23" fmla="*/ 1225 h 1230"/>
                <a:gd name="T24" fmla="*/ 1561 w 2422"/>
                <a:gd name="T25" fmla="*/ 1229 h 1230"/>
                <a:gd name="T26" fmla="*/ 1679 w 2422"/>
                <a:gd name="T27" fmla="*/ 1229 h 1230"/>
                <a:gd name="T28" fmla="*/ 1738 w 2422"/>
                <a:gd name="T29" fmla="*/ 1230 h 1230"/>
                <a:gd name="T30" fmla="*/ 1896 w 2422"/>
                <a:gd name="T31" fmla="*/ 1226 h 1230"/>
                <a:gd name="T32" fmla="*/ 2067 w 2422"/>
                <a:gd name="T33" fmla="*/ 1217 h 1230"/>
                <a:gd name="T34" fmla="*/ 2200 w 2422"/>
                <a:gd name="T35" fmla="*/ 1207 h 1230"/>
                <a:gd name="T36" fmla="*/ 2346 w 2422"/>
                <a:gd name="T37" fmla="*/ 1190 h 1230"/>
                <a:gd name="T38" fmla="*/ 2422 w 2422"/>
                <a:gd name="T39" fmla="*/ 1179 h 1230"/>
                <a:gd name="T40" fmla="*/ 2327 w 2422"/>
                <a:gd name="T41" fmla="*/ 216 h 1230"/>
                <a:gd name="T42" fmla="*/ 2172 w 2422"/>
                <a:gd name="T43" fmla="*/ 235 h 1230"/>
                <a:gd name="T44" fmla="*/ 2012 w 2422"/>
                <a:gd name="T45" fmla="*/ 250 h 1230"/>
                <a:gd name="T46" fmla="*/ 1848 w 2422"/>
                <a:gd name="T47" fmla="*/ 258 h 1230"/>
                <a:gd name="T48" fmla="*/ 1679 w 2422"/>
                <a:gd name="T49" fmla="*/ 261 h 1230"/>
                <a:gd name="T50" fmla="*/ 1573 w 2422"/>
                <a:gd name="T51" fmla="*/ 260 h 1230"/>
                <a:gd name="T52" fmla="*/ 1367 w 2422"/>
                <a:gd name="T53" fmla="*/ 251 h 1230"/>
                <a:gd name="T54" fmla="*/ 1167 w 2422"/>
                <a:gd name="T55" fmla="*/ 233 h 1230"/>
                <a:gd name="T56" fmla="*/ 974 w 2422"/>
                <a:gd name="T57" fmla="*/ 207 h 1230"/>
                <a:gd name="T58" fmla="*/ 791 w 2422"/>
                <a:gd name="T59" fmla="*/ 173 h 1230"/>
                <a:gd name="T60" fmla="*/ 618 w 2422"/>
                <a:gd name="T61" fmla="*/ 132 h 1230"/>
                <a:gd name="T62" fmla="*/ 455 w 2422"/>
                <a:gd name="T63" fmla="*/ 83 h 1230"/>
                <a:gd name="T64" fmla="*/ 341 w 2422"/>
                <a:gd name="T65" fmla="*/ 44 h 1230"/>
                <a:gd name="T66" fmla="*/ 269 w 2422"/>
                <a:gd name="T67" fmla="*/ 15 h 1230"/>
                <a:gd name="T68" fmla="*/ 234 w 2422"/>
                <a:gd name="T69" fmla="*/ 0 h 1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22" h="1230">
                  <a:moveTo>
                    <a:pt x="1" y="932"/>
                  </a:moveTo>
                  <a:lnTo>
                    <a:pt x="0" y="932"/>
                  </a:lnTo>
                  <a:lnTo>
                    <a:pt x="0" y="932"/>
                  </a:lnTo>
                  <a:lnTo>
                    <a:pt x="82" y="964"/>
                  </a:lnTo>
                  <a:lnTo>
                    <a:pt x="168" y="995"/>
                  </a:lnTo>
                  <a:lnTo>
                    <a:pt x="256" y="1024"/>
                  </a:lnTo>
                  <a:lnTo>
                    <a:pt x="348" y="1052"/>
                  </a:lnTo>
                  <a:lnTo>
                    <a:pt x="348" y="1052"/>
                  </a:lnTo>
                  <a:lnTo>
                    <a:pt x="407" y="1070"/>
                  </a:lnTo>
                  <a:lnTo>
                    <a:pt x="467" y="1087"/>
                  </a:lnTo>
                  <a:lnTo>
                    <a:pt x="526" y="1102"/>
                  </a:lnTo>
                  <a:lnTo>
                    <a:pt x="587" y="1116"/>
                  </a:lnTo>
                  <a:lnTo>
                    <a:pt x="647" y="1129"/>
                  </a:lnTo>
                  <a:lnTo>
                    <a:pt x="706" y="1141"/>
                  </a:lnTo>
                  <a:lnTo>
                    <a:pt x="764" y="1152"/>
                  </a:lnTo>
                  <a:lnTo>
                    <a:pt x="824" y="1163"/>
                  </a:lnTo>
                  <a:lnTo>
                    <a:pt x="881" y="1172"/>
                  </a:lnTo>
                  <a:lnTo>
                    <a:pt x="938" y="1180"/>
                  </a:lnTo>
                  <a:lnTo>
                    <a:pt x="993" y="1188"/>
                  </a:lnTo>
                  <a:lnTo>
                    <a:pt x="1048" y="1194"/>
                  </a:lnTo>
                  <a:lnTo>
                    <a:pt x="1152" y="1205"/>
                  </a:lnTo>
                  <a:lnTo>
                    <a:pt x="1251" y="1214"/>
                  </a:lnTo>
                  <a:lnTo>
                    <a:pt x="1342" y="1221"/>
                  </a:lnTo>
                  <a:lnTo>
                    <a:pt x="1426" y="1225"/>
                  </a:lnTo>
                  <a:lnTo>
                    <a:pt x="1498" y="1228"/>
                  </a:lnTo>
                  <a:lnTo>
                    <a:pt x="1561" y="1229"/>
                  </a:lnTo>
                  <a:lnTo>
                    <a:pt x="1648" y="1230"/>
                  </a:lnTo>
                  <a:lnTo>
                    <a:pt x="1679" y="1229"/>
                  </a:lnTo>
                  <a:lnTo>
                    <a:pt x="1679" y="1229"/>
                  </a:lnTo>
                  <a:lnTo>
                    <a:pt x="1738" y="1230"/>
                  </a:lnTo>
                  <a:lnTo>
                    <a:pt x="1805" y="1229"/>
                  </a:lnTo>
                  <a:lnTo>
                    <a:pt x="1896" y="1226"/>
                  </a:lnTo>
                  <a:lnTo>
                    <a:pt x="2006" y="1221"/>
                  </a:lnTo>
                  <a:lnTo>
                    <a:pt x="2067" y="1217"/>
                  </a:lnTo>
                  <a:lnTo>
                    <a:pt x="2132" y="1213"/>
                  </a:lnTo>
                  <a:lnTo>
                    <a:pt x="2200" y="1207"/>
                  </a:lnTo>
                  <a:lnTo>
                    <a:pt x="2271" y="1199"/>
                  </a:lnTo>
                  <a:lnTo>
                    <a:pt x="2346" y="1190"/>
                  </a:lnTo>
                  <a:lnTo>
                    <a:pt x="2422" y="1179"/>
                  </a:lnTo>
                  <a:lnTo>
                    <a:pt x="2422" y="1179"/>
                  </a:lnTo>
                  <a:lnTo>
                    <a:pt x="2327" y="216"/>
                  </a:lnTo>
                  <a:lnTo>
                    <a:pt x="2327" y="216"/>
                  </a:lnTo>
                  <a:lnTo>
                    <a:pt x="2250" y="226"/>
                  </a:lnTo>
                  <a:lnTo>
                    <a:pt x="2172" y="235"/>
                  </a:lnTo>
                  <a:lnTo>
                    <a:pt x="2092" y="243"/>
                  </a:lnTo>
                  <a:lnTo>
                    <a:pt x="2012" y="250"/>
                  </a:lnTo>
                  <a:lnTo>
                    <a:pt x="1930" y="254"/>
                  </a:lnTo>
                  <a:lnTo>
                    <a:pt x="1848" y="258"/>
                  </a:lnTo>
                  <a:lnTo>
                    <a:pt x="1764" y="260"/>
                  </a:lnTo>
                  <a:lnTo>
                    <a:pt x="1679" y="261"/>
                  </a:lnTo>
                  <a:lnTo>
                    <a:pt x="1679" y="261"/>
                  </a:lnTo>
                  <a:lnTo>
                    <a:pt x="1573" y="260"/>
                  </a:lnTo>
                  <a:lnTo>
                    <a:pt x="1469" y="256"/>
                  </a:lnTo>
                  <a:lnTo>
                    <a:pt x="1367" y="251"/>
                  </a:lnTo>
                  <a:lnTo>
                    <a:pt x="1266" y="243"/>
                  </a:lnTo>
                  <a:lnTo>
                    <a:pt x="1167" y="233"/>
                  </a:lnTo>
                  <a:lnTo>
                    <a:pt x="1070" y="221"/>
                  </a:lnTo>
                  <a:lnTo>
                    <a:pt x="974" y="207"/>
                  </a:lnTo>
                  <a:lnTo>
                    <a:pt x="882" y="191"/>
                  </a:lnTo>
                  <a:lnTo>
                    <a:pt x="791" y="173"/>
                  </a:lnTo>
                  <a:lnTo>
                    <a:pt x="703" y="153"/>
                  </a:lnTo>
                  <a:lnTo>
                    <a:pt x="618" y="132"/>
                  </a:lnTo>
                  <a:lnTo>
                    <a:pt x="535" y="108"/>
                  </a:lnTo>
                  <a:lnTo>
                    <a:pt x="455" y="83"/>
                  </a:lnTo>
                  <a:lnTo>
                    <a:pt x="378" y="57"/>
                  </a:lnTo>
                  <a:lnTo>
                    <a:pt x="341" y="44"/>
                  </a:lnTo>
                  <a:lnTo>
                    <a:pt x="305" y="29"/>
                  </a:lnTo>
                  <a:lnTo>
                    <a:pt x="269" y="15"/>
                  </a:lnTo>
                  <a:lnTo>
                    <a:pt x="234" y="0"/>
                  </a:lnTo>
                  <a:lnTo>
                    <a:pt x="234" y="0"/>
                  </a:lnTo>
                  <a:lnTo>
                    <a:pt x="1" y="93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09" name="Freeform 56"/>
            <p:cNvSpPr>
              <a:spLocks/>
            </p:cNvSpPr>
            <p:nvPr/>
          </p:nvSpPr>
          <p:spPr bwMode="auto">
            <a:xfrm flipH="1">
              <a:off x="7478420" y="2691922"/>
              <a:ext cx="109658" cy="193488"/>
            </a:xfrm>
            <a:custGeom>
              <a:avLst/>
              <a:gdLst>
                <a:gd name="T0" fmla="*/ 42 w 597"/>
                <a:gd name="T1" fmla="*/ 657 h 1351"/>
                <a:gd name="T2" fmla="*/ 42 w 597"/>
                <a:gd name="T3" fmla="*/ 657 h 1351"/>
                <a:gd name="T4" fmla="*/ 274 w 597"/>
                <a:gd name="T5" fmla="*/ 0 h 1351"/>
                <a:gd name="T6" fmla="*/ 274 w 597"/>
                <a:gd name="T7" fmla="*/ 0 h 1351"/>
                <a:gd name="T8" fmla="*/ 278 w 597"/>
                <a:gd name="T9" fmla="*/ 30 h 1351"/>
                <a:gd name="T10" fmla="*/ 284 w 597"/>
                <a:gd name="T11" fmla="*/ 60 h 1351"/>
                <a:gd name="T12" fmla="*/ 292 w 597"/>
                <a:gd name="T13" fmla="*/ 90 h 1351"/>
                <a:gd name="T14" fmla="*/ 302 w 597"/>
                <a:gd name="T15" fmla="*/ 119 h 1351"/>
                <a:gd name="T16" fmla="*/ 316 w 597"/>
                <a:gd name="T17" fmla="*/ 150 h 1351"/>
                <a:gd name="T18" fmla="*/ 330 w 597"/>
                <a:gd name="T19" fmla="*/ 178 h 1351"/>
                <a:gd name="T20" fmla="*/ 348 w 597"/>
                <a:gd name="T21" fmla="*/ 207 h 1351"/>
                <a:gd name="T22" fmla="*/ 368 w 597"/>
                <a:gd name="T23" fmla="*/ 235 h 1351"/>
                <a:gd name="T24" fmla="*/ 389 w 597"/>
                <a:gd name="T25" fmla="*/ 262 h 1351"/>
                <a:gd name="T26" fmla="*/ 413 w 597"/>
                <a:gd name="T27" fmla="*/ 289 h 1351"/>
                <a:gd name="T28" fmla="*/ 439 w 597"/>
                <a:gd name="T29" fmla="*/ 316 h 1351"/>
                <a:gd name="T30" fmla="*/ 467 w 597"/>
                <a:gd name="T31" fmla="*/ 342 h 1351"/>
                <a:gd name="T32" fmla="*/ 496 w 597"/>
                <a:gd name="T33" fmla="*/ 368 h 1351"/>
                <a:gd name="T34" fmla="*/ 528 w 597"/>
                <a:gd name="T35" fmla="*/ 395 h 1351"/>
                <a:gd name="T36" fmla="*/ 561 w 597"/>
                <a:gd name="T37" fmla="*/ 418 h 1351"/>
                <a:gd name="T38" fmla="*/ 597 w 597"/>
                <a:gd name="T39" fmla="*/ 443 h 1351"/>
                <a:gd name="T40" fmla="*/ 597 w 597"/>
                <a:gd name="T41" fmla="*/ 443 h 1351"/>
                <a:gd name="T42" fmla="*/ 296 w 597"/>
                <a:gd name="T43" fmla="*/ 1351 h 1351"/>
                <a:gd name="T44" fmla="*/ 296 w 597"/>
                <a:gd name="T45" fmla="*/ 1351 h 1351"/>
                <a:gd name="T46" fmla="*/ 273 w 597"/>
                <a:gd name="T47" fmla="*/ 1336 h 1351"/>
                <a:gd name="T48" fmla="*/ 251 w 597"/>
                <a:gd name="T49" fmla="*/ 1321 h 1351"/>
                <a:gd name="T50" fmla="*/ 231 w 597"/>
                <a:gd name="T51" fmla="*/ 1304 h 1351"/>
                <a:gd name="T52" fmla="*/ 210 w 597"/>
                <a:gd name="T53" fmla="*/ 1287 h 1351"/>
                <a:gd name="T54" fmla="*/ 190 w 597"/>
                <a:gd name="T55" fmla="*/ 1271 h 1351"/>
                <a:gd name="T56" fmla="*/ 171 w 597"/>
                <a:gd name="T57" fmla="*/ 1254 h 1351"/>
                <a:gd name="T58" fmla="*/ 154 w 597"/>
                <a:gd name="T59" fmla="*/ 1236 h 1351"/>
                <a:gd name="T60" fmla="*/ 136 w 597"/>
                <a:gd name="T61" fmla="*/ 1219 h 1351"/>
                <a:gd name="T62" fmla="*/ 120 w 597"/>
                <a:gd name="T63" fmla="*/ 1201 h 1351"/>
                <a:gd name="T64" fmla="*/ 105 w 597"/>
                <a:gd name="T65" fmla="*/ 1182 h 1351"/>
                <a:gd name="T66" fmla="*/ 91 w 597"/>
                <a:gd name="T67" fmla="*/ 1163 h 1351"/>
                <a:gd name="T68" fmla="*/ 78 w 597"/>
                <a:gd name="T69" fmla="*/ 1144 h 1351"/>
                <a:gd name="T70" fmla="*/ 65 w 597"/>
                <a:gd name="T71" fmla="*/ 1124 h 1351"/>
                <a:gd name="T72" fmla="*/ 54 w 597"/>
                <a:gd name="T73" fmla="*/ 1104 h 1351"/>
                <a:gd name="T74" fmla="*/ 44 w 597"/>
                <a:gd name="T75" fmla="*/ 1083 h 1351"/>
                <a:gd name="T76" fmla="*/ 34 w 597"/>
                <a:gd name="T77" fmla="*/ 1062 h 1351"/>
                <a:gd name="T78" fmla="*/ 26 w 597"/>
                <a:gd name="T79" fmla="*/ 1041 h 1351"/>
                <a:gd name="T80" fmla="*/ 19 w 597"/>
                <a:gd name="T81" fmla="*/ 1019 h 1351"/>
                <a:gd name="T82" fmla="*/ 13 w 597"/>
                <a:gd name="T83" fmla="*/ 997 h 1351"/>
                <a:gd name="T84" fmla="*/ 8 w 597"/>
                <a:gd name="T85" fmla="*/ 974 h 1351"/>
                <a:gd name="T86" fmla="*/ 4 w 597"/>
                <a:gd name="T87" fmla="*/ 950 h 1351"/>
                <a:gd name="T88" fmla="*/ 2 w 597"/>
                <a:gd name="T89" fmla="*/ 926 h 1351"/>
                <a:gd name="T90" fmla="*/ 0 w 597"/>
                <a:gd name="T91" fmla="*/ 902 h 1351"/>
                <a:gd name="T92" fmla="*/ 0 w 597"/>
                <a:gd name="T93" fmla="*/ 877 h 1351"/>
                <a:gd name="T94" fmla="*/ 1 w 597"/>
                <a:gd name="T95" fmla="*/ 851 h 1351"/>
                <a:gd name="T96" fmla="*/ 3 w 597"/>
                <a:gd name="T97" fmla="*/ 825 h 1351"/>
                <a:gd name="T98" fmla="*/ 6 w 597"/>
                <a:gd name="T99" fmla="*/ 799 h 1351"/>
                <a:gd name="T100" fmla="*/ 11 w 597"/>
                <a:gd name="T101" fmla="*/ 772 h 1351"/>
                <a:gd name="T102" fmla="*/ 17 w 597"/>
                <a:gd name="T103" fmla="*/ 744 h 1351"/>
                <a:gd name="T104" fmla="*/ 24 w 597"/>
                <a:gd name="T105" fmla="*/ 715 h 1351"/>
                <a:gd name="T106" fmla="*/ 33 w 597"/>
                <a:gd name="T107" fmla="*/ 686 h 1351"/>
                <a:gd name="T108" fmla="*/ 42 w 597"/>
                <a:gd name="T109" fmla="*/ 657 h 1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97" h="1351">
                  <a:moveTo>
                    <a:pt x="42" y="657"/>
                  </a:moveTo>
                  <a:lnTo>
                    <a:pt x="42" y="657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8" y="30"/>
                  </a:lnTo>
                  <a:lnTo>
                    <a:pt x="284" y="60"/>
                  </a:lnTo>
                  <a:lnTo>
                    <a:pt x="292" y="90"/>
                  </a:lnTo>
                  <a:lnTo>
                    <a:pt x="302" y="119"/>
                  </a:lnTo>
                  <a:lnTo>
                    <a:pt x="316" y="150"/>
                  </a:lnTo>
                  <a:lnTo>
                    <a:pt x="330" y="178"/>
                  </a:lnTo>
                  <a:lnTo>
                    <a:pt x="348" y="207"/>
                  </a:lnTo>
                  <a:lnTo>
                    <a:pt x="368" y="235"/>
                  </a:lnTo>
                  <a:lnTo>
                    <a:pt x="389" y="262"/>
                  </a:lnTo>
                  <a:lnTo>
                    <a:pt x="413" y="289"/>
                  </a:lnTo>
                  <a:lnTo>
                    <a:pt x="439" y="316"/>
                  </a:lnTo>
                  <a:lnTo>
                    <a:pt x="467" y="342"/>
                  </a:lnTo>
                  <a:lnTo>
                    <a:pt x="496" y="368"/>
                  </a:lnTo>
                  <a:lnTo>
                    <a:pt x="528" y="395"/>
                  </a:lnTo>
                  <a:lnTo>
                    <a:pt x="561" y="418"/>
                  </a:lnTo>
                  <a:lnTo>
                    <a:pt x="597" y="443"/>
                  </a:lnTo>
                  <a:lnTo>
                    <a:pt x="597" y="443"/>
                  </a:lnTo>
                  <a:lnTo>
                    <a:pt x="296" y="1351"/>
                  </a:lnTo>
                  <a:lnTo>
                    <a:pt x="296" y="1351"/>
                  </a:lnTo>
                  <a:lnTo>
                    <a:pt x="273" y="1336"/>
                  </a:lnTo>
                  <a:lnTo>
                    <a:pt x="251" y="1321"/>
                  </a:lnTo>
                  <a:lnTo>
                    <a:pt x="231" y="1304"/>
                  </a:lnTo>
                  <a:lnTo>
                    <a:pt x="210" y="1287"/>
                  </a:lnTo>
                  <a:lnTo>
                    <a:pt x="190" y="1271"/>
                  </a:lnTo>
                  <a:lnTo>
                    <a:pt x="171" y="1254"/>
                  </a:lnTo>
                  <a:lnTo>
                    <a:pt x="154" y="1236"/>
                  </a:lnTo>
                  <a:lnTo>
                    <a:pt x="136" y="1219"/>
                  </a:lnTo>
                  <a:lnTo>
                    <a:pt x="120" y="1201"/>
                  </a:lnTo>
                  <a:lnTo>
                    <a:pt x="105" y="1182"/>
                  </a:lnTo>
                  <a:lnTo>
                    <a:pt x="91" y="1163"/>
                  </a:lnTo>
                  <a:lnTo>
                    <a:pt x="78" y="1144"/>
                  </a:lnTo>
                  <a:lnTo>
                    <a:pt x="65" y="1124"/>
                  </a:lnTo>
                  <a:lnTo>
                    <a:pt x="54" y="1104"/>
                  </a:lnTo>
                  <a:lnTo>
                    <a:pt x="44" y="1083"/>
                  </a:lnTo>
                  <a:lnTo>
                    <a:pt x="34" y="1062"/>
                  </a:lnTo>
                  <a:lnTo>
                    <a:pt x="26" y="1041"/>
                  </a:lnTo>
                  <a:lnTo>
                    <a:pt x="19" y="1019"/>
                  </a:lnTo>
                  <a:lnTo>
                    <a:pt x="13" y="997"/>
                  </a:lnTo>
                  <a:lnTo>
                    <a:pt x="8" y="974"/>
                  </a:lnTo>
                  <a:lnTo>
                    <a:pt x="4" y="950"/>
                  </a:lnTo>
                  <a:lnTo>
                    <a:pt x="2" y="926"/>
                  </a:lnTo>
                  <a:lnTo>
                    <a:pt x="0" y="902"/>
                  </a:lnTo>
                  <a:lnTo>
                    <a:pt x="0" y="877"/>
                  </a:lnTo>
                  <a:lnTo>
                    <a:pt x="1" y="851"/>
                  </a:lnTo>
                  <a:lnTo>
                    <a:pt x="3" y="825"/>
                  </a:lnTo>
                  <a:lnTo>
                    <a:pt x="6" y="799"/>
                  </a:lnTo>
                  <a:lnTo>
                    <a:pt x="11" y="772"/>
                  </a:lnTo>
                  <a:lnTo>
                    <a:pt x="17" y="744"/>
                  </a:lnTo>
                  <a:lnTo>
                    <a:pt x="24" y="715"/>
                  </a:lnTo>
                  <a:lnTo>
                    <a:pt x="33" y="686"/>
                  </a:lnTo>
                  <a:lnTo>
                    <a:pt x="42" y="65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0" name="Freeform 57"/>
            <p:cNvSpPr>
              <a:spLocks/>
            </p:cNvSpPr>
            <p:nvPr/>
          </p:nvSpPr>
          <p:spPr bwMode="auto">
            <a:xfrm flipH="1">
              <a:off x="6743069" y="2693212"/>
              <a:ext cx="100627" cy="190908"/>
            </a:xfrm>
            <a:custGeom>
              <a:avLst/>
              <a:gdLst>
                <a:gd name="T0" fmla="*/ 269 w 545"/>
                <a:gd name="T1" fmla="*/ 0 h 1334"/>
                <a:gd name="T2" fmla="*/ 269 w 545"/>
                <a:gd name="T3" fmla="*/ 0 h 1334"/>
                <a:gd name="T4" fmla="*/ 502 w 545"/>
                <a:gd name="T5" fmla="*/ 655 h 1334"/>
                <a:gd name="T6" fmla="*/ 502 w 545"/>
                <a:gd name="T7" fmla="*/ 655 h 1334"/>
                <a:gd name="T8" fmla="*/ 511 w 545"/>
                <a:gd name="T9" fmla="*/ 683 h 1334"/>
                <a:gd name="T10" fmla="*/ 520 w 545"/>
                <a:gd name="T11" fmla="*/ 711 h 1334"/>
                <a:gd name="T12" fmla="*/ 527 w 545"/>
                <a:gd name="T13" fmla="*/ 738 h 1334"/>
                <a:gd name="T14" fmla="*/ 533 w 545"/>
                <a:gd name="T15" fmla="*/ 766 h 1334"/>
                <a:gd name="T16" fmla="*/ 537 w 545"/>
                <a:gd name="T17" fmla="*/ 793 h 1334"/>
                <a:gd name="T18" fmla="*/ 541 w 545"/>
                <a:gd name="T19" fmla="*/ 818 h 1334"/>
                <a:gd name="T20" fmla="*/ 544 w 545"/>
                <a:gd name="T21" fmla="*/ 844 h 1334"/>
                <a:gd name="T22" fmla="*/ 545 w 545"/>
                <a:gd name="T23" fmla="*/ 869 h 1334"/>
                <a:gd name="T24" fmla="*/ 545 w 545"/>
                <a:gd name="T25" fmla="*/ 893 h 1334"/>
                <a:gd name="T26" fmla="*/ 544 w 545"/>
                <a:gd name="T27" fmla="*/ 917 h 1334"/>
                <a:gd name="T28" fmla="*/ 542 w 545"/>
                <a:gd name="T29" fmla="*/ 940 h 1334"/>
                <a:gd name="T30" fmla="*/ 537 w 545"/>
                <a:gd name="T31" fmla="*/ 962 h 1334"/>
                <a:gd name="T32" fmla="*/ 533 w 545"/>
                <a:gd name="T33" fmla="*/ 985 h 1334"/>
                <a:gd name="T34" fmla="*/ 528 w 545"/>
                <a:gd name="T35" fmla="*/ 1007 h 1334"/>
                <a:gd name="T36" fmla="*/ 522 w 545"/>
                <a:gd name="T37" fmla="*/ 1028 h 1334"/>
                <a:gd name="T38" fmla="*/ 515 w 545"/>
                <a:gd name="T39" fmla="*/ 1050 h 1334"/>
                <a:gd name="T40" fmla="*/ 506 w 545"/>
                <a:gd name="T41" fmla="*/ 1070 h 1334"/>
                <a:gd name="T42" fmla="*/ 497 w 545"/>
                <a:gd name="T43" fmla="*/ 1091 h 1334"/>
                <a:gd name="T44" fmla="*/ 487 w 545"/>
                <a:gd name="T45" fmla="*/ 1110 h 1334"/>
                <a:gd name="T46" fmla="*/ 475 w 545"/>
                <a:gd name="T47" fmla="*/ 1130 h 1334"/>
                <a:gd name="T48" fmla="*/ 463 w 545"/>
                <a:gd name="T49" fmla="*/ 1149 h 1334"/>
                <a:gd name="T50" fmla="*/ 449 w 545"/>
                <a:gd name="T51" fmla="*/ 1168 h 1334"/>
                <a:gd name="T52" fmla="*/ 436 w 545"/>
                <a:gd name="T53" fmla="*/ 1185 h 1334"/>
                <a:gd name="T54" fmla="*/ 420 w 545"/>
                <a:gd name="T55" fmla="*/ 1203 h 1334"/>
                <a:gd name="T56" fmla="*/ 404 w 545"/>
                <a:gd name="T57" fmla="*/ 1221 h 1334"/>
                <a:gd name="T58" fmla="*/ 388 w 545"/>
                <a:gd name="T59" fmla="*/ 1239 h 1334"/>
                <a:gd name="T60" fmla="*/ 370 w 545"/>
                <a:gd name="T61" fmla="*/ 1255 h 1334"/>
                <a:gd name="T62" fmla="*/ 352 w 545"/>
                <a:gd name="T63" fmla="*/ 1271 h 1334"/>
                <a:gd name="T64" fmla="*/ 333 w 545"/>
                <a:gd name="T65" fmla="*/ 1288 h 1334"/>
                <a:gd name="T66" fmla="*/ 313 w 545"/>
                <a:gd name="T67" fmla="*/ 1303 h 1334"/>
                <a:gd name="T68" fmla="*/ 292 w 545"/>
                <a:gd name="T69" fmla="*/ 1319 h 1334"/>
                <a:gd name="T70" fmla="*/ 271 w 545"/>
                <a:gd name="T71" fmla="*/ 1334 h 1334"/>
                <a:gd name="T72" fmla="*/ 271 w 545"/>
                <a:gd name="T73" fmla="*/ 1334 h 1334"/>
                <a:gd name="T74" fmla="*/ 0 w 545"/>
                <a:gd name="T75" fmla="*/ 404 h 1334"/>
                <a:gd name="T76" fmla="*/ 0 w 545"/>
                <a:gd name="T77" fmla="*/ 404 h 1334"/>
                <a:gd name="T78" fmla="*/ 30 w 545"/>
                <a:gd name="T79" fmla="*/ 382 h 1334"/>
                <a:gd name="T80" fmla="*/ 58 w 545"/>
                <a:gd name="T81" fmla="*/ 359 h 1334"/>
                <a:gd name="T82" fmla="*/ 84 w 545"/>
                <a:gd name="T83" fmla="*/ 335 h 1334"/>
                <a:gd name="T84" fmla="*/ 109 w 545"/>
                <a:gd name="T85" fmla="*/ 311 h 1334"/>
                <a:gd name="T86" fmla="*/ 132 w 545"/>
                <a:gd name="T87" fmla="*/ 287 h 1334"/>
                <a:gd name="T88" fmla="*/ 154 w 545"/>
                <a:gd name="T89" fmla="*/ 262 h 1334"/>
                <a:gd name="T90" fmla="*/ 174 w 545"/>
                <a:gd name="T91" fmla="*/ 237 h 1334"/>
                <a:gd name="T92" fmla="*/ 191 w 545"/>
                <a:gd name="T93" fmla="*/ 212 h 1334"/>
                <a:gd name="T94" fmla="*/ 208 w 545"/>
                <a:gd name="T95" fmla="*/ 187 h 1334"/>
                <a:gd name="T96" fmla="*/ 222 w 545"/>
                <a:gd name="T97" fmla="*/ 161 h 1334"/>
                <a:gd name="T98" fmla="*/ 235 w 545"/>
                <a:gd name="T99" fmla="*/ 135 h 1334"/>
                <a:gd name="T100" fmla="*/ 245 w 545"/>
                <a:gd name="T101" fmla="*/ 108 h 1334"/>
                <a:gd name="T102" fmla="*/ 255 w 545"/>
                <a:gd name="T103" fmla="*/ 81 h 1334"/>
                <a:gd name="T104" fmla="*/ 261 w 545"/>
                <a:gd name="T105" fmla="*/ 55 h 1334"/>
                <a:gd name="T106" fmla="*/ 266 w 545"/>
                <a:gd name="T107" fmla="*/ 27 h 1334"/>
                <a:gd name="T108" fmla="*/ 269 w 545"/>
                <a:gd name="T109" fmla="*/ 0 h 1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45" h="1334">
                  <a:moveTo>
                    <a:pt x="269" y="0"/>
                  </a:moveTo>
                  <a:lnTo>
                    <a:pt x="269" y="0"/>
                  </a:lnTo>
                  <a:lnTo>
                    <a:pt x="502" y="655"/>
                  </a:lnTo>
                  <a:lnTo>
                    <a:pt x="502" y="655"/>
                  </a:lnTo>
                  <a:lnTo>
                    <a:pt x="511" y="683"/>
                  </a:lnTo>
                  <a:lnTo>
                    <a:pt x="520" y="711"/>
                  </a:lnTo>
                  <a:lnTo>
                    <a:pt x="527" y="738"/>
                  </a:lnTo>
                  <a:lnTo>
                    <a:pt x="533" y="766"/>
                  </a:lnTo>
                  <a:lnTo>
                    <a:pt x="537" y="793"/>
                  </a:lnTo>
                  <a:lnTo>
                    <a:pt x="541" y="818"/>
                  </a:lnTo>
                  <a:lnTo>
                    <a:pt x="544" y="844"/>
                  </a:lnTo>
                  <a:lnTo>
                    <a:pt x="545" y="869"/>
                  </a:lnTo>
                  <a:lnTo>
                    <a:pt x="545" y="893"/>
                  </a:lnTo>
                  <a:lnTo>
                    <a:pt x="544" y="917"/>
                  </a:lnTo>
                  <a:lnTo>
                    <a:pt x="542" y="940"/>
                  </a:lnTo>
                  <a:lnTo>
                    <a:pt x="537" y="962"/>
                  </a:lnTo>
                  <a:lnTo>
                    <a:pt x="533" y="985"/>
                  </a:lnTo>
                  <a:lnTo>
                    <a:pt x="528" y="1007"/>
                  </a:lnTo>
                  <a:lnTo>
                    <a:pt x="522" y="1028"/>
                  </a:lnTo>
                  <a:lnTo>
                    <a:pt x="515" y="1050"/>
                  </a:lnTo>
                  <a:lnTo>
                    <a:pt x="506" y="1070"/>
                  </a:lnTo>
                  <a:lnTo>
                    <a:pt x="497" y="1091"/>
                  </a:lnTo>
                  <a:lnTo>
                    <a:pt x="487" y="1110"/>
                  </a:lnTo>
                  <a:lnTo>
                    <a:pt x="475" y="1130"/>
                  </a:lnTo>
                  <a:lnTo>
                    <a:pt x="463" y="1149"/>
                  </a:lnTo>
                  <a:lnTo>
                    <a:pt x="449" y="1168"/>
                  </a:lnTo>
                  <a:lnTo>
                    <a:pt x="436" y="1185"/>
                  </a:lnTo>
                  <a:lnTo>
                    <a:pt x="420" y="1203"/>
                  </a:lnTo>
                  <a:lnTo>
                    <a:pt x="404" y="1221"/>
                  </a:lnTo>
                  <a:lnTo>
                    <a:pt x="388" y="1239"/>
                  </a:lnTo>
                  <a:lnTo>
                    <a:pt x="370" y="1255"/>
                  </a:lnTo>
                  <a:lnTo>
                    <a:pt x="352" y="1271"/>
                  </a:lnTo>
                  <a:lnTo>
                    <a:pt x="333" y="1288"/>
                  </a:lnTo>
                  <a:lnTo>
                    <a:pt x="313" y="1303"/>
                  </a:lnTo>
                  <a:lnTo>
                    <a:pt x="292" y="1319"/>
                  </a:lnTo>
                  <a:lnTo>
                    <a:pt x="271" y="1334"/>
                  </a:lnTo>
                  <a:lnTo>
                    <a:pt x="271" y="1334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30" y="382"/>
                  </a:lnTo>
                  <a:lnTo>
                    <a:pt x="58" y="359"/>
                  </a:lnTo>
                  <a:lnTo>
                    <a:pt x="84" y="335"/>
                  </a:lnTo>
                  <a:lnTo>
                    <a:pt x="109" y="311"/>
                  </a:lnTo>
                  <a:lnTo>
                    <a:pt x="132" y="287"/>
                  </a:lnTo>
                  <a:lnTo>
                    <a:pt x="154" y="262"/>
                  </a:lnTo>
                  <a:lnTo>
                    <a:pt x="174" y="237"/>
                  </a:lnTo>
                  <a:lnTo>
                    <a:pt x="191" y="212"/>
                  </a:lnTo>
                  <a:lnTo>
                    <a:pt x="208" y="187"/>
                  </a:lnTo>
                  <a:lnTo>
                    <a:pt x="222" y="161"/>
                  </a:lnTo>
                  <a:lnTo>
                    <a:pt x="235" y="135"/>
                  </a:lnTo>
                  <a:lnTo>
                    <a:pt x="245" y="108"/>
                  </a:lnTo>
                  <a:lnTo>
                    <a:pt x="255" y="81"/>
                  </a:lnTo>
                  <a:lnTo>
                    <a:pt x="261" y="55"/>
                  </a:lnTo>
                  <a:lnTo>
                    <a:pt x="266" y="27"/>
                  </a:lnTo>
                  <a:lnTo>
                    <a:pt x="2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1" name="Freeform 58"/>
            <p:cNvSpPr>
              <a:spLocks noEditPoints="1"/>
            </p:cNvSpPr>
            <p:nvPr/>
          </p:nvSpPr>
          <p:spPr bwMode="auto">
            <a:xfrm flipH="1">
              <a:off x="6846276" y="2455867"/>
              <a:ext cx="638595" cy="223156"/>
            </a:xfrm>
            <a:custGeom>
              <a:avLst/>
              <a:gdLst>
                <a:gd name="T0" fmla="*/ 0 w 3464"/>
                <a:gd name="T1" fmla="*/ 844 h 1560"/>
                <a:gd name="T2" fmla="*/ 10 w 3464"/>
                <a:gd name="T3" fmla="*/ 899 h 1560"/>
                <a:gd name="T4" fmla="*/ 42 w 3464"/>
                <a:gd name="T5" fmla="*/ 981 h 1560"/>
                <a:gd name="T6" fmla="*/ 93 w 3464"/>
                <a:gd name="T7" fmla="*/ 1058 h 1560"/>
                <a:gd name="T8" fmla="*/ 163 w 3464"/>
                <a:gd name="T9" fmla="*/ 1132 h 1560"/>
                <a:gd name="T10" fmla="*/ 250 w 3464"/>
                <a:gd name="T11" fmla="*/ 1201 h 1560"/>
                <a:gd name="T12" fmla="*/ 317 w 3464"/>
                <a:gd name="T13" fmla="*/ 1245 h 1560"/>
                <a:gd name="T14" fmla="*/ 586 w 3464"/>
                <a:gd name="T15" fmla="*/ 322 h 1560"/>
                <a:gd name="T16" fmla="*/ 496 w 3464"/>
                <a:gd name="T17" fmla="*/ 265 h 1560"/>
                <a:gd name="T18" fmla="*/ 422 w 3464"/>
                <a:gd name="T19" fmla="*/ 204 h 1560"/>
                <a:gd name="T20" fmla="*/ 363 w 3464"/>
                <a:gd name="T21" fmla="*/ 139 h 1560"/>
                <a:gd name="T22" fmla="*/ 323 w 3464"/>
                <a:gd name="T23" fmla="*/ 71 h 1560"/>
                <a:gd name="T24" fmla="*/ 299 w 3464"/>
                <a:gd name="T25" fmla="*/ 0 h 1560"/>
                <a:gd name="T26" fmla="*/ 1732 w 3464"/>
                <a:gd name="T27" fmla="*/ 1560 h 1560"/>
                <a:gd name="T28" fmla="*/ 1469 w 3464"/>
                <a:gd name="T29" fmla="*/ 1552 h 1560"/>
                <a:gd name="T30" fmla="*/ 1219 w 3464"/>
                <a:gd name="T31" fmla="*/ 1527 h 1560"/>
                <a:gd name="T32" fmla="*/ 983 w 3464"/>
                <a:gd name="T33" fmla="*/ 1487 h 1560"/>
                <a:gd name="T34" fmla="*/ 765 w 3464"/>
                <a:gd name="T35" fmla="*/ 1433 h 1560"/>
                <a:gd name="T36" fmla="*/ 570 w 3464"/>
                <a:gd name="T37" fmla="*/ 1367 h 1560"/>
                <a:gd name="T38" fmla="*/ 747 w 3464"/>
                <a:gd name="T39" fmla="*/ 399 h 1560"/>
                <a:gd name="T40" fmla="*/ 848 w 3464"/>
                <a:gd name="T41" fmla="*/ 437 h 1560"/>
                <a:gd name="T42" fmla="*/ 1014 w 3464"/>
                <a:gd name="T43" fmla="*/ 485 h 1560"/>
                <a:gd name="T44" fmla="*/ 1195 w 3464"/>
                <a:gd name="T45" fmla="*/ 523 h 1560"/>
                <a:gd name="T46" fmla="*/ 1389 w 3464"/>
                <a:gd name="T47" fmla="*/ 550 h 1560"/>
                <a:gd name="T48" fmla="*/ 1595 w 3464"/>
                <a:gd name="T49" fmla="*/ 565 h 1560"/>
                <a:gd name="T50" fmla="*/ 1736 w 3464"/>
                <a:gd name="T51" fmla="*/ 568 h 1560"/>
                <a:gd name="T52" fmla="*/ 1913 w 3464"/>
                <a:gd name="T53" fmla="*/ 564 h 1560"/>
                <a:gd name="T54" fmla="*/ 2083 w 3464"/>
                <a:gd name="T55" fmla="*/ 550 h 1560"/>
                <a:gd name="T56" fmla="*/ 2192 w 3464"/>
                <a:gd name="T57" fmla="*/ 537 h 1560"/>
                <a:gd name="T58" fmla="*/ 2223 w 3464"/>
                <a:gd name="T59" fmla="*/ 1530 h 1560"/>
                <a:gd name="T60" fmla="*/ 2018 w 3464"/>
                <a:gd name="T61" fmla="*/ 1549 h 1560"/>
                <a:gd name="T62" fmla="*/ 1805 w 3464"/>
                <a:gd name="T63" fmla="*/ 1559 h 1560"/>
                <a:gd name="T64" fmla="*/ 3228 w 3464"/>
                <a:gd name="T65" fmla="*/ 1191 h 1560"/>
                <a:gd name="T66" fmla="*/ 2962 w 3464"/>
                <a:gd name="T67" fmla="*/ 275 h 1560"/>
                <a:gd name="T68" fmla="*/ 3020 w 3464"/>
                <a:gd name="T69" fmla="*/ 231 h 1560"/>
                <a:gd name="T70" fmla="*/ 3069 w 3464"/>
                <a:gd name="T71" fmla="*/ 186 h 1560"/>
                <a:gd name="T72" fmla="*/ 3111 w 3464"/>
                <a:gd name="T73" fmla="*/ 138 h 1560"/>
                <a:gd name="T74" fmla="*/ 3142 w 3464"/>
                <a:gd name="T75" fmla="*/ 88 h 1560"/>
                <a:gd name="T76" fmla="*/ 3165 w 3464"/>
                <a:gd name="T77" fmla="*/ 37 h 1560"/>
                <a:gd name="T78" fmla="*/ 3464 w 3464"/>
                <a:gd name="T79" fmla="*/ 848 h 1560"/>
                <a:gd name="T80" fmla="*/ 3456 w 3464"/>
                <a:gd name="T81" fmla="*/ 894 h 1560"/>
                <a:gd name="T82" fmla="*/ 3432 w 3464"/>
                <a:gd name="T83" fmla="*/ 963 h 1560"/>
                <a:gd name="T84" fmla="*/ 3394 w 3464"/>
                <a:gd name="T85" fmla="*/ 1028 h 1560"/>
                <a:gd name="T86" fmla="*/ 3342 w 3464"/>
                <a:gd name="T87" fmla="*/ 1092 h 1560"/>
                <a:gd name="T88" fmla="*/ 3278 w 3464"/>
                <a:gd name="T89" fmla="*/ 1152 h 1560"/>
                <a:gd name="T90" fmla="*/ 3228 w 3464"/>
                <a:gd name="T91" fmla="*/ 1191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64" h="1560">
                  <a:moveTo>
                    <a:pt x="299" y="0"/>
                  </a:moveTo>
                  <a:lnTo>
                    <a:pt x="299" y="0"/>
                  </a:lnTo>
                  <a:lnTo>
                    <a:pt x="0" y="844"/>
                  </a:lnTo>
                  <a:lnTo>
                    <a:pt x="0" y="844"/>
                  </a:lnTo>
                  <a:lnTo>
                    <a:pt x="3" y="872"/>
                  </a:lnTo>
                  <a:lnTo>
                    <a:pt x="10" y="899"/>
                  </a:lnTo>
                  <a:lnTo>
                    <a:pt x="18" y="926"/>
                  </a:lnTo>
                  <a:lnTo>
                    <a:pt x="28" y="953"/>
                  </a:lnTo>
                  <a:lnTo>
                    <a:pt x="42" y="981"/>
                  </a:lnTo>
                  <a:lnTo>
                    <a:pt x="56" y="1007"/>
                  </a:lnTo>
                  <a:lnTo>
                    <a:pt x="74" y="1033"/>
                  </a:lnTo>
                  <a:lnTo>
                    <a:pt x="93" y="1058"/>
                  </a:lnTo>
                  <a:lnTo>
                    <a:pt x="115" y="1083"/>
                  </a:lnTo>
                  <a:lnTo>
                    <a:pt x="138" y="1108"/>
                  </a:lnTo>
                  <a:lnTo>
                    <a:pt x="163" y="1132"/>
                  </a:lnTo>
                  <a:lnTo>
                    <a:pt x="191" y="1156"/>
                  </a:lnTo>
                  <a:lnTo>
                    <a:pt x="220" y="1179"/>
                  </a:lnTo>
                  <a:lnTo>
                    <a:pt x="250" y="1201"/>
                  </a:lnTo>
                  <a:lnTo>
                    <a:pt x="283" y="1223"/>
                  </a:lnTo>
                  <a:lnTo>
                    <a:pt x="317" y="1245"/>
                  </a:lnTo>
                  <a:lnTo>
                    <a:pt x="317" y="1245"/>
                  </a:lnTo>
                  <a:lnTo>
                    <a:pt x="618" y="340"/>
                  </a:lnTo>
                  <a:lnTo>
                    <a:pt x="618" y="340"/>
                  </a:lnTo>
                  <a:lnTo>
                    <a:pt x="586" y="322"/>
                  </a:lnTo>
                  <a:lnTo>
                    <a:pt x="554" y="303"/>
                  </a:lnTo>
                  <a:lnTo>
                    <a:pt x="524" y="285"/>
                  </a:lnTo>
                  <a:lnTo>
                    <a:pt x="496" y="265"/>
                  </a:lnTo>
                  <a:lnTo>
                    <a:pt x="470" y="245"/>
                  </a:lnTo>
                  <a:lnTo>
                    <a:pt x="445" y="225"/>
                  </a:lnTo>
                  <a:lnTo>
                    <a:pt x="422" y="204"/>
                  </a:lnTo>
                  <a:lnTo>
                    <a:pt x="401" y="182"/>
                  </a:lnTo>
                  <a:lnTo>
                    <a:pt x="381" y="161"/>
                  </a:lnTo>
                  <a:lnTo>
                    <a:pt x="363" y="139"/>
                  </a:lnTo>
                  <a:lnTo>
                    <a:pt x="348" y="117"/>
                  </a:lnTo>
                  <a:lnTo>
                    <a:pt x="334" y="94"/>
                  </a:lnTo>
                  <a:lnTo>
                    <a:pt x="323" y="71"/>
                  </a:lnTo>
                  <a:lnTo>
                    <a:pt x="312" y="47"/>
                  </a:lnTo>
                  <a:lnTo>
                    <a:pt x="305" y="24"/>
                  </a:lnTo>
                  <a:lnTo>
                    <a:pt x="299" y="0"/>
                  </a:lnTo>
                  <a:lnTo>
                    <a:pt x="299" y="0"/>
                  </a:lnTo>
                  <a:close/>
                  <a:moveTo>
                    <a:pt x="1732" y="1560"/>
                  </a:moveTo>
                  <a:lnTo>
                    <a:pt x="1732" y="1560"/>
                  </a:lnTo>
                  <a:lnTo>
                    <a:pt x="1643" y="1559"/>
                  </a:lnTo>
                  <a:lnTo>
                    <a:pt x="1556" y="1556"/>
                  </a:lnTo>
                  <a:lnTo>
                    <a:pt x="1469" y="1552"/>
                  </a:lnTo>
                  <a:lnTo>
                    <a:pt x="1384" y="1544"/>
                  </a:lnTo>
                  <a:lnTo>
                    <a:pt x="1301" y="1536"/>
                  </a:lnTo>
                  <a:lnTo>
                    <a:pt x="1219" y="1527"/>
                  </a:lnTo>
                  <a:lnTo>
                    <a:pt x="1138" y="1515"/>
                  </a:lnTo>
                  <a:lnTo>
                    <a:pt x="1060" y="1502"/>
                  </a:lnTo>
                  <a:lnTo>
                    <a:pt x="983" y="1487"/>
                  </a:lnTo>
                  <a:lnTo>
                    <a:pt x="909" y="1470"/>
                  </a:lnTo>
                  <a:lnTo>
                    <a:pt x="836" y="1453"/>
                  </a:lnTo>
                  <a:lnTo>
                    <a:pt x="765" y="1433"/>
                  </a:lnTo>
                  <a:lnTo>
                    <a:pt x="698" y="1413"/>
                  </a:lnTo>
                  <a:lnTo>
                    <a:pt x="632" y="1391"/>
                  </a:lnTo>
                  <a:lnTo>
                    <a:pt x="570" y="1367"/>
                  </a:lnTo>
                  <a:lnTo>
                    <a:pt x="510" y="1343"/>
                  </a:lnTo>
                  <a:lnTo>
                    <a:pt x="510" y="1343"/>
                  </a:lnTo>
                  <a:lnTo>
                    <a:pt x="747" y="399"/>
                  </a:lnTo>
                  <a:lnTo>
                    <a:pt x="747" y="399"/>
                  </a:lnTo>
                  <a:lnTo>
                    <a:pt x="796" y="418"/>
                  </a:lnTo>
                  <a:lnTo>
                    <a:pt x="848" y="437"/>
                  </a:lnTo>
                  <a:lnTo>
                    <a:pt x="901" y="453"/>
                  </a:lnTo>
                  <a:lnTo>
                    <a:pt x="957" y="470"/>
                  </a:lnTo>
                  <a:lnTo>
                    <a:pt x="1014" y="485"/>
                  </a:lnTo>
                  <a:lnTo>
                    <a:pt x="1072" y="499"/>
                  </a:lnTo>
                  <a:lnTo>
                    <a:pt x="1132" y="512"/>
                  </a:lnTo>
                  <a:lnTo>
                    <a:pt x="1195" y="523"/>
                  </a:lnTo>
                  <a:lnTo>
                    <a:pt x="1258" y="534"/>
                  </a:lnTo>
                  <a:lnTo>
                    <a:pt x="1323" y="543"/>
                  </a:lnTo>
                  <a:lnTo>
                    <a:pt x="1389" y="550"/>
                  </a:lnTo>
                  <a:lnTo>
                    <a:pt x="1457" y="556"/>
                  </a:lnTo>
                  <a:lnTo>
                    <a:pt x="1525" y="562"/>
                  </a:lnTo>
                  <a:lnTo>
                    <a:pt x="1595" y="565"/>
                  </a:lnTo>
                  <a:lnTo>
                    <a:pt x="1665" y="568"/>
                  </a:lnTo>
                  <a:lnTo>
                    <a:pt x="1736" y="568"/>
                  </a:lnTo>
                  <a:lnTo>
                    <a:pt x="1736" y="568"/>
                  </a:lnTo>
                  <a:lnTo>
                    <a:pt x="1796" y="568"/>
                  </a:lnTo>
                  <a:lnTo>
                    <a:pt x="1855" y="566"/>
                  </a:lnTo>
                  <a:lnTo>
                    <a:pt x="1913" y="564"/>
                  </a:lnTo>
                  <a:lnTo>
                    <a:pt x="1970" y="561"/>
                  </a:lnTo>
                  <a:lnTo>
                    <a:pt x="2028" y="555"/>
                  </a:lnTo>
                  <a:lnTo>
                    <a:pt x="2083" y="550"/>
                  </a:lnTo>
                  <a:lnTo>
                    <a:pt x="2138" y="544"/>
                  </a:lnTo>
                  <a:lnTo>
                    <a:pt x="2192" y="537"/>
                  </a:lnTo>
                  <a:lnTo>
                    <a:pt x="2192" y="537"/>
                  </a:lnTo>
                  <a:lnTo>
                    <a:pt x="2289" y="1520"/>
                  </a:lnTo>
                  <a:lnTo>
                    <a:pt x="2289" y="1520"/>
                  </a:lnTo>
                  <a:lnTo>
                    <a:pt x="2223" y="1530"/>
                  </a:lnTo>
                  <a:lnTo>
                    <a:pt x="2155" y="1537"/>
                  </a:lnTo>
                  <a:lnTo>
                    <a:pt x="2087" y="1544"/>
                  </a:lnTo>
                  <a:lnTo>
                    <a:pt x="2018" y="1549"/>
                  </a:lnTo>
                  <a:lnTo>
                    <a:pt x="1948" y="1554"/>
                  </a:lnTo>
                  <a:lnTo>
                    <a:pt x="1877" y="1557"/>
                  </a:lnTo>
                  <a:lnTo>
                    <a:pt x="1805" y="1559"/>
                  </a:lnTo>
                  <a:lnTo>
                    <a:pt x="1732" y="1560"/>
                  </a:lnTo>
                  <a:lnTo>
                    <a:pt x="1732" y="1560"/>
                  </a:lnTo>
                  <a:close/>
                  <a:moveTo>
                    <a:pt x="3228" y="1191"/>
                  </a:moveTo>
                  <a:lnTo>
                    <a:pt x="3228" y="1191"/>
                  </a:lnTo>
                  <a:lnTo>
                    <a:pt x="2962" y="275"/>
                  </a:lnTo>
                  <a:lnTo>
                    <a:pt x="2962" y="275"/>
                  </a:lnTo>
                  <a:lnTo>
                    <a:pt x="2982" y="262"/>
                  </a:lnTo>
                  <a:lnTo>
                    <a:pt x="3002" y="247"/>
                  </a:lnTo>
                  <a:lnTo>
                    <a:pt x="3020" y="231"/>
                  </a:lnTo>
                  <a:lnTo>
                    <a:pt x="3037" y="217"/>
                  </a:lnTo>
                  <a:lnTo>
                    <a:pt x="3054" y="201"/>
                  </a:lnTo>
                  <a:lnTo>
                    <a:pt x="3069" y="186"/>
                  </a:lnTo>
                  <a:lnTo>
                    <a:pt x="3084" y="170"/>
                  </a:lnTo>
                  <a:lnTo>
                    <a:pt x="3098" y="154"/>
                  </a:lnTo>
                  <a:lnTo>
                    <a:pt x="3111" y="138"/>
                  </a:lnTo>
                  <a:lnTo>
                    <a:pt x="3122" y="121"/>
                  </a:lnTo>
                  <a:lnTo>
                    <a:pt x="3133" y="105"/>
                  </a:lnTo>
                  <a:lnTo>
                    <a:pt x="3142" y="88"/>
                  </a:lnTo>
                  <a:lnTo>
                    <a:pt x="3151" y="71"/>
                  </a:lnTo>
                  <a:lnTo>
                    <a:pt x="3159" y="54"/>
                  </a:lnTo>
                  <a:lnTo>
                    <a:pt x="3165" y="37"/>
                  </a:lnTo>
                  <a:lnTo>
                    <a:pt x="3170" y="19"/>
                  </a:lnTo>
                  <a:lnTo>
                    <a:pt x="3170" y="19"/>
                  </a:lnTo>
                  <a:lnTo>
                    <a:pt x="3464" y="848"/>
                  </a:lnTo>
                  <a:lnTo>
                    <a:pt x="3464" y="848"/>
                  </a:lnTo>
                  <a:lnTo>
                    <a:pt x="3461" y="871"/>
                  </a:lnTo>
                  <a:lnTo>
                    <a:pt x="3456" y="894"/>
                  </a:lnTo>
                  <a:lnTo>
                    <a:pt x="3450" y="917"/>
                  </a:lnTo>
                  <a:lnTo>
                    <a:pt x="3441" y="940"/>
                  </a:lnTo>
                  <a:lnTo>
                    <a:pt x="3432" y="963"/>
                  </a:lnTo>
                  <a:lnTo>
                    <a:pt x="3421" y="985"/>
                  </a:lnTo>
                  <a:lnTo>
                    <a:pt x="3408" y="1007"/>
                  </a:lnTo>
                  <a:lnTo>
                    <a:pt x="3394" y="1028"/>
                  </a:lnTo>
                  <a:lnTo>
                    <a:pt x="3378" y="1049"/>
                  </a:lnTo>
                  <a:lnTo>
                    <a:pt x="3360" y="1071"/>
                  </a:lnTo>
                  <a:lnTo>
                    <a:pt x="3342" y="1092"/>
                  </a:lnTo>
                  <a:lnTo>
                    <a:pt x="3322" y="1112"/>
                  </a:lnTo>
                  <a:lnTo>
                    <a:pt x="3300" y="1133"/>
                  </a:lnTo>
                  <a:lnTo>
                    <a:pt x="3278" y="1152"/>
                  </a:lnTo>
                  <a:lnTo>
                    <a:pt x="3253" y="1172"/>
                  </a:lnTo>
                  <a:lnTo>
                    <a:pt x="3228" y="1191"/>
                  </a:lnTo>
                  <a:lnTo>
                    <a:pt x="3228" y="1191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2" name="Freeform 59"/>
            <p:cNvSpPr>
              <a:spLocks noEditPoints="1"/>
            </p:cNvSpPr>
            <p:nvPr/>
          </p:nvSpPr>
          <p:spPr bwMode="auto">
            <a:xfrm flipH="1">
              <a:off x="6953353" y="2226262"/>
              <a:ext cx="424440" cy="176719"/>
            </a:xfrm>
            <a:custGeom>
              <a:avLst/>
              <a:gdLst>
                <a:gd name="T0" fmla="*/ 1155 w 2305"/>
                <a:gd name="T1" fmla="*/ 237 h 1240"/>
                <a:gd name="T2" fmla="*/ 1014 w 2305"/>
                <a:gd name="T3" fmla="*/ 232 h 1240"/>
                <a:gd name="T4" fmla="*/ 879 w 2305"/>
                <a:gd name="T5" fmla="*/ 219 h 1240"/>
                <a:gd name="T6" fmla="*/ 752 w 2305"/>
                <a:gd name="T7" fmla="*/ 199 h 1240"/>
                <a:gd name="T8" fmla="*/ 635 w 2305"/>
                <a:gd name="T9" fmla="*/ 170 h 1240"/>
                <a:gd name="T10" fmla="*/ 528 w 2305"/>
                <a:gd name="T11" fmla="*/ 136 h 1240"/>
                <a:gd name="T12" fmla="*/ 479 w 2305"/>
                <a:gd name="T13" fmla="*/ 117 h 1240"/>
                <a:gd name="T14" fmla="*/ 433 w 2305"/>
                <a:gd name="T15" fmla="*/ 96 h 1240"/>
                <a:gd name="T16" fmla="*/ 390 w 2305"/>
                <a:gd name="T17" fmla="*/ 74 h 1240"/>
                <a:gd name="T18" fmla="*/ 352 w 2305"/>
                <a:gd name="T19" fmla="*/ 51 h 1240"/>
                <a:gd name="T20" fmla="*/ 316 w 2305"/>
                <a:gd name="T21" fmla="*/ 26 h 1240"/>
                <a:gd name="T22" fmla="*/ 285 w 2305"/>
                <a:gd name="T23" fmla="*/ 0 h 1240"/>
                <a:gd name="T24" fmla="*/ 0 w 2305"/>
                <a:gd name="T25" fmla="*/ 805 h 1240"/>
                <a:gd name="T26" fmla="*/ 9 w 2305"/>
                <a:gd name="T27" fmla="*/ 828 h 1240"/>
                <a:gd name="T28" fmla="*/ 32 w 2305"/>
                <a:gd name="T29" fmla="*/ 872 h 1240"/>
                <a:gd name="T30" fmla="*/ 65 w 2305"/>
                <a:gd name="T31" fmla="*/ 915 h 1240"/>
                <a:gd name="T32" fmla="*/ 105 w 2305"/>
                <a:gd name="T33" fmla="*/ 956 h 1240"/>
                <a:gd name="T34" fmla="*/ 155 w 2305"/>
                <a:gd name="T35" fmla="*/ 996 h 1240"/>
                <a:gd name="T36" fmla="*/ 211 w 2305"/>
                <a:gd name="T37" fmla="*/ 1032 h 1240"/>
                <a:gd name="T38" fmla="*/ 276 w 2305"/>
                <a:gd name="T39" fmla="*/ 1067 h 1240"/>
                <a:gd name="T40" fmla="*/ 347 w 2305"/>
                <a:gd name="T41" fmla="*/ 1099 h 1240"/>
                <a:gd name="T42" fmla="*/ 424 w 2305"/>
                <a:gd name="T43" fmla="*/ 1128 h 1240"/>
                <a:gd name="T44" fmla="*/ 507 w 2305"/>
                <a:gd name="T45" fmla="*/ 1154 h 1240"/>
                <a:gd name="T46" fmla="*/ 595 w 2305"/>
                <a:gd name="T47" fmla="*/ 1177 h 1240"/>
                <a:gd name="T48" fmla="*/ 688 w 2305"/>
                <a:gd name="T49" fmla="*/ 1197 h 1240"/>
                <a:gd name="T50" fmla="*/ 785 w 2305"/>
                <a:gd name="T51" fmla="*/ 1213 h 1240"/>
                <a:gd name="T52" fmla="*/ 887 w 2305"/>
                <a:gd name="T53" fmla="*/ 1226 h 1240"/>
                <a:gd name="T54" fmla="*/ 992 w 2305"/>
                <a:gd name="T55" fmla="*/ 1234 h 1240"/>
                <a:gd name="T56" fmla="*/ 1100 w 2305"/>
                <a:gd name="T57" fmla="*/ 1238 h 1240"/>
                <a:gd name="T58" fmla="*/ 1155 w 2305"/>
                <a:gd name="T59" fmla="*/ 1240 h 1240"/>
                <a:gd name="T60" fmla="*/ 1250 w 2305"/>
                <a:gd name="T61" fmla="*/ 1237 h 1240"/>
                <a:gd name="T62" fmla="*/ 1343 w 2305"/>
                <a:gd name="T63" fmla="*/ 1232 h 1240"/>
                <a:gd name="T64" fmla="*/ 1433 w 2305"/>
                <a:gd name="T65" fmla="*/ 1225 h 1240"/>
                <a:gd name="T66" fmla="*/ 1520 w 2305"/>
                <a:gd name="T67" fmla="*/ 1213 h 1240"/>
                <a:gd name="T68" fmla="*/ 1424 w 2305"/>
                <a:gd name="T69" fmla="*/ 220 h 1240"/>
                <a:gd name="T70" fmla="*/ 1359 w 2305"/>
                <a:gd name="T71" fmla="*/ 228 h 1240"/>
                <a:gd name="T72" fmla="*/ 1225 w 2305"/>
                <a:gd name="T73" fmla="*/ 236 h 1240"/>
                <a:gd name="T74" fmla="*/ 1155 w 2305"/>
                <a:gd name="T75" fmla="*/ 237 h 1240"/>
                <a:gd name="T76" fmla="*/ 2130 w 2305"/>
                <a:gd name="T77" fmla="*/ 1013 h 1240"/>
                <a:gd name="T78" fmla="*/ 1866 w 2305"/>
                <a:gd name="T79" fmla="*/ 103 h 1240"/>
                <a:gd name="T80" fmla="*/ 1908 w 2305"/>
                <a:gd name="T81" fmla="*/ 81 h 1240"/>
                <a:gd name="T82" fmla="*/ 1948 w 2305"/>
                <a:gd name="T83" fmla="*/ 58 h 1240"/>
                <a:gd name="T84" fmla="*/ 1984 w 2305"/>
                <a:gd name="T85" fmla="*/ 34 h 1240"/>
                <a:gd name="T86" fmla="*/ 2015 w 2305"/>
                <a:gd name="T87" fmla="*/ 9 h 1240"/>
                <a:gd name="T88" fmla="*/ 2305 w 2305"/>
                <a:gd name="T89" fmla="*/ 822 h 1240"/>
                <a:gd name="T90" fmla="*/ 2300 w 2305"/>
                <a:gd name="T91" fmla="*/ 835 h 1240"/>
                <a:gd name="T92" fmla="*/ 2287 w 2305"/>
                <a:gd name="T93" fmla="*/ 860 h 1240"/>
                <a:gd name="T94" fmla="*/ 2270 w 2305"/>
                <a:gd name="T95" fmla="*/ 886 h 1240"/>
                <a:gd name="T96" fmla="*/ 2250 w 2305"/>
                <a:gd name="T97" fmla="*/ 910 h 1240"/>
                <a:gd name="T98" fmla="*/ 2217 w 2305"/>
                <a:gd name="T99" fmla="*/ 946 h 1240"/>
                <a:gd name="T100" fmla="*/ 2162 w 2305"/>
                <a:gd name="T101" fmla="*/ 992 h 1240"/>
                <a:gd name="T102" fmla="*/ 2130 w 2305"/>
                <a:gd name="T103" fmla="*/ 1013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05" h="1240">
                  <a:moveTo>
                    <a:pt x="1155" y="237"/>
                  </a:moveTo>
                  <a:lnTo>
                    <a:pt x="1155" y="237"/>
                  </a:lnTo>
                  <a:lnTo>
                    <a:pt x="1084" y="236"/>
                  </a:lnTo>
                  <a:lnTo>
                    <a:pt x="1014" y="232"/>
                  </a:lnTo>
                  <a:lnTo>
                    <a:pt x="945" y="227"/>
                  </a:lnTo>
                  <a:lnTo>
                    <a:pt x="879" y="219"/>
                  </a:lnTo>
                  <a:lnTo>
                    <a:pt x="814" y="210"/>
                  </a:lnTo>
                  <a:lnTo>
                    <a:pt x="752" y="199"/>
                  </a:lnTo>
                  <a:lnTo>
                    <a:pt x="692" y="186"/>
                  </a:lnTo>
                  <a:lnTo>
                    <a:pt x="635" y="170"/>
                  </a:lnTo>
                  <a:lnTo>
                    <a:pt x="580" y="155"/>
                  </a:lnTo>
                  <a:lnTo>
                    <a:pt x="528" y="136"/>
                  </a:lnTo>
                  <a:lnTo>
                    <a:pt x="503" y="127"/>
                  </a:lnTo>
                  <a:lnTo>
                    <a:pt x="479" y="117"/>
                  </a:lnTo>
                  <a:lnTo>
                    <a:pt x="455" y="107"/>
                  </a:lnTo>
                  <a:lnTo>
                    <a:pt x="433" y="96"/>
                  </a:lnTo>
                  <a:lnTo>
                    <a:pt x="411" y="85"/>
                  </a:lnTo>
                  <a:lnTo>
                    <a:pt x="390" y="74"/>
                  </a:lnTo>
                  <a:lnTo>
                    <a:pt x="371" y="62"/>
                  </a:lnTo>
                  <a:lnTo>
                    <a:pt x="352" y="51"/>
                  </a:lnTo>
                  <a:lnTo>
                    <a:pt x="333" y="38"/>
                  </a:lnTo>
                  <a:lnTo>
                    <a:pt x="316" y="26"/>
                  </a:lnTo>
                  <a:lnTo>
                    <a:pt x="301" y="13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0" y="805"/>
                  </a:lnTo>
                  <a:lnTo>
                    <a:pt x="0" y="805"/>
                  </a:lnTo>
                  <a:lnTo>
                    <a:pt x="9" y="828"/>
                  </a:lnTo>
                  <a:lnTo>
                    <a:pt x="19" y="850"/>
                  </a:lnTo>
                  <a:lnTo>
                    <a:pt x="32" y="872"/>
                  </a:lnTo>
                  <a:lnTo>
                    <a:pt x="47" y="894"/>
                  </a:lnTo>
                  <a:lnTo>
                    <a:pt x="65" y="915"/>
                  </a:lnTo>
                  <a:lnTo>
                    <a:pt x="85" y="936"/>
                  </a:lnTo>
                  <a:lnTo>
                    <a:pt x="105" y="956"/>
                  </a:lnTo>
                  <a:lnTo>
                    <a:pt x="129" y="976"/>
                  </a:lnTo>
                  <a:lnTo>
                    <a:pt x="155" y="996"/>
                  </a:lnTo>
                  <a:lnTo>
                    <a:pt x="182" y="1014"/>
                  </a:lnTo>
                  <a:lnTo>
                    <a:pt x="211" y="1032"/>
                  </a:lnTo>
                  <a:lnTo>
                    <a:pt x="243" y="1050"/>
                  </a:lnTo>
                  <a:lnTo>
                    <a:pt x="276" y="1067"/>
                  </a:lnTo>
                  <a:lnTo>
                    <a:pt x="310" y="1083"/>
                  </a:lnTo>
                  <a:lnTo>
                    <a:pt x="347" y="1099"/>
                  </a:lnTo>
                  <a:lnTo>
                    <a:pt x="384" y="1113"/>
                  </a:lnTo>
                  <a:lnTo>
                    <a:pt x="424" y="1128"/>
                  </a:lnTo>
                  <a:lnTo>
                    <a:pt x="464" y="1142"/>
                  </a:lnTo>
                  <a:lnTo>
                    <a:pt x="507" y="1154"/>
                  </a:lnTo>
                  <a:lnTo>
                    <a:pt x="550" y="1167"/>
                  </a:lnTo>
                  <a:lnTo>
                    <a:pt x="595" y="1177"/>
                  </a:lnTo>
                  <a:lnTo>
                    <a:pt x="641" y="1187"/>
                  </a:lnTo>
                  <a:lnTo>
                    <a:pt x="688" y="1197"/>
                  </a:lnTo>
                  <a:lnTo>
                    <a:pt x="736" y="1205"/>
                  </a:lnTo>
                  <a:lnTo>
                    <a:pt x="785" y="1213"/>
                  </a:lnTo>
                  <a:lnTo>
                    <a:pt x="836" y="1220"/>
                  </a:lnTo>
                  <a:lnTo>
                    <a:pt x="887" y="1226"/>
                  </a:lnTo>
                  <a:lnTo>
                    <a:pt x="939" y="1230"/>
                  </a:lnTo>
                  <a:lnTo>
                    <a:pt x="992" y="1234"/>
                  </a:lnTo>
                  <a:lnTo>
                    <a:pt x="1046" y="1236"/>
                  </a:lnTo>
                  <a:lnTo>
                    <a:pt x="1100" y="1238"/>
                  </a:lnTo>
                  <a:lnTo>
                    <a:pt x="1155" y="1240"/>
                  </a:lnTo>
                  <a:lnTo>
                    <a:pt x="1155" y="1240"/>
                  </a:lnTo>
                  <a:lnTo>
                    <a:pt x="1203" y="1238"/>
                  </a:lnTo>
                  <a:lnTo>
                    <a:pt x="1250" y="1237"/>
                  </a:lnTo>
                  <a:lnTo>
                    <a:pt x="1297" y="1235"/>
                  </a:lnTo>
                  <a:lnTo>
                    <a:pt x="1343" y="1232"/>
                  </a:lnTo>
                  <a:lnTo>
                    <a:pt x="1388" y="1229"/>
                  </a:lnTo>
                  <a:lnTo>
                    <a:pt x="1433" y="1225"/>
                  </a:lnTo>
                  <a:lnTo>
                    <a:pt x="1477" y="1220"/>
                  </a:lnTo>
                  <a:lnTo>
                    <a:pt x="1520" y="1213"/>
                  </a:lnTo>
                  <a:lnTo>
                    <a:pt x="1520" y="1213"/>
                  </a:lnTo>
                  <a:lnTo>
                    <a:pt x="1424" y="220"/>
                  </a:lnTo>
                  <a:lnTo>
                    <a:pt x="1424" y="220"/>
                  </a:lnTo>
                  <a:lnTo>
                    <a:pt x="1359" y="228"/>
                  </a:lnTo>
                  <a:lnTo>
                    <a:pt x="1293" y="233"/>
                  </a:lnTo>
                  <a:lnTo>
                    <a:pt x="1225" y="236"/>
                  </a:lnTo>
                  <a:lnTo>
                    <a:pt x="1155" y="237"/>
                  </a:lnTo>
                  <a:lnTo>
                    <a:pt x="1155" y="237"/>
                  </a:lnTo>
                  <a:close/>
                  <a:moveTo>
                    <a:pt x="2130" y="1013"/>
                  </a:moveTo>
                  <a:lnTo>
                    <a:pt x="2130" y="1013"/>
                  </a:lnTo>
                  <a:lnTo>
                    <a:pt x="1866" y="103"/>
                  </a:lnTo>
                  <a:lnTo>
                    <a:pt x="1866" y="103"/>
                  </a:lnTo>
                  <a:lnTo>
                    <a:pt x="1887" y="91"/>
                  </a:lnTo>
                  <a:lnTo>
                    <a:pt x="1908" y="81"/>
                  </a:lnTo>
                  <a:lnTo>
                    <a:pt x="1929" y="69"/>
                  </a:lnTo>
                  <a:lnTo>
                    <a:pt x="1948" y="58"/>
                  </a:lnTo>
                  <a:lnTo>
                    <a:pt x="1966" y="46"/>
                  </a:lnTo>
                  <a:lnTo>
                    <a:pt x="1984" y="34"/>
                  </a:lnTo>
                  <a:lnTo>
                    <a:pt x="2000" y="21"/>
                  </a:lnTo>
                  <a:lnTo>
                    <a:pt x="2015" y="9"/>
                  </a:lnTo>
                  <a:lnTo>
                    <a:pt x="2015" y="9"/>
                  </a:lnTo>
                  <a:lnTo>
                    <a:pt x="2305" y="822"/>
                  </a:lnTo>
                  <a:lnTo>
                    <a:pt x="2305" y="822"/>
                  </a:lnTo>
                  <a:lnTo>
                    <a:pt x="2300" y="835"/>
                  </a:lnTo>
                  <a:lnTo>
                    <a:pt x="2294" y="848"/>
                  </a:lnTo>
                  <a:lnTo>
                    <a:pt x="2287" y="860"/>
                  </a:lnTo>
                  <a:lnTo>
                    <a:pt x="2278" y="874"/>
                  </a:lnTo>
                  <a:lnTo>
                    <a:pt x="2270" y="886"/>
                  </a:lnTo>
                  <a:lnTo>
                    <a:pt x="2261" y="898"/>
                  </a:lnTo>
                  <a:lnTo>
                    <a:pt x="2250" y="910"/>
                  </a:lnTo>
                  <a:lnTo>
                    <a:pt x="2240" y="923"/>
                  </a:lnTo>
                  <a:lnTo>
                    <a:pt x="2217" y="946"/>
                  </a:lnTo>
                  <a:lnTo>
                    <a:pt x="2190" y="970"/>
                  </a:lnTo>
                  <a:lnTo>
                    <a:pt x="2162" y="992"/>
                  </a:lnTo>
                  <a:lnTo>
                    <a:pt x="2130" y="1013"/>
                  </a:lnTo>
                  <a:lnTo>
                    <a:pt x="2130" y="1013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3" name="Freeform 60"/>
            <p:cNvSpPr>
              <a:spLocks/>
            </p:cNvSpPr>
            <p:nvPr/>
          </p:nvSpPr>
          <p:spPr bwMode="auto">
            <a:xfrm flipH="1">
              <a:off x="6917231" y="2925397"/>
              <a:ext cx="1290" cy="0"/>
            </a:xfrm>
            <a:custGeom>
              <a:avLst/>
              <a:gdLst>
                <a:gd name="T0" fmla="*/ 4 w 4"/>
                <a:gd name="T1" fmla="*/ 0 h 1"/>
                <a:gd name="T2" fmla="*/ 4 w 4"/>
                <a:gd name="T3" fmla="*/ 0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4" name="Freeform 61"/>
            <p:cNvSpPr>
              <a:spLocks/>
            </p:cNvSpPr>
            <p:nvPr/>
          </p:nvSpPr>
          <p:spPr bwMode="auto">
            <a:xfrm flipH="1">
              <a:off x="6917231" y="2925397"/>
              <a:ext cx="1290" cy="0"/>
            </a:xfrm>
            <a:custGeom>
              <a:avLst/>
              <a:gdLst>
                <a:gd name="T0" fmla="*/ 4 w 4"/>
                <a:gd name="T1" fmla="*/ 0 h 1"/>
                <a:gd name="T2" fmla="*/ 4 w 4"/>
                <a:gd name="T3" fmla="*/ 0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5" name="Freeform 62"/>
            <p:cNvSpPr>
              <a:spLocks/>
            </p:cNvSpPr>
            <p:nvPr/>
          </p:nvSpPr>
          <p:spPr bwMode="auto">
            <a:xfrm flipH="1">
              <a:off x="6793383" y="2884120"/>
              <a:ext cx="0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6" name="Freeform 63"/>
            <p:cNvSpPr>
              <a:spLocks/>
            </p:cNvSpPr>
            <p:nvPr/>
          </p:nvSpPr>
          <p:spPr bwMode="auto">
            <a:xfrm flipH="1">
              <a:off x="6793383" y="2884120"/>
              <a:ext cx="0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7" name="Freeform 64"/>
            <p:cNvSpPr>
              <a:spLocks/>
            </p:cNvSpPr>
            <p:nvPr/>
          </p:nvSpPr>
          <p:spPr bwMode="auto">
            <a:xfrm flipH="1">
              <a:off x="6926262" y="2927977"/>
              <a:ext cx="101917" cy="16769"/>
            </a:xfrm>
            <a:custGeom>
              <a:avLst/>
              <a:gdLst>
                <a:gd name="T0" fmla="*/ 556 w 556"/>
                <a:gd name="T1" fmla="*/ 0 h 116"/>
                <a:gd name="T2" fmla="*/ 556 w 556"/>
                <a:gd name="T3" fmla="*/ 0 h 116"/>
                <a:gd name="T4" fmla="*/ 497 w 556"/>
                <a:gd name="T5" fmla="*/ 16 h 116"/>
                <a:gd name="T6" fmla="*/ 439 w 556"/>
                <a:gd name="T7" fmla="*/ 32 h 116"/>
                <a:gd name="T8" fmla="*/ 385 w 556"/>
                <a:gd name="T9" fmla="*/ 46 h 116"/>
                <a:gd name="T10" fmla="*/ 333 w 556"/>
                <a:gd name="T11" fmla="*/ 58 h 116"/>
                <a:gd name="T12" fmla="*/ 284 w 556"/>
                <a:gd name="T13" fmla="*/ 69 h 116"/>
                <a:gd name="T14" fmla="*/ 239 w 556"/>
                <a:gd name="T15" fmla="*/ 79 h 116"/>
                <a:gd name="T16" fmla="*/ 157 w 556"/>
                <a:gd name="T17" fmla="*/ 94 h 116"/>
                <a:gd name="T18" fmla="*/ 91 w 556"/>
                <a:gd name="T19" fmla="*/ 105 h 116"/>
                <a:gd name="T20" fmla="*/ 41 w 556"/>
                <a:gd name="T21" fmla="*/ 112 h 116"/>
                <a:gd name="T22" fmla="*/ 0 w 556"/>
                <a:gd name="T23" fmla="*/ 116 h 116"/>
                <a:gd name="T24" fmla="*/ 0 w 556"/>
                <a:gd name="T25" fmla="*/ 116 h 116"/>
                <a:gd name="T26" fmla="*/ 66 w 556"/>
                <a:gd name="T27" fmla="*/ 107 h 116"/>
                <a:gd name="T28" fmla="*/ 135 w 556"/>
                <a:gd name="T29" fmla="*/ 96 h 116"/>
                <a:gd name="T30" fmla="*/ 203 w 556"/>
                <a:gd name="T31" fmla="*/ 83 h 116"/>
                <a:gd name="T32" fmla="*/ 273 w 556"/>
                <a:gd name="T33" fmla="*/ 70 h 116"/>
                <a:gd name="T34" fmla="*/ 344 w 556"/>
                <a:gd name="T35" fmla="*/ 55 h 116"/>
                <a:gd name="T36" fmla="*/ 414 w 556"/>
                <a:gd name="T37" fmla="*/ 38 h 116"/>
                <a:gd name="T38" fmla="*/ 485 w 556"/>
                <a:gd name="T39" fmla="*/ 20 h 116"/>
                <a:gd name="T40" fmla="*/ 556 w 556"/>
                <a:gd name="T4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6" h="116">
                  <a:moveTo>
                    <a:pt x="556" y="0"/>
                  </a:moveTo>
                  <a:lnTo>
                    <a:pt x="556" y="0"/>
                  </a:lnTo>
                  <a:lnTo>
                    <a:pt x="497" y="16"/>
                  </a:lnTo>
                  <a:lnTo>
                    <a:pt x="439" y="32"/>
                  </a:lnTo>
                  <a:lnTo>
                    <a:pt x="385" y="46"/>
                  </a:lnTo>
                  <a:lnTo>
                    <a:pt x="333" y="58"/>
                  </a:lnTo>
                  <a:lnTo>
                    <a:pt x="284" y="69"/>
                  </a:lnTo>
                  <a:lnTo>
                    <a:pt x="239" y="79"/>
                  </a:lnTo>
                  <a:lnTo>
                    <a:pt x="157" y="94"/>
                  </a:lnTo>
                  <a:lnTo>
                    <a:pt x="91" y="105"/>
                  </a:lnTo>
                  <a:lnTo>
                    <a:pt x="41" y="11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66" y="107"/>
                  </a:lnTo>
                  <a:lnTo>
                    <a:pt x="135" y="96"/>
                  </a:lnTo>
                  <a:lnTo>
                    <a:pt x="203" y="83"/>
                  </a:lnTo>
                  <a:lnTo>
                    <a:pt x="273" y="70"/>
                  </a:lnTo>
                  <a:lnTo>
                    <a:pt x="344" y="55"/>
                  </a:lnTo>
                  <a:lnTo>
                    <a:pt x="414" y="38"/>
                  </a:lnTo>
                  <a:lnTo>
                    <a:pt x="485" y="20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8" name="Freeform 65"/>
            <p:cNvSpPr>
              <a:spLocks/>
            </p:cNvSpPr>
            <p:nvPr/>
          </p:nvSpPr>
          <p:spPr bwMode="auto">
            <a:xfrm flipH="1">
              <a:off x="6926262" y="2927977"/>
              <a:ext cx="101917" cy="16769"/>
            </a:xfrm>
            <a:custGeom>
              <a:avLst/>
              <a:gdLst>
                <a:gd name="T0" fmla="*/ 556 w 556"/>
                <a:gd name="T1" fmla="*/ 0 h 116"/>
                <a:gd name="T2" fmla="*/ 556 w 556"/>
                <a:gd name="T3" fmla="*/ 0 h 116"/>
                <a:gd name="T4" fmla="*/ 497 w 556"/>
                <a:gd name="T5" fmla="*/ 16 h 116"/>
                <a:gd name="T6" fmla="*/ 439 w 556"/>
                <a:gd name="T7" fmla="*/ 32 h 116"/>
                <a:gd name="T8" fmla="*/ 385 w 556"/>
                <a:gd name="T9" fmla="*/ 46 h 116"/>
                <a:gd name="T10" fmla="*/ 333 w 556"/>
                <a:gd name="T11" fmla="*/ 58 h 116"/>
                <a:gd name="T12" fmla="*/ 284 w 556"/>
                <a:gd name="T13" fmla="*/ 69 h 116"/>
                <a:gd name="T14" fmla="*/ 239 w 556"/>
                <a:gd name="T15" fmla="*/ 79 h 116"/>
                <a:gd name="T16" fmla="*/ 157 w 556"/>
                <a:gd name="T17" fmla="*/ 94 h 116"/>
                <a:gd name="T18" fmla="*/ 91 w 556"/>
                <a:gd name="T19" fmla="*/ 105 h 116"/>
                <a:gd name="T20" fmla="*/ 41 w 556"/>
                <a:gd name="T21" fmla="*/ 112 h 116"/>
                <a:gd name="T22" fmla="*/ 0 w 556"/>
                <a:gd name="T23" fmla="*/ 116 h 116"/>
                <a:gd name="T24" fmla="*/ 0 w 556"/>
                <a:gd name="T25" fmla="*/ 116 h 116"/>
                <a:gd name="T26" fmla="*/ 66 w 556"/>
                <a:gd name="T27" fmla="*/ 107 h 116"/>
                <a:gd name="T28" fmla="*/ 135 w 556"/>
                <a:gd name="T29" fmla="*/ 96 h 116"/>
                <a:gd name="T30" fmla="*/ 203 w 556"/>
                <a:gd name="T31" fmla="*/ 83 h 116"/>
                <a:gd name="T32" fmla="*/ 273 w 556"/>
                <a:gd name="T33" fmla="*/ 70 h 116"/>
                <a:gd name="T34" fmla="*/ 344 w 556"/>
                <a:gd name="T35" fmla="*/ 55 h 116"/>
                <a:gd name="T36" fmla="*/ 414 w 556"/>
                <a:gd name="T37" fmla="*/ 38 h 116"/>
                <a:gd name="T38" fmla="*/ 485 w 556"/>
                <a:gd name="T39" fmla="*/ 20 h 116"/>
                <a:gd name="T40" fmla="*/ 556 w 556"/>
                <a:gd name="T4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6" h="116">
                  <a:moveTo>
                    <a:pt x="556" y="0"/>
                  </a:moveTo>
                  <a:lnTo>
                    <a:pt x="556" y="0"/>
                  </a:lnTo>
                  <a:lnTo>
                    <a:pt x="497" y="16"/>
                  </a:lnTo>
                  <a:lnTo>
                    <a:pt x="439" y="32"/>
                  </a:lnTo>
                  <a:lnTo>
                    <a:pt x="385" y="46"/>
                  </a:lnTo>
                  <a:lnTo>
                    <a:pt x="333" y="58"/>
                  </a:lnTo>
                  <a:lnTo>
                    <a:pt x="284" y="69"/>
                  </a:lnTo>
                  <a:lnTo>
                    <a:pt x="239" y="79"/>
                  </a:lnTo>
                  <a:lnTo>
                    <a:pt x="157" y="94"/>
                  </a:lnTo>
                  <a:lnTo>
                    <a:pt x="91" y="105"/>
                  </a:lnTo>
                  <a:lnTo>
                    <a:pt x="41" y="11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66" y="107"/>
                  </a:lnTo>
                  <a:lnTo>
                    <a:pt x="135" y="96"/>
                  </a:lnTo>
                  <a:lnTo>
                    <a:pt x="203" y="83"/>
                  </a:lnTo>
                  <a:lnTo>
                    <a:pt x="273" y="70"/>
                  </a:lnTo>
                  <a:lnTo>
                    <a:pt x="344" y="55"/>
                  </a:lnTo>
                  <a:lnTo>
                    <a:pt x="414" y="38"/>
                  </a:lnTo>
                  <a:lnTo>
                    <a:pt x="485" y="20"/>
                  </a:lnTo>
                  <a:lnTo>
                    <a:pt x="5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9" name="Freeform 66"/>
            <p:cNvSpPr>
              <a:spLocks/>
            </p:cNvSpPr>
            <p:nvPr/>
          </p:nvSpPr>
          <p:spPr bwMode="auto">
            <a:xfrm flipH="1">
              <a:off x="6921102" y="2926687"/>
              <a:ext cx="2580" cy="0"/>
            </a:xfrm>
            <a:custGeom>
              <a:avLst/>
              <a:gdLst>
                <a:gd name="T0" fmla="*/ 14 w 14"/>
                <a:gd name="T1" fmla="*/ 0 h 5"/>
                <a:gd name="T2" fmla="*/ 14 w 14"/>
                <a:gd name="T3" fmla="*/ 0 h 5"/>
                <a:gd name="T4" fmla="*/ 0 w 14"/>
                <a:gd name="T5" fmla="*/ 5 h 5"/>
                <a:gd name="T6" fmla="*/ 0 w 14"/>
                <a:gd name="T7" fmla="*/ 5 h 5"/>
                <a:gd name="T8" fmla="*/ 14 w 1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1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0" name="Freeform 67"/>
            <p:cNvSpPr>
              <a:spLocks/>
            </p:cNvSpPr>
            <p:nvPr/>
          </p:nvSpPr>
          <p:spPr bwMode="auto">
            <a:xfrm flipH="1">
              <a:off x="6921102" y="2926687"/>
              <a:ext cx="2580" cy="0"/>
            </a:xfrm>
            <a:custGeom>
              <a:avLst/>
              <a:gdLst>
                <a:gd name="T0" fmla="*/ 14 w 14"/>
                <a:gd name="T1" fmla="*/ 0 h 5"/>
                <a:gd name="T2" fmla="*/ 14 w 14"/>
                <a:gd name="T3" fmla="*/ 0 h 5"/>
                <a:gd name="T4" fmla="*/ 0 w 14"/>
                <a:gd name="T5" fmla="*/ 5 h 5"/>
                <a:gd name="T6" fmla="*/ 0 w 14"/>
                <a:gd name="T7" fmla="*/ 5 h 5"/>
                <a:gd name="T8" fmla="*/ 14 w 1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1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1" name="Freeform 68"/>
            <p:cNvSpPr>
              <a:spLocks/>
            </p:cNvSpPr>
            <p:nvPr/>
          </p:nvSpPr>
          <p:spPr bwMode="auto">
            <a:xfrm flipH="1">
              <a:off x="6793383" y="2749969"/>
              <a:ext cx="252858" cy="194778"/>
            </a:xfrm>
            <a:custGeom>
              <a:avLst/>
              <a:gdLst>
                <a:gd name="T0" fmla="*/ 1101 w 1372"/>
                <a:gd name="T1" fmla="*/ 0 h 1352"/>
                <a:gd name="T2" fmla="*/ 1101 w 1372"/>
                <a:gd name="T3" fmla="*/ 0 h 1352"/>
                <a:gd name="T4" fmla="*/ 1372 w 1372"/>
                <a:gd name="T5" fmla="*/ 930 h 1352"/>
                <a:gd name="T6" fmla="*/ 1371 w 1372"/>
                <a:gd name="T7" fmla="*/ 930 h 1352"/>
                <a:gd name="T8" fmla="*/ 1371 w 1372"/>
                <a:gd name="T9" fmla="*/ 930 h 1352"/>
                <a:gd name="T10" fmla="*/ 1329 w 1372"/>
                <a:gd name="T11" fmla="*/ 955 h 1352"/>
                <a:gd name="T12" fmla="*/ 1285 w 1372"/>
                <a:gd name="T13" fmla="*/ 978 h 1352"/>
                <a:gd name="T14" fmla="*/ 1241 w 1372"/>
                <a:gd name="T15" fmla="*/ 1001 h 1352"/>
                <a:gd name="T16" fmla="*/ 1198 w 1372"/>
                <a:gd name="T17" fmla="*/ 1023 h 1352"/>
                <a:gd name="T18" fmla="*/ 1154 w 1372"/>
                <a:gd name="T19" fmla="*/ 1045 h 1352"/>
                <a:gd name="T20" fmla="*/ 1110 w 1372"/>
                <a:gd name="T21" fmla="*/ 1065 h 1352"/>
                <a:gd name="T22" fmla="*/ 1068 w 1372"/>
                <a:gd name="T23" fmla="*/ 1085 h 1352"/>
                <a:gd name="T24" fmla="*/ 1024 w 1372"/>
                <a:gd name="T25" fmla="*/ 1102 h 1352"/>
                <a:gd name="T26" fmla="*/ 981 w 1372"/>
                <a:gd name="T27" fmla="*/ 1120 h 1352"/>
                <a:gd name="T28" fmla="*/ 940 w 1372"/>
                <a:gd name="T29" fmla="*/ 1137 h 1352"/>
                <a:gd name="T30" fmla="*/ 857 w 1372"/>
                <a:gd name="T31" fmla="*/ 1168 h 1352"/>
                <a:gd name="T32" fmla="*/ 776 w 1372"/>
                <a:gd name="T33" fmla="*/ 1196 h 1352"/>
                <a:gd name="T34" fmla="*/ 697 w 1372"/>
                <a:gd name="T35" fmla="*/ 1222 h 1352"/>
                <a:gd name="T36" fmla="*/ 697 w 1372"/>
                <a:gd name="T37" fmla="*/ 1222 h 1352"/>
                <a:gd name="T38" fmla="*/ 693 w 1372"/>
                <a:gd name="T39" fmla="*/ 1223 h 1352"/>
                <a:gd name="T40" fmla="*/ 693 w 1372"/>
                <a:gd name="T41" fmla="*/ 1223 h 1352"/>
                <a:gd name="T42" fmla="*/ 676 w 1372"/>
                <a:gd name="T43" fmla="*/ 1228 h 1352"/>
                <a:gd name="T44" fmla="*/ 676 w 1372"/>
                <a:gd name="T45" fmla="*/ 1228 h 1352"/>
                <a:gd name="T46" fmla="*/ 662 w 1372"/>
                <a:gd name="T47" fmla="*/ 1233 h 1352"/>
                <a:gd name="T48" fmla="*/ 662 w 1372"/>
                <a:gd name="T49" fmla="*/ 1233 h 1352"/>
                <a:gd name="T50" fmla="*/ 651 w 1372"/>
                <a:gd name="T51" fmla="*/ 1236 h 1352"/>
                <a:gd name="T52" fmla="*/ 651 w 1372"/>
                <a:gd name="T53" fmla="*/ 1236 h 1352"/>
                <a:gd name="T54" fmla="*/ 580 w 1372"/>
                <a:gd name="T55" fmla="*/ 1256 h 1352"/>
                <a:gd name="T56" fmla="*/ 509 w 1372"/>
                <a:gd name="T57" fmla="*/ 1274 h 1352"/>
                <a:gd name="T58" fmla="*/ 439 w 1372"/>
                <a:gd name="T59" fmla="*/ 1291 h 1352"/>
                <a:gd name="T60" fmla="*/ 368 w 1372"/>
                <a:gd name="T61" fmla="*/ 1306 h 1352"/>
                <a:gd name="T62" fmla="*/ 298 w 1372"/>
                <a:gd name="T63" fmla="*/ 1319 h 1352"/>
                <a:gd name="T64" fmla="*/ 230 w 1372"/>
                <a:gd name="T65" fmla="*/ 1332 h 1352"/>
                <a:gd name="T66" fmla="*/ 161 w 1372"/>
                <a:gd name="T67" fmla="*/ 1343 h 1352"/>
                <a:gd name="T68" fmla="*/ 95 w 1372"/>
                <a:gd name="T69" fmla="*/ 1352 h 1352"/>
                <a:gd name="T70" fmla="*/ 95 w 1372"/>
                <a:gd name="T71" fmla="*/ 1352 h 1352"/>
                <a:gd name="T72" fmla="*/ 0 w 1372"/>
                <a:gd name="T73" fmla="*/ 389 h 1352"/>
                <a:gd name="T74" fmla="*/ 0 w 1372"/>
                <a:gd name="T75" fmla="*/ 389 h 1352"/>
                <a:gd name="T76" fmla="*/ 86 w 1372"/>
                <a:gd name="T77" fmla="*/ 375 h 1352"/>
                <a:gd name="T78" fmla="*/ 172 w 1372"/>
                <a:gd name="T79" fmla="*/ 359 h 1352"/>
                <a:gd name="T80" fmla="*/ 255 w 1372"/>
                <a:gd name="T81" fmla="*/ 343 h 1352"/>
                <a:gd name="T82" fmla="*/ 335 w 1372"/>
                <a:gd name="T83" fmla="*/ 325 h 1352"/>
                <a:gd name="T84" fmla="*/ 414 w 1372"/>
                <a:gd name="T85" fmla="*/ 305 h 1352"/>
                <a:gd name="T86" fmla="*/ 490 w 1372"/>
                <a:gd name="T87" fmla="*/ 283 h 1352"/>
                <a:gd name="T88" fmla="*/ 563 w 1372"/>
                <a:gd name="T89" fmla="*/ 260 h 1352"/>
                <a:gd name="T90" fmla="*/ 634 w 1372"/>
                <a:gd name="T91" fmla="*/ 237 h 1352"/>
                <a:gd name="T92" fmla="*/ 703 w 1372"/>
                <a:gd name="T93" fmla="*/ 212 h 1352"/>
                <a:gd name="T94" fmla="*/ 769 w 1372"/>
                <a:gd name="T95" fmla="*/ 184 h 1352"/>
                <a:gd name="T96" fmla="*/ 832 w 1372"/>
                <a:gd name="T97" fmla="*/ 157 h 1352"/>
                <a:gd name="T98" fmla="*/ 892 w 1372"/>
                <a:gd name="T99" fmla="*/ 128 h 1352"/>
                <a:gd name="T100" fmla="*/ 949 w 1372"/>
                <a:gd name="T101" fmla="*/ 98 h 1352"/>
                <a:gd name="T102" fmla="*/ 976 w 1372"/>
                <a:gd name="T103" fmla="*/ 82 h 1352"/>
                <a:gd name="T104" fmla="*/ 1003 w 1372"/>
                <a:gd name="T105" fmla="*/ 67 h 1352"/>
                <a:gd name="T106" fmla="*/ 1029 w 1372"/>
                <a:gd name="T107" fmla="*/ 50 h 1352"/>
                <a:gd name="T108" fmla="*/ 1054 w 1372"/>
                <a:gd name="T109" fmla="*/ 34 h 1352"/>
                <a:gd name="T110" fmla="*/ 1078 w 1372"/>
                <a:gd name="T111" fmla="*/ 18 h 1352"/>
                <a:gd name="T112" fmla="*/ 1101 w 1372"/>
                <a:gd name="T113" fmla="*/ 0 h 1352"/>
                <a:gd name="T114" fmla="*/ 1101 w 1372"/>
                <a:gd name="T115" fmla="*/ 0 h 1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72" h="1352">
                  <a:moveTo>
                    <a:pt x="1101" y="0"/>
                  </a:moveTo>
                  <a:lnTo>
                    <a:pt x="1101" y="0"/>
                  </a:lnTo>
                  <a:lnTo>
                    <a:pt x="1372" y="930"/>
                  </a:lnTo>
                  <a:lnTo>
                    <a:pt x="1371" y="930"/>
                  </a:lnTo>
                  <a:lnTo>
                    <a:pt x="1371" y="930"/>
                  </a:lnTo>
                  <a:lnTo>
                    <a:pt x="1329" y="955"/>
                  </a:lnTo>
                  <a:lnTo>
                    <a:pt x="1285" y="978"/>
                  </a:lnTo>
                  <a:lnTo>
                    <a:pt x="1241" y="1001"/>
                  </a:lnTo>
                  <a:lnTo>
                    <a:pt x="1198" y="1023"/>
                  </a:lnTo>
                  <a:lnTo>
                    <a:pt x="1154" y="1045"/>
                  </a:lnTo>
                  <a:lnTo>
                    <a:pt x="1110" y="1065"/>
                  </a:lnTo>
                  <a:lnTo>
                    <a:pt x="1068" y="1085"/>
                  </a:lnTo>
                  <a:lnTo>
                    <a:pt x="1024" y="1102"/>
                  </a:lnTo>
                  <a:lnTo>
                    <a:pt x="981" y="1120"/>
                  </a:lnTo>
                  <a:lnTo>
                    <a:pt x="940" y="1137"/>
                  </a:lnTo>
                  <a:lnTo>
                    <a:pt x="857" y="1168"/>
                  </a:lnTo>
                  <a:lnTo>
                    <a:pt x="776" y="1196"/>
                  </a:lnTo>
                  <a:lnTo>
                    <a:pt x="697" y="1222"/>
                  </a:lnTo>
                  <a:lnTo>
                    <a:pt x="697" y="1222"/>
                  </a:lnTo>
                  <a:lnTo>
                    <a:pt x="693" y="1223"/>
                  </a:lnTo>
                  <a:lnTo>
                    <a:pt x="693" y="1223"/>
                  </a:lnTo>
                  <a:lnTo>
                    <a:pt x="676" y="1228"/>
                  </a:lnTo>
                  <a:lnTo>
                    <a:pt x="676" y="1228"/>
                  </a:lnTo>
                  <a:lnTo>
                    <a:pt x="662" y="1233"/>
                  </a:lnTo>
                  <a:lnTo>
                    <a:pt x="662" y="1233"/>
                  </a:lnTo>
                  <a:lnTo>
                    <a:pt x="651" y="1236"/>
                  </a:lnTo>
                  <a:lnTo>
                    <a:pt x="651" y="1236"/>
                  </a:lnTo>
                  <a:lnTo>
                    <a:pt x="580" y="1256"/>
                  </a:lnTo>
                  <a:lnTo>
                    <a:pt x="509" y="1274"/>
                  </a:lnTo>
                  <a:lnTo>
                    <a:pt x="439" y="1291"/>
                  </a:lnTo>
                  <a:lnTo>
                    <a:pt x="368" y="1306"/>
                  </a:lnTo>
                  <a:lnTo>
                    <a:pt x="298" y="1319"/>
                  </a:lnTo>
                  <a:lnTo>
                    <a:pt x="230" y="1332"/>
                  </a:lnTo>
                  <a:lnTo>
                    <a:pt x="161" y="1343"/>
                  </a:lnTo>
                  <a:lnTo>
                    <a:pt x="95" y="1352"/>
                  </a:lnTo>
                  <a:lnTo>
                    <a:pt x="95" y="1352"/>
                  </a:lnTo>
                  <a:lnTo>
                    <a:pt x="0" y="389"/>
                  </a:lnTo>
                  <a:lnTo>
                    <a:pt x="0" y="389"/>
                  </a:lnTo>
                  <a:lnTo>
                    <a:pt x="86" y="375"/>
                  </a:lnTo>
                  <a:lnTo>
                    <a:pt x="172" y="359"/>
                  </a:lnTo>
                  <a:lnTo>
                    <a:pt x="255" y="343"/>
                  </a:lnTo>
                  <a:lnTo>
                    <a:pt x="335" y="325"/>
                  </a:lnTo>
                  <a:lnTo>
                    <a:pt x="414" y="305"/>
                  </a:lnTo>
                  <a:lnTo>
                    <a:pt x="490" y="283"/>
                  </a:lnTo>
                  <a:lnTo>
                    <a:pt x="563" y="260"/>
                  </a:lnTo>
                  <a:lnTo>
                    <a:pt x="634" y="237"/>
                  </a:lnTo>
                  <a:lnTo>
                    <a:pt x="703" y="212"/>
                  </a:lnTo>
                  <a:lnTo>
                    <a:pt x="769" y="184"/>
                  </a:lnTo>
                  <a:lnTo>
                    <a:pt x="832" y="157"/>
                  </a:lnTo>
                  <a:lnTo>
                    <a:pt x="892" y="128"/>
                  </a:lnTo>
                  <a:lnTo>
                    <a:pt x="949" y="98"/>
                  </a:lnTo>
                  <a:lnTo>
                    <a:pt x="976" y="82"/>
                  </a:lnTo>
                  <a:lnTo>
                    <a:pt x="1003" y="67"/>
                  </a:lnTo>
                  <a:lnTo>
                    <a:pt x="1029" y="50"/>
                  </a:lnTo>
                  <a:lnTo>
                    <a:pt x="1054" y="34"/>
                  </a:lnTo>
                  <a:lnTo>
                    <a:pt x="1078" y="18"/>
                  </a:lnTo>
                  <a:lnTo>
                    <a:pt x="1101" y="0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2" name="Freeform 69"/>
            <p:cNvSpPr>
              <a:spLocks/>
            </p:cNvSpPr>
            <p:nvPr/>
          </p:nvSpPr>
          <p:spPr bwMode="auto">
            <a:xfrm flipH="1">
              <a:off x="6939163" y="2370733"/>
              <a:ext cx="158681" cy="161240"/>
            </a:xfrm>
            <a:custGeom>
              <a:avLst/>
              <a:gdLst>
                <a:gd name="T0" fmla="*/ 0 w 861"/>
                <a:gd name="T1" fmla="*/ 200 h 1125"/>
                <a:gd name="T2" fmla="*/ 0 w 861"/>
                <a:gd name="T3" fmla="*/ 200 h 1125"/>
                <a:gd name="T4" fmla="*/ 47 w 861"/>
                <a:gd name="T5" fmla="*/ 194 h 1125"/>
                <a:gd name="T6" fmla="*/ 93 w 861"/>
                <a:gd name="T7" fmla="*/ 186 h 1125"/>
                <a:gd name="T8" fmla="*/ 139 w 861"/>
                <a:gd name="T9" fmla="*/ 178 h 1125"/>
                <a:gd name="T10" fmla="*/ 182 w 861"/>
                <a:gd name="T11" fmla="*/ 168 h 1125"/>
                <a:gd name="T12" fmla="*/ 225 w 861"/>
                <a:gd name="T13" fmla="*/ 158 h 1125"/>
                <a:gd name="T14" fmla="*/ 267 w 861"/>
                <a:gd name="T15" fmla="*/ 146 h 1125"/>
                <a:gd name="T16" fmla="*/ 307 w 861"/>
                <a:gd name="T17" fmla="*/ 135 h 1125"/>
                <a:gd name="T18" fmla="*/ 347 w 861"/>
                <a:gd name="T19" fmla="*/ 122 h 1125"/>
                <a:gd name="T20" fmla="*/ 384 w 861"/>
                <a:gd name="T21" fmla="*/ 109 h 1125"/>
                <a:gd name="T22" fmla="*/ 420 w 861"/>
                <a:gd name="T23" fmla="*/ 95 h 1125"/>
                <a:gd name="T24" fmla="*/ 456 w 861"/>
                <a:gd name="T25" fmla="*/ 81 h 1125"/>
                <a:gd name="T26" fmla="*/ 490 w 861"/>
                <a:gd name="T27" fmla="*/ 66 h 1125"/>
                <a:gd name="T28" fmla="*/ 522 w 861"/>
                <a:gd name="T29" fmla="*/ 50 h 1125"/>
                <a:gd name="T30" fmla="*/ 553 w 861"/>
                <a:gd name="T31" fmla="*/ 34 h 1125"/>
                <a:gd name="T32" fmla="*/ 583 w 861"/>
                <a:gd name="T33" fmla="*/ 17 h 1125"/>
                <a:gd name="T34" fmla="*/ 610 w 861"/>
                <a:gd name="T35" fmla="*/ 0 h 1125"/>
                <a:gd name="T36" fmla="*/ 610 w 861"/>
                <a:gd name="T37" fmla="*/ 0 h 1125"/>
                <a:gd name="T38" fmla="*/ 861 w 861"/>
                <a:gd name="T39" fmla="*/ 863 h 1125"/>
                <a:gd name="T40" fmla="*/ 861 w 861"/>
                <a:gd name="T41" fmla="*/ 863 h 1125"/>
                <a:gd name="T42" fmla="*/ 827 w 861"/>
                <a:gd name="T43" fmla="*/ 886 h 1125"/>
                <a:gd name="T44" fmla="*/ 791 w 861"/>
                <a:gd name="T45" fmla="*/ 908 h 1125"/>
                <a:gd name="T46" fmla="*/ 752 w 861"/>
                <a:gd name="T47" fmla="*/ 929 h 1125"/>
                <a:gd name="T48" fmla="*/ 711 w 861"/>
                <a:gd name="T49" fmla="*/ 950 h 1125"/>
                <a:gd name="T50" fmla="*/ 669 w 861"/>
                <a:gd name="T51" fmla="*/ 968 h 1125"/>
                <a:gd name="T52" fmla="*/ 625 w 861"/>
                <a:gd name="T53" fmla="*/ 987 h 1125"/>
                <a:gd name="T54" fmla="*/ 578 w 861"/>
                <a:gd name="T55" fmla="*/ 1006 h 1125"/>
                <a:gd name="T56" fmla="*/ 531 w 861"/>
                <a:gd name="T57" fmla="*/ 1023 h 1125"/>
                <a:gd name="T58" fmla="*/ 481 w 861"/>
                <a:gd name="T59" fmla="*/ 1038 h 1125"/>
                <a:gd name="T60" fmla="*/ 430 w 861"/>
                <a:gd name="T61" fmla="*/ 1054 h 1125"/>
                <a:gd name="T62" fmla="*/ 377 w 861"/>
                <a:gd name="T63" fmla="*/ 1068 h 1125"/>
                <a:gd name="T64" fmla="*/ 323 w 861"/>
                <a:gd name="T65" fmla="*/ 1082 h 1125"/>
                <a:gd name="T66" fmla="*/ 267 w 861"/>
                <a:gd name="T67" fmla="*/ 1094 h 1125"/>
                <a:gd name="T68" fmla="*/ 209 w 861"/>
                <a:gd name="T69" fmla="*/ 1105 h 1125"/>
                <a:gd name="T70" fmla="*/ 151 w 861"/>
                <a:gd name="T71" fmla="*/ 1115 h 1125"/>
                <a:gd name="T72" fmla="*/ 91 w 861"/>
                <a:gd name="T73" fmla="*/ 1125 h 1125"/>
                <a:gd name="T74" fmla="*/ 91 w 861"/>
                <a:gd name="T75" fmla="*/ 1125 h 1125"/>
                <a:gd name="T76" fmla="*/ 0 w 861"/>
                <a:gd name="T77" fmla="*/ 200 h 1125"/>
                <a:gd name="T78" fmla="*/ 0 w 861"/>
                <a:gd name="T79" fmla="*/ 200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1" h="1125">
                  <a:moveTo>
                    <a:pt x="0" y="200"/>
                  </a:moveTo>
                  <a:lnTo>
                    <a:pt x="0" y="200"/>
                  </a:lnTo>
                  <a:lnTo>
                    <a:pt x="47" y="194"/>
                  </a:lnTo>
                  <a:lnTo>
                    <a:pt x="93" y="186"/>
                  </a:lnTo>
                  <a:lnTo>
                    <a:pt x="139" y="178"/>
                  </a:lnTo>
                  <a:lnTo>
                    <a:pt x="182" y="168"/>
                  </a:lnTo>
                  <a:lnTo>
                    <a:pt x="225" y="158"/>
                  </a:lnTo>
                  <a:lnTo>
                    <a:pt x="267" y="146"/>
                  </a:lnTo>
                  <a:lnTo>
                    <a:pt x="307" y="135"/>
                  </a:lnTo>
                  <a:lnTo>
                    <a:pt x="347" y="122"/>
                  </a:lnTo>
                  <a:lnTo>
                    <a:pt x="384" y="109"/>
                  </a:lnTo>
                  <a:lnTo>
                    <a:pt x="420" y="95"/>
                  </a:lnTo>
                  <a:lnTo>
                    <a:pt x="456" y="81"/>
                  </a:lnTo>
                  <a:lnTo>
                    <a:pt x="490" y="66"/>
                  </a:lnTo>
                  <a:lnTo>
                    <a:pt x="522" y="50"/>
                  </a:lnTo>
                  <a:lnTo>
                    <a:pt x="553" y="34"/>
                  </a:lnTo>
                  <a:lnTo>
                    <a:pt x="583" y="17"/>
                  </a:lnTo>
                  <a:lnTo>
                    <a:pt x="610" y="0"/>
                  </a:lnTo>
                  <a:lnTo>
                    <a:pt x="610" y="0"/>
                  </a:lnTo>
                  <a:lnTo>
                    <a:pt x="861" y="863"/>
                  </a:lnTo>
                  <a:lnTo>
                    <a:pt x="861" y="863"/>
                  </a:lnTo>
                  <a:lnTo>
                    <a:pt x="827" y="886"/>
                  </a:lnTo>
                  <a:lnTo>
                    <a:pt x="791" y="908"/>
                  </a:lnTo>
                  <a:lnTo>
                    <a:pt x="752" y="929"/>
                  </a:lnTo>
                  <a:lnTo>
                    <a:pt x="711" y="950"/>
                  </a:lnTo>
                  <a:lnTo>
                    <a:pt x="669" y="968"/>
                  </a:lnTo>
                  <a:lnTo>
                    <a:pt x="625" y="987"/>
                  </a:lnTo>
                  <a:lnTo>
                    <a:pt x="578" y="1006"/>
                  </a:lnTo>
                  <a:lnTo>
                    <a:pt x="531" y="1023"/>
                  </a:lnTo>
                  <a:lnTo>
                    <a:pt x="481" y="1038"/>
                  </a:lnTo>
                  <a:lnTo>
                    <a:pt x="430" y="1054"/>
                  </a:lnTo>
                  <a:lnTo>
                    <a:pt x="377" y="1068"/>
                  </a:lnTo>
                  <a:lnTo>
                    <a:pt x="323" y="1082"/>
                  </a:lnTo>
                  <a:lnTo>
                    <a:pt x="267" y="1094"/>
                  </a:lnTo>
                  <a:lnTo>
                    <a:pt x="209" y="1105"/>
                  </a:lnTo>
                  <a:lnTo>
                    <a:pt x="151" y="1115"/>
                  </a:lnTo>
                  <a:lnTo>
                    <a:pt x="91" y="1125"/>
                  </a:lnTo>
                  <a:lnTo>
                    <a:pt x="91" y="1125"/>
                  </a:lnTo>
                  <a:lnTo>
                    <a:pt x="0" y="20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3" name="Freeform 70"/>
            <p:cNvSpPr>
              <a:spLocks/>
            </p:cNvSpPr>
            <p:nvPr/>
          </p:nvSpPr>
          <p:spPr bwMode="auto">
            <a:xfrm flipH="1">
              <a:off x="6843696" y="2626136"/>
              <a:ext cx="219315" cy="180588"/>
            </a:xfrm>
            <a:custGeom>
              <a:avLst/>
              <a:gdLst>
                <a:gd name="T0" fmla="*/ 939 w 1192"/>
                <a:gd name="T1" fmla="*/ 0 h 1258"/>
                <a:gd name="T2" fmla="*/ 939 w 1192"/>
                <a:gd name="T3" fmla="*/ 0 h 1258"/>
                <a:gd name="T4" fmla="*/ 1192 w 1192"/>
                <a:gd name="T5" fmla="*/ 869 h 1258"/>
                <a:gd name="T6" fmla="*/ 1192 w 1192"/>
                <a:gd name="T7" fmla="*/ 869 h 1258"/>
                <a:gd name="T8" fmla="*/ 1169 w 1192"/>
                <a:gd name="T9" fmla="*/ 887 h 1258"/>
                <a:gd name="T10" fmla="*/ 1145 w 1192"/>
                <a:gd name="T11" fmla="*/ 903 h 1258"/>
                <a:gd name="T12" fmla="*/ 1120 w 1192"/>
                <a:gd name="T13" fmla="*/ 919 h 1258"/>
                <a:gd name="T14" fmla="*/ 1094 w 1192"/>
                <a:gd name="T15" fmla="*/ 936 h 1258"/>
                <a:gd name="T16" fmla="*/ 1067 w 1192"/>
                <a:gd name="T17" fmla="*/ 951 h 1258"/>
                <a:gd name="T18" fmla="*/ 1040 w 1192"/>
                <a:gd name="T19" fmla="*/ 967 h 1258"/>
                <a:gd name="T20" fmla="*/ 983 w 1192"/>
                <a:gd name="T21" fmla="*/ 997 h 1258"/>
                <a:gd name="T22" fmla="*/ 923 w 1192"/>
                <a:gd name="T23" fmla="*/ 1026 h 1258"/>
                <a:gd name="T24" fmla="*/ 860 w 1192"/>
                <a:gd name="T25" fmla="*/ 1053 h 1258"/>
                <a:gd name="T26" fmla="*/ 794 w 1192"/>
                <a:gd name="T27" fmla="*/ 1081 h 1258"/>
                <a:gd name="T28" fmla="*/ 725 w 1192"/>
                <a:gd name="T29" fmla="*/ 1106 h 1258"/>
                <a:gd name="T30" fmla="*/ 654 w 1192"/>
                <a:gd name="T31" fmla="*/ 1129 h 1258"/>
                <a:gd name="T32" fmla="*/ 581 w 1192"/>
                <a:gd name="T33" fmla="*/ 1152 h 1258"/>
                <a:gd name="T34" fmla="*/ 505 w 1192"/>
                <a:gd name="T35" fmla="*/ 1174 h 1258"/>
                <a:gd name="T36" fmla="*/ 426 w 1192"/>
                <a:gd name="T37" fmla="*/ 1194 h 1258"/>
                <a:gd name="T38" fmla="*/ 346 w 1192"/>
                <a:gd name="T39" fmla="*/ 1212 h 1258"/>
                <a:gd name="T40" fmla="*/ 263 w 1192"/>
                <a:gd name="T41" fmla="*/ 1228 h 1258"/>
                <a:gd name="T42" fmla="*/ 177 w 1192"/>
                <a:gd name="T43" fmla="*/ 1244 h 1258"/>
                <a:gd name="T44" fmla="*/ 91 w 1192"/>
                <a:gd name="T45" fmla="*/ 1258 h 1258"/>
                <a:gd name="T46" fmla="*/ 91 w 1192"/>
                <a:gd name="T47" fmla="*/ 1258 h 1258"/>
                <a:gd name="T48" fmla="*/ 0 w 1192"/>
                <a:gd name="T49" fmla="*/ 329 h 1258"/>
                <a:gd name="T50" fmla="*/ 0 w 1192"/>
                <a:gd name="T51" fmla="*/ 329 h 1258"/>
                <a:gd name="T52" fmla="*/ 73 w 1192"/>
                <a:gd name="T53" fmla="*/ 318 h 1258"/>
                <a:gd name="T54" fmla="*/ 146 w 1192"/>
                <a:gd name="T55" fmla="*/ 305 h 1258"/>
                <a:gd name="T56" fmla="*/ 216 w 1192"/>
                <a:gd name="T57" fmla="*/ 291 h 1258"/>
                <a:gd name="T58" fmla="*/ 284 w 1192"/>
                <a:gd name="T59" fmla="*/ 275 h 1258"/>
                <a:gd name="T60" fmla="*/ 352 w 1192"/>
                <a:gd name="T61" fmla="*/ 258 h 1258"/>
                <a:gd name="T62" fmla="*/ 416 w 1192"/>
                <a:gd name="T63" fmla="*/ 241 h 1258"/>
                <a:gd name="T64" fmla="*/ 480 w 1192"/>
                <a:gd name="T65" fmla="*/ 221 h 1258"/>
                <a:gd name="T66" fmla="*/ 540 w 1192"/>
                <a:gd name="T67" fmla="*/ 200 h 1258"/>
                <a:gd name="T68" fmla="*/ 598 w 1192"/>
                <a:gd name="T69" fmla="*/ 179 h 1258"/>
                <a:gd name="T70" fmla="*/ 654 w 1192"/>
                <a:gd name="T71" fmla="*/ 156 h 1258"/>
                <a:gd name="T72" fmla="*/ 709 w 1192"/>
                <a:gd name="T73" fmla="*/ 132 h 1258"/>
                <a:gd name="T74" fmla="*/ 761 w 1192"/>
                <a:gd name="T75" fmla="*/ 108 h 1258"/>
                <a:gd name="T76" fmla="*/ 809 w 1192"/>
                <a:gd name="T77" fmla="*/ 82 h 1258"/>
                <a:gd name="T78" fmla="*/ 855 w 1192"/>
                <a:gd name="T79" fmla="*/ 56 h 1258"/>
                <a:gd name="T80" fmla="*/ 899 w 1192"/>
                <a:gd name="T81" fmla="*/ 28 h 1258"/>
                <a:gd name="T82" fmla="*/ 939 w 1192"/>
                <a:gd name="T83" fmla="*/ 0 h 1258"/>
                <a:gd name="T84" fmla="*/ 939 w 1192"/>
                <a:gd name="T85" fmla="*/ 0 h 1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92" h="1258">
                  <a:moveTo>
                    <a:pt x="939" y="0"/>
                  </a:moveTo>
                  <a:lnTo>
                    <a:pt x="939" y="0"/>
                  </a:lnTo>
                  <a:lnTo>
                    <a:pt x="1192" y="869"/>
                  </a:lnTo>
                  <a:lnTo>
                    <a:pt x="1192" y="869"/>
                  </a:lnTo>
                  <a:lnTo>
                    <a:pt x="1169" y="887"/>
                  </a:lnTo>
                  <a:lnTo>
                    <a:pt x="1145" y="903"/>
                  </a:lnTo>
                  <a:lnTo>
                    <a:pt x="1120" y="919"/>
                  </a:lnTo>
                  <a:lnTo>
                    <a:pt x="1094" y="936"/>
                  </a:lnTo>
                  <a:lnTo>
                    <a:pt x="1067" y="951"/>
                  </a:lnTo>
                  <a:lnTo>
                    <a:pt x="1040" y="967"/>
                  </a:lnTo>
                  <a:lnTo>
                    <a:pt x="983" y="997"/>
                  </a:lnTo>
                  <a:lnTo>
                    <a:pt x="923" y="1026"/>
                  </a:lnTo>
                  <a:lnTo>
                    <a:pt x="860" y="1053"/>
                  </a:lnTo>
                  <a:lnTo>
                    <a:pt x="794" y="1081"/>
                  </a:lnTo>
                  <a:lnTo>
                    <a:pt x="725" y="1106"/>
                  </a:lnTo>
                  <a:lnTo>
                    <a:pt x="654" y="1129"/>
                  </a:lnTo>
                  <a:lnTo>
                    <a:pt x="581" y="1152"/>
                  </a:lnTo>
                  <a:lnTo>
                    <a:pt x="505" y="1174"/>
                  </a:lnTo>
                  <a:lnTo>
                    <a:pt x="426" y="1194"/>
                  </a:lnTo>
                  <a:lnTo>
                    <a:pt x="346" y="1212"/>
                  </a:lnTo>
                  <a:lnTo>
                    <a:pt x="263" y="1228"/>
                  </a:lnTo>
                  <a:lnTo>
                    <a:pt x="177" y="1244"/>
                  </a:lnTo>
                  <a:lnTo>
                    <a:pt x="91" y="1258"/>
                  </a:lnTo>
                  <a:lnTo>
                    <a:pt x="91" y="1258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73" y="318"/>
                  </a:lnTo>
                  <a:lnTo>
                    <a:pt x="146" y="305"/>
                  </a:lnTo>
                  <a:lnTo>
                    <a:pt x="216" y="291"/>
                  </a:lnTo>
                  <a:lnTo>
                    <a:pt x="284" y="275"/>
                  </a:lnTo>
                  <a:lnTo>
                    <a:pt x="352" y="258"/>
                  </a:lnTo>
                  <a:lnTo>
                    <a:pt x="416" y="241"/>
                  </a:lnTo>
                  <a:lnTo>
                    <a:pt x="480" y="221"/>
                  </a:lnTo>
                  <a:lnTo>
                    <a:pt x="540" y="200"/>
                  </a:lnTo>
                  <a:lnTo>
                    <a:pt x="598" y="179"/>
                  </a:lnTo>
                  <a:lnTo>
                    <a:pt x="654" y="156"/>
                  </a:lnTo>
                  <a:lnTo>
                    <a:pt x="709" y="132"/>
                  </a:lnTo>
                  <a:lnTo>
                    <a:pt x="761" y="108"/>
                  </a:lnTo>
                  <a:lnTo>
                    <a:pt x="809" y="82"/>
                  </a:lnTo>
                  <a:lnTo>
                    <a:pt x="855" y="56"/>
                  </a:lnTo>
                  <a:lnTo>
                    <a:pt x="899" y="28"/>
                  </a:lnTo>
                  <a:lnTo>
                    <a:pt x="939" y="0"/>
                  </a:lnTo>
                  <a:lnTo>
                    <a:pt x="939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4" name="Freeform 71"/>
            <p:cNvSpPr>
              <a:spLocks/>
            </p:cNvSpPr>
            <p:nvPr/>
          </p:nvSpPr>
          <p:spPr bwMode="auto">
            <a:xfrm flipH="1">
              <a:off x="6890140" y="2494565"/>
              <a:ext cx="190933" cy="178009"/>
            </a:xfrm>
            <a:custGeom>
              <a:avLst/>
              <a:gdLst>
                <a:gd name="T0" fmla="*/ 0 w 1036"/>
                <a:gd name="T1" fmla="*/ 262 h 1245"/>
                <a:gd name="T2" fmla="*/ 0 w 1036"/>
                <a:gd name="T3" fmla="*/ 262 h 1245"/>
                <a:gd name="T4" fmla="*/ 60 w 1036"/>
                <a:gd name="T5" fmla="*/ 252 h 1245"/>
                <a:gd name="T6" fmla="*/ 118 w 1036"/>
                <a:gd name="T7" fmla="*/ 242 h 1245"/>
                <a:gd name="T8" fmla="*/ 176 w 1036"/>
                <a:gd name="T9" fmla="*/ 231 h 1245"/>
                <a:gd name="T10" fmla="*/ 232 w 1036"/>
                <a:gd name="T11" fmla="*/ 219 h 1245"/>
                <a:gd name="T12" fmla="*/ 286 w 1036"/>
                <a:gd name="T13" fmla="*/ 205 h 1245"/>
                <a:gd name="T14" fmla="*/ 339 w 1036"/>
                <a:gd name="T15" fmla="*/ 191 h 1245"/>
                <a:gd name="T16" fmla="*/ 390 w 1036"/>
                <a:gd name="T17" fmla="*/ 175 h 1245"/>
                <a:gd name="T18" fmla="*/ 440 w 1036"/>
                <a:gd name="T19" fmla="*/ 160 h 1245"/>
                <a:gd name="T20" fmla="*/ 487 w 1036"/>
                <a:gd name="T21" fmla="*/ 143 h 1245"/>
                <a:gd name="T22" fmla="*/ 534 w 1036"/>
                <a:gd name="T23" fmla="*/ 124 h 1245"/>
                <a:gd name="T24" fmla="*/ 578 w 1036"/>
                <a:gd name="T25" fmla="*/ 105 h 1245"/>
                <a:gd name="T26" fmla="*/ 620 w 1036"/>
                <a:gd name="T27" fmla="*/ 87 h 1245"/>
                <a:gd name="T28" fmla="*/ 661 w 1036"/>
                <a:gd name="T29" fmla="*/ 66 h 1245"/>
                <a:gd name="T30" fmla="*/ 700 w 1036"/>
                <a:gd name="T31" fmla="*/ 45 h 1245"/>
                <a:gd name="T32" fmla="*/ 736 w 1036"/>
                <a:gd name="T33" fmla="*/ 23 h 1245"/>
                <a:gd name="T34" fmla="*/ 770 w 1036"/>
                <a:gd name="T35" fmla="*/ 0 h 1245"/>
                <a:gd name="T36" fmla="*/ 770 w 1036"/>
                <a:gd name="T37" fmla="*/ 0 h 1245"/>
                <a:gd name="T38" fmla="*/ 1036 w 1036"/>
                <a:gd name="T39" fmla="*/ 916 h 1245"/>
                <a:gd name="T40" fmla="*/ 1036 w 1036"/>
                <a:gd name="T41" fmla="*/ 916 h 1245"/>
                <a:gd name="T42" fmla="*/ 996 w 1036"/>
                <a:gd name="T43" fmla="*/ 944 h 1245"/>
                <a:gd name="T44" fmla="*/ 952 w 1036"/>
                <a:gd name="T45" fmla="*/ 972 h 1245"/>
                <a:gd name="T46" fmla="*/ 906 w 1036"/>
                <a:gd name="T47" fmla="*/ 998 h 1245"/>
                <a:gd name="T48" fmla="*/ 858 w 1036"/>
                <a:gd name="T49" fmla="*/ 1024 h 1245"/>
                <a:gd name="T50" fmla="*/ 806 w 1036"/>
                <a:gd name="T51" fmla="*/ 1048 h 1245"/>
                <a:gd name="T52" fmla="*/ 751 w 1036"/>
                <a:gd name="T53" fmla="*/ 1072 h 1245"/>
                <a:gd name="T54" fmla="*/ 695 w 1036"/>
                <a:gd name="T55" fmla="*/ 1095 h 1245"/>
                <a:gd name="T56" fmla="*/ 637 w 1036"/>
                <a:gd name="T57" fmla="*/ 1116 h 1245"/>
                <a:gd name="T58" fmla="*/ 577 w 1036"/>
                <a:gd name="T59" fmla="*/ 1137 h 1245"/>
                <a:gd name="T60" fmla="*/ 513 w 1036"/>
                <a:gd name="T61" fmla="*/ 1157 h 1245"/>
                <a:gd name="T62" fmla="*/ 449 w 1036"/>
                <a:gd name="T63" fmla="*/ 1174 h 1245"/>
                <a:gd name="T64" fmla="*/ 381 w 1036"/>
                <a:gd name="T65" fmla="*/ 1191 h 1245"/>
                <a:gd name="T66" fmla="*/ 313 w 1036"/>
                <a:gd name="T67" fmla="*/ 1207 h 1245"/>
                <a:gd name="T68" fmla="*/ 243 w 1036"/>
                <a:gd name="T69" fmla="*/ 1221 h 1245"/>
                <a:gd name="T70" fmla="*/ 170 w 1036"/>
                <a:gd name="T71" fmla="*/ 1234 h 1245"/>
                <a:gd name="T72" fmla="*/ 97 w 1036"/>
                <a:gd name="T73" fmla="*/ 1245 h 1245"/>
                <a:gd name="T74" fmla="*/ 97 w 1036"/>
                <a:gd name="T75" fmla="*/ 1245 h 1245"/>
                <a:gd name="T76" fmla="*/ 0 w 1036"/>
                <a:gd name="T77" fmla="*/ 262 h 1245"/>
                <a:gd name="T78" fmla="*/ 0 w 1036"/>
                <a:gd name="T79" fmla="*/ 26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36" h="1245">
                  <a:moveTo>
                    <a:pt x="0" y="262"/>
                  </a:moveTo>
                  <a:lnTo>
                    <a:pt x="0" y="262"/>
                  </a:lnTo>
                  <a:lnTo>
                    <a:pt x="60" y="252"/>
                  </a:lnTo>
                  <a:lnTo>
                    <a:pt x="118" y="242"/>
                  </a:lnTo>
                  <a:lnTo>
                    <a:pt x="176" y="231"/>
                  </a:lnTo>
                  <a:lnTo>
                    <a:pt x="232" y="219"/>
                  </a:lnTo>
                  <a:lnTo>
                    <a:pt x="286" y="205"/>
                  </a:lnTo>
                  <a:lnTo>
                    <a:pt x="339" y="191"/>
                  </a:lnTo>
                  <a:lnTo>
                    <a:pt x="390" y="175"/>
                  </a:lnTo>
                  <a:lnTo>
                    <a:pt x="440" y="160"/>
                  </a:lnTo>
                  <a:lnTo>
                    <a:pt x="487" y="143"/>
                  </a:lnTo>
                  <a:lnTo>
                    <a:pt x="534" y="124"/>
                  </a:lnTo>
                  <a:lnTo>
                    <a:pt x="578" y="105"/>
                  </a:lnTo>
                  <a:lnTo>
                    <a:pt x="620" y="87"/>
                  </a:lnTo>
                  <a:lnTo>
                    <a:pt x="661" y="66"/>
                  </a:lnTo>
                  <a:lnTo>
                    <a:pt x="700" y="45"/>
                  </a:lnTo>
                  <a:lnTo>
                    <a:pt x="736" y="23"/>
                  </a:lnTo>
                  <a:lnTo>
                    <a:pt x="770" y="0"/>
                  </a:lnTo>
                  <a:lnTo>
                    <a:pt x="770" y="0"/>
                  </a:lnTo>
                  <a:lnTo>
                    <a:pt x="1036" y="916"/>
                  </a:lnTo>
                  <a:lnTo>
                    <a:pt x="1036" y="916"/>
                  </a:lnTo>
                  <a:lnTo>
                    <a:pt x="996" y="944"/>
                  </a:lnTo>
                  <a:lnTo>
                    <a:pt x="952" y="972"/>
                  </a:lnTo>
                  <a:lnTo>
                    <a:pt x="906" y="998"/>
                  </a:lnTo>
                  <a:lnTo>
                    <a:pt x="858" y="1024"/>
                  </a:lnTo>
                  <a:lnTo>
                    <a:pt x="806" y="1048"/>
                  </a:lnTo>
                  <a:lnTo>
                    <a:pt x="751" y="1072"/>
                  </a:lnTo>
                  <a:lnTo>
                    <a:pt x="695" y="1095"/>
                  </a:lnTo>
                  <a:lnTo>
                    <a:pt x="637" y="1116"/>
                  </a:lnTo>
                  <a:lnTo>
                    <a:pt x="577" y="1137"/>
                  </a:lnTo>
                  <a:lnTo>
                    <a:pt x="513" y="1157"/>
                  </a:lnTo>
                  <a:lnTo>
                    <a:pt x="449" y="1174"/>
                  </a:lnTo>
                  <a:lnTo>
                    <a:pt x="381" y="1191"/>
                  </a:lnTo>
                  <a:lnTo>
                    <a:pt x="313" y="1207"/>
                  </a:lnTo>
                  <a:lnTo>
                    <a:pt x="243" y="1221"/>
                  </a:lnTo>
                  <a:lnTo>
                    <a:pt x="170" y="1234"/>
                  </a:lnTo>
                  <a:lnTo>
                    <a:pt x="97" y="1245"/>
                  </a:lnTo>
                  <a:lnTo>
                    <a:pt x="97" y="1245"/>
                  </a:lnTo>
                  <a:lnTo>
                    <a:pt x="0" y="262"/>
                  </a:lnTo>
                  <a:lnTo>
                    <a:pt x="0" y="26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5" name="Freeform 72"/>
            <p:cNvSpPr>
              <a:spLocks/>
            </p:cNvSpPr>
            <p:nvPr/>
          </p:nvSpPr>
          <p:spPr bwMode="auto">
            <a:xfrm flipH="1">
              <a:off x="6985606" y="2240451"/>
              <a:ext cx="130299" cy="158660"/>
            </a:xfrm>
            <a:custGeom>
              <a:avLst/>
              <a:gdLst>
                <a:gd name="T0" fmla="*/ 0 w 706"/>
                <a:gd name="T1" fmla="*/ 117 h 1110"/>
                <a:gd name="T2" fmla="*/ 0 w 706"/>
                <a:gd name="T3" fmla="*/ 117 h 1110"/>
                <a:gd name="T4" fmla="*/ 63 w 706"/>
                <a:gd name="T5" fmla="*/ 108 h 1110"/>
                <a:gd name="T6" fmla="*/ 124 w 706"/>
                <a:gd name="T7" fmla="*/ 98 h 1110"/>
                <a:gd name="T8" fmla="*/ 184 w 706"/>
                <a:gd name="T9" fmla="*/ 85 h 1110"/>
                <a:gd name="T10" fmla="*/ 241 w 706"/>
                <a:gd name="T11" fmla="*/ 71 h 1110"/>
                <a:gd name="T12" fmla="*/ 295 w 706"/>
                <a:gd name="T13" fmla="*/ 55 h 1110"/>
                <a:gd name="T14" fmla="*/ 347 w 706"/>
                <a:gd name="T15" fmla="*/ 38 h 1110"/>
                <a:gd name="T16" fmla="*/ 396 w 706"/>
                <a:gd name="T17" fmla="*/ 20 h 1110"/>
                <a:gd name="T18" fmla="*/ 442 w 706"/>
                <a:gd name="T19" fmla="*/ 0 h 1110"/>
                <a:gd name="T20" fmla="*/ 442 w 706"/>
                <a:gd name="T21" fmla="*/ 0 h 1110"/>
                <a:gd name="T22" fmla="*/ 706 w 706"/>
                <a:gd name="T23" fmla="*/ 910 h 1110"/>
                <a:gd name="T24" fmla="*/ 706 w 706"/>
                <a:gd name="T25" fmla="*/ 910 h 1110"/>
                <a:gd name="T26" fmla="*/ 679 w 706"/>
                <a:gd name="T27" fmla="*/ 927 h 1110"/>
                <a:gd name="T28" fmla="*/ 649 w 706"/>
                <a:gd name="T29" fmla="*/ 944 h 1110"/>
                <a:gd name="T30" fmla="*/ 618 w 706"/>
                <a:gd name="T31" fmla="*/ 960 h 1110"/>
                <a:gd name="T32" fmla="*/ 586 w 706"/>
                <a:gd name="T33" fmla="*/ 976 h 1110"/>
                <a:gd name="T34" fmla="*/ 552 w 706"/>
                <a:gd name="T35" fmla="*/ 991 h 1110"/>
                <a:gd name="T36" fmla="*/ 516 w 706"/>
                <a:gd name="T37" fmla="*/ 1005 h 1110"/>
                <a:gd name="T38" fmla="*/ 480 w 706"/>
                <a:gd name="T39" fmla="*/ 1019 h 1110"/>
                <a:gd name="T40" fmla="*/ 443 w 706"/>
                <a:gd name="T41" fmla="*/ 1032 h 1110"/>
                <a:gd name="T42" fmla="*/ 403 w 706"/>
                <a:gd name="T43" fmla="*/ 1045 h 1110"/>
                <a:gd name="T44" fmla="*/ 363 w 706"/>
                <a:gd name="T45" fmla="*/ 1056 h 1110"/>
                <a:gd name="T46" fmla="*/ 321 w 706"/>
                <a:gd name="T47" fmla="*/ 1068 h 1110"/>
                <a:gd name="T48" fmla="*/ 278 w 706"/>
                <a:gd name="T49" fmla="*/ 1078 h 1110"/>
                <a:gd name="T50" fmla="*/ 235 w 706"/>
                <a:gd name="T51" fmla="*/ 1088 h 1110"/>
                <a:gd name="T52" fmla="*/ 189 w 706"/>
                <a:gd name="T53" fmla="*/ 1096 h 1110"/>
                <a:gd name="T54" fmla="*/ 143 w 706"/>
                <a:gd name="T55" fmla="*/ 1104 h 1110"/>
                <a:gd name="T56" fmla="*/ 96 w 706"/>
                <a:gd name="T57" fmla="*/ 1110 h 1110"/>
                <a:gd name="T58" fmla="*/ 96 w 706"/>
                <a:gd name="T59" fmla="*/ 1110 h 1110"/>
                <a:gd name="T60" fmla="*/ 0 w 706"/>
                <a:gd name="T61" fmla="*/ 117 h 1110"/>
                <a:gd name="T62" fmla="*/ 0 w 706"/>
                <a:gd name="T63" fmla="*/ 117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06" h="1110">
                  <a:moveTo>
                    <a:pt x="0" y="117"/>
                  </a:moveTo>
                  <a:lnTo>
                    <a:pt x="0" y="117"/>
                  </a:lnTo>
                  <a:lnTo>
                    <a:pt x="63" y="108"/>
                  </a:lnTo>
                  <a:lnTo>
                    <a:pt x="124" y="98"/>
                  </a:lnTo>
                  <a:lnTo>
                    <a:pt x="184" y="85"/>
                  </a:lnTo>
                  <a:lnTo>
                    <a:pt x="241" y="71"/>
                  </a:lnTo>
                  <a:lnTo>
                    <a:pt x="295" y="55"/>
                  </a:lnTo>
                  <a:lnTo>
                    <a:pt x="347" y="38"/>
                  </a:lnTo>
                  <a:lnTo>
                    <a:pt x="396" y="20"/>
                  </a:lnTo>
                  <a:lnTo>
                    <a:pt x="442" y="0"/>
                  </a:lnTo>
                  <a:lnTo>
                    <a:pt x="442" y="0"/>
                  </a:lnTo>
                  <a:lnTo>
                    <a:pt x="706" y="910"/>
                  </a:lnTo>
                  <a:lnTo>
                    <a:pt x="706" y="910"/>
                  </a:lnTo>
                  <a:lnTo>
                    <a:pt x="679" y="927"/>
                  </a:lnTo>
                  <a:lnTo>
                    <a:pt x="649" y="944"/>
                  </a:lnTo>
                  <a:lnTo>
                    <a:pt x="618" y="960"/>
                  </a:lnTo>
                  <a:lnTo>
                    <a:pt x="586" y="976"/>
                  </a:lnTo>
                  <a:lnTo>
                    <a:pt x="552" y="991"/>
                  </a:lnTo>
                  <a:lnTo>
                    <a:pt x="516" y="1005"/>
                  </a:lnTo>
                  <a:lnTo>
                    <a:pt x="480" y="1019"/>
                  </a:lnTo>
                  <a:lnTo>
                    <a:pt x="443" y="1032"/>
                  </a:lnTo>
                  <a:lnTo>
                    <a:pt x="403" y="1045"/>
                  </a:lnTo>
                  <a:lnTo>
                    <a:pt x="363" y="1056"/>
                  </a:lnTo>
                  <a:lnTo>
                    <a:pt x="321" y="1068"/>
                  </a:lnTo>
                  <a:lnTo>
                    <a:pt x="278" y="1078"/>
                  </a:lnTo>
                  <a:lnTo>
                    <a:pt x="235" y="1088"/>
                  </a:lnTo>
                  <a:lnTo>
                    <a:pt x="189" y="1096"/>
                  </a:lnTo>
                  <a:lnTo>
                    <a:pt x="143" y="1104"/>
                  </a:lnTo>
                  <a:lnTo>
                    <a:pt x="96" y="1110"/>
                  </a:lnTo>
                  <a:lnTo>
                    <a:pt x="96" y="1110"/>
                  </a:lnTo>
                  <a:lnTo>
                    <a:pt x="0" y="11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6" name="Freeform 73"/>
            <p:cNvSpPr>
              <a:spLocks/>
            </p:cNvSpPr>
            <p:nvPr/>
          </p:nvSpPr>
          <p:spPr bwMode="auto">
            <a:xfrm flipH="1">
              <a:off x="7474550" y="2903468"/>
              <a:ext cx="15481" cy="5160"/>
            </a:xfrm>
            <a:custGeom>
              <a:avLst/>
              <a:gdLst>
                <a:gd name="T0" fmla="*/ 0 w 85"/>
                <a:gd name="T1" fmla="*/ 1 h 38"/>
                <a:gd name="T2" fmla="*/ 1 w 85"/>
                <a:gd name="T3" fmla="*/ 0 h 38"/>
                <a:gd name="T4" fmla="*/ 1 w 85"/>
                <a:gd name="T5" fmla="*/ 0 h 38"/>
                <a:gd name="T6" fmla="*/ 43 w 85"/>
                <a:gd name="T7" fmla="*/ 18 h 38"/>
                <a:gd name="T8" fmla="*/ 85 w 85"/>
                <a:gd name="T9" fmla="*/ 35 h 38"/>
                <a:gd name="T10" fmla="*/ 84 w 85"/>
                <a:gd name="T11" fmla="*/ 38 h 38"/>
                <a:gd name="T12" fmla="*/ 84 w 85"/>
                <a:gd name="T13" fmla="*/ 38 h 38"/>
                <a:gd name="T14" fmla="*/ 42 w 85"/>
                <a:gd name="T15" fmla="*/ 21 h 38"/>
                <a:gd name="T16" fmla="*/ 0 w 85"/>
                <a:gd name="T17" fmla="*/ 2 h 38"/>
                <a:gd name="T18" fmla="*/ 1 w 85"/>
                <a:gd name="T19" fmla="*/ 0 h 38"/>
                <a:gd name="T20" fmla="*/ 0 w 85"/>
                <a:gd name="T21" fmla="*/ 1 h 38"/>
                <a:gd name="T22" fmla="*/ 1 w 85"/>
                <a:gd name="T23" fmla="*/ 0 h 38"/>
                <a:gd name="T24" fmla="*/ 1 w 85"/>
                <a:gd name="T25" fmla="*/ 0 h 38"/>
                <a:gd name="T26" fmla="*/ 43 w 85"/>
                <a:gd name="T27" fmla="*/ 19 h 38"/>
                <a:gd name="T28" fmla="*/ 85 w 85"/>
                <a:gd name="T29" fmla="*/ 35 h 38"/>
                <a:gd name="T30" fmla="*/ 84 w 85"/>
                <a:gd name="T31" fmla="*/ 36 h 38"/>
                <a:gd name="T32" fmla="*/ 84 w 85"/>
                <a:gd name="T33" fmla="*/ 38 h 38"/>
                <a:gd name="T34" fmla="*/ 84 w 85"/>
                <a:gd name="T35" fmla="*/ 38 h 38"/>
                <a:gd name="T36" fmla="*/ 42 w 85"/>
                <a:gd name="T37" fmla="*/ 20 h 38"/>
                <a:gd name="T38" fmla="*/ 0 w 85"/>
                <a:gd name="T39" fmla="*/ 2 h 38"/>
                <a:gd name="T40" fmla="*/ 0 w 85"/>
                <a:gd name="T41" fmla="*/ 1 h 38"/>
                <a:gd name="T42" fmla="*/ 1 w 85"/>
                <a:gd name="T43" fmla="*/ 0 h 38"/>
                <a:gd name="T44" fmla="*/ 0 w 85"/>
                <a:gd name="T45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38">
                  <a:moveTo>
                    <a:pt x="0" y="1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43" y="18"/>
                  </a:lnTo>
                  <a:lnTo>
                    <a:pt x="85" y="35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42" y="21"/>
                  </a:lnTo>
                  <a:lnTo>
                    <a:pt x="0" y="2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43" y="19"/>
                  </a:lnTo>
                  <a:lnTo>
                    <a:pt x="85" y="35"/>
                  </a:lnTo>
                  <a:lnTo>
                    <a:pt x="84" y="36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42" y="20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7" name="Freeform 74"/>
            <p:cNvSpPr>
              <a:spLocks/>
            </p:cNvSpPr>
            <p:nvPr/>
          </p:nvSpPr>
          <p:spPr bwMode="auto">
            <a:xfrm flipH="1">
              <a:off x="7533895" y="2885409"/>
              <a:ext cx="0" cy="1290"/>
            </a:xfrm>
            <a:custGeom>
              <a:avLst/>
              <a:gdLst>
                <a:gd name="T0" fmla="*/ 1 w 2"/>
                <a:gd name="T1" fmla="*/ 2 h 4"/>
                <a:gd name="T2" fmla="*/ 0 w 2"/>
                <a:gd name="T3" fmla="*/ 2 h 4"/>
                <a:gd name="T4" fmla="*/ 0 w 2"/>
                <a:gd name="T5" fmla="*/ 2 h 4"/>
                <a:gd name="T6" fmla="*/ 0 w 2"/>
                <a:gd name="T7" fmla="*/ 0 h 4"/>
                <a:gd name="T8" fmla="*/ 2 w 2"/>
                <a:gd name="T9" fmla="*/ 1 h 4"/>
                <a:gd name="T10" fmla="*/ 1 w 2"/>
                <a:gd name="T11" fmla="*/ 4 h 4"/>
                <a:gd name="T12" fmla="*/ 1 w 2"/>
                <a:gd name="T13" fmla="*/ 4 h 4"/>
                <a:gd name="T14" fmla="*/ 0 w 2"/>
                <a:gd name="T15" fmla="*/ 3 h 4"/>
                <a:gd name="T16" fmla="*/ 0 w 2"/>
                <a:gd name="T17" fmla="*/ 2 h 4"/>
                <a:gd name="T18" fmla="*/ 1 w 2"/>
                <a:gd name="T19" fmla="*/ 2 h 4"/>
                <a:gd name="T20" fmla="*/ 2 w 2"/>
                <a:gd name="T21" fmla="*/ 1 h 4"/>
                <a:gd name="T22" fmla="*/ 2 w 2"/>
                <a:gd name="T23" fmla="*/ 1 h 4"/>
                <a:gd name="T24" fmla="*/ 1 w 2"/>
                <a:gd name="T25" fmla="*/ 3 h 4"/>
                <a:gd name="T26" fmla="*/ 1 w 2"/>
                <a:gd name="T27" fmla="*/ 4 h 4"/>
                <a:gd name="T28" fmla="*/ 0 w 2"/>
                <a:gd name="T29" fmla="*/ 4 h 4"/>
                <a:gd name="T30" fmla="*/ 1 w 2"/>
                <a:gd name="T31" fmla="*/ 2 h 4"/>
                <a:gd name="T32" fmla="*/ 2 w 2"/>
                <a:gd name="T33" fmla="*/ 2 h 4"/>
                <a:gd name="T34" fmla="*/ 2 w 2"/>
                <a:gd name="T35" fmla="*/ 2 h 4"/>
                <a:gd name="T36" fmla="*/ 1 w 2"/>
                <a:gd name="T37" fmla="*/ 2 h 4"/>
                <a:gd name="T38" fmla="*/ 2 w 2"/>
                <a:gd name="T39" fmla="*/ 1 h 4"/>
                <a:gd name="T40" fmla="*/ 1 w 2"/>
                <a:gd name="T4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" h="4">
                  <a:moveTo>
                    <a:pt x="1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8" name="Freeform 75"/>
            <p:cNvSpPr>
              <a:spLocks/>
            </p:cNvSpPr>
            <p:nvPr/>
          </p:nvSpPr>
          <p:spPr bwMode="auto">
            <a:xfrm flipH="1">
              <a:off x="7064301" y="2021165"/>
              <a:ext cx="202544" cy="101904"/>
            </a:xfrm>
            <a:custGeom>
              <a:avLst/>
              <a:gdLst>
                <a:gd name="T0" fmla="*/ 955 w 1095"/>
                <a:gd name="T1" fmla="*/ 464 h 713"/>
                <a:gd name="T2" fmla="*/ 942 w 1095"/>
                <a:gd name="T3" fmla="*/ 423 h 713"/>
                <a:gd name="T4" fmla="*/ 915 w 1095"/>
                <a:gd name="T5" fmla="*/ 375 h 713"/>
                <a:gd name="T6" fmla="*/ 881 w 1095"/>
                <a:gd name="T7" fmla="*/ 344 h 713"/>
                <a:gd name="T8" fmla="*/ 840 w 1095"/>
                <a:gd name="T9" fmla="*/ 327 h 713"/>
                <a:gd name="T10" fmla="*/ 797 w 1095"/>
                <a:gd name="T11" fmla="*/ 325 h 713"/>
                <a:gd name="T12" fmla="*/ 767 w 1095"/>
                <a:gd name="T13" fmla="*/ 332 h 713"/>
                <a:gd name="T14" fmla="*/ 746 w 1095"/>
                <a:gd name="T15" fmla="*/ 342 h 713"/>
                <a:gd name="T16" fmla="*/ 731 w 1095"/>
                <a:gd name="T17" fmla="*/ 358 h 713"/>
                <a:gd name="T18" fmla="*/ 718 w 1095"/>
                <a:gd name="T19" fmla="*/ 386 h 713"/>
                <a:gd name="T20" fmla="*/ 709 w 1095"/>
                <a:gd name="T21" fmla="*/ 438 h 713"/>
                <a:gd name="T22" fmla="*/ 713 w 1095"/>
                <a:gd name="T23" fmla="*/ 519 h 713"/>
                <a:gd name="T24" fmla="*/ 719 w 1095"/>
                <a:gd name="T25" fmla="*/ 600 h 713"/>
                <a:gd name="T26" fmla="*/ 687 w 1095"/>
                <a:gd name="T27" fmla="*/ 706 h 713"/>
                <a:gd name="T28" fmla="*/ 552 w 1095"/>
                <a:gd name="T29" fmla="*/ 713 h 713"/>
                <a:gd name="T30" fmla="*/ 458 w 1095"/>
                <a:gd name="T31" fmla="*/ 709 h 713"/>
                <a:gd name="T32" fmla="*/ 325 w 1095"/>
                <a:gd name="T33" fmla="*/ 692 h 713"/>
                <a:gd name="T34" fmla="*/ 207 w 1095"/>
                <a:gd name="T35" fmla="*/ 663 h 713"/>
                <a:gd name="T36" fmla="*/ 109 w 1095"/>
                <a:gd name="T37" fmla="*/ 623 h 713"/>
                <a:gd name="T38" fmla="*/ 35 w 1095"/>
                <a:gd name="T39" fmla="*/ 575 h 713"/>
                <a:gd name="T40" fmla="*/ 8 w 1095"/>
                <a:gd name="T41" fmla="*/ 548 h 713"/>
                <a:gd name="T42" fmla="*/ 44 w 1095"/>
                <a:gd name="T43" fmla="*/ 416 h 713"/>
                <a:gd name="T44" fmla="*/ 72 w 1095"/>
                <a:gd name="T45" fmla="*/ 341 h 713"/>
                <a:gd name="T46" fmla="*/ 89 w 1095"/>
                <a:gd name="T47" fmla="*/ 288 h 713"/>
                <a:gd name="T48" fmla="*/ 114 w 1095"/>
                <a:gd name="T49" fmla="*/ 238 h 713"/>
                <a:gd name="T50" fmla="*/ 144 w 1095"/>
                <a:gd name="T51" fmla="*/ 191 h 713"/>
                <a:gd name="T52" fmla="*/ 181 w 1095"/>
                <a:gd name="T53" fmla="*/ 148 h 713"/>
                <a:gd name="T54" fmla="*/ 223 w 1095"/>
                <a:gd name="T55" fmla="*/ 110 h 713"/>
                <a:gd name="T56" fmla="*/ 271 w 1095"/>
                <a:gd name="T57" fmla="*/ 76 h 713"/>
                <a:gd name="T58" fmla="*/ 323 w 1095"/>
                <a:gd name="T59" fmla="*/ 48 h 713"/>
                <a:gd name="T60" fmla="*/ 379 w 1095"/>
                <a:gd name="T61" fmla="*/ 26 h 713"/>
                <a:gd name="T62" fmla="*/ 439 w 1095"/>
                <a:gd name="T63" fmla="*/ 11 h 713"/>
                <a:gd name="T64" fmla="*/ 502 w 1095"/>
                <a:gd name="T65" fmla="*/ 2 h 713"/>
                <a:gd name="T66" fmla="*/ 544 w 1095"/>
                <a:gd name="T67" fmla="*/ 0 h 713"/>
                <a:gd name="T68" fmla="*/ 604 w 1095"/>
                <a:gd name="T69" fmla="*/ 4 h 713"/>
                <a:gd name="T70" fmla="*/ 662 w 1095"/>
                <a:gd name="T71" fmla="*/ 14 h 713"/>
                <a:gd name="T72" fmla="*/ 717 w 1095"/>
                <a:gd name="T73" fmla="*/ 29 h 713"/>
                <a:gd name="T74" fmla="*/ 769 w 1095"/>
                <a:gd name="T75" fmla="*/ 50 h 713"/>
                <a:gd name="T76" fmla="*/ 818 w 1095"/>
                <a:gd name="T77" fmla="*/ 76 h 713"/>
                <a:gd name="T78" fmla="*/ 862 w 1095"/>
                <a:gd name="T79" fmla="*/ 107 h 713"/>
                <a:gd name="T80" fmla="*/ 903 w 1095"/>
                <a:gd name="T81" fmla="*/ 143 h 713"/>
                <a:gd name="T82" fmla="*/ 938 w 1095"/>
                <a:gd name="T83" fmla="*/ 181 h 713"/>
                <a:gd name="T84" fmla="*/ 968 w 1095"/>
                <a:gd name="T85" fmla="*/ 224 h 713"/>
                <a:gd name="T86" fmla="*/ 992 w 1095"/>
                <a:gd name="T87" fmla="*/ 270 h 713"/>
                <a:gd name="T88" fmla="*/ 1005 w 1095"/>
                <a:gd name="T89" fmla="*/ 302 h 713"/>
                <a:gd name="T90" fmla="*/ 1095 w 1095"/>
                <a:gd name="T91" fmla="*/ 550 h 713"/>
                <a:gd name="T92" fmla="*/ 1066 w 1095"/>
                <a:gd name="T93" fmla="*/ 578 h 713"/>
                <a:gd name="T94" fmla="*/ 1029 w 1095"/>
                <a:gd name="T95" fmla="*/ 606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5" h="713">
                  <a:moveTo>
                    <a:pt x="1000" y="622"/>
                  </a:moveTo>
                  <a:lnTo>
                    <a:pt x="1000" y="622"/>
                  </a:lnTo>
                  <a:lnTo>
                    <a:pt x="955" y="464"/>
                  </a:lnTo>
                  <a:lnTo>
                    <a:pt x="955" y="464"/>
                  </a:lnTo>
                  <a:lnTo>
                    <a:pt x="949" y="442"/>
                  </a:lnTo>
                  <a:lnTo>
                    <a:pt x="942" y="423"/>
                  </a:lnTo>
                  <a:lnTo>
                    <a:pt x="934" y="405"/>
                  </a:lnTo>
                  <a:lnTo>
                    <a:pt x="925" y="390"/>
                  </a:lnTo>
                  <a:lnTo>
                    <a:pt x="915" y="375"/>
                  </a:lnTo>
                  <a:lnTo>
                    <a:pt x="904" y="364"/>
                  </a:lnTo>
                  <a:lnTo>
                    <a:pt x="892" y="352"/>
                  </a:lnTo>
                  <a:lnTo>
                    <a:pt x="881" y="344"/>
                  </a:lnTo>
                  <a:lnTo>
                    <a:pt x="867" y="337"/>
                  </a:lnTo>
                  <a:lnTo>
                    <a:pt x="855" y="332"/>
                  </a:lnTo>
                  <a:lnTo>
                    <a:pt x="840" y="327"/>
                  </a:lnTo>
                  <a:lnTo>
                    <a:pt x="827" y="325"/>
                  </a:lnTo>
                  <a:lnTo>
                    <a:pt x="812" y="324"/>
                  </a:lnTo>
                  <a:lnTo>
                    <a:pt x="797" y="325"/>
                  </a:lnTo>
                  <a:lnTo>
                    <a:pt x="782" y="327"/>
                  </a:lnTo>
                  <a:lnTo>
                    <a:pt x="767" y="332"/>
                  </a:lnTo>
                  <a:lnTo>
                    <a:pt x="767" y="332"/>
                  </a:lnTo>
                  <a:lnTo>
                    <a:pt x="759" y="335"/>
                  </a:lnTo>
                  <a:lnTo>
                    <a:pt x="752" y="338"/>
                  </a:lnTo>
                  <a:lnTo>
                    <a:pt x="746" y="342"/>
                  </a:lnTo>
                  <a:lnTo>
                    <a:pt x="741" y="347"/>
                  </a:lnTo>
                  <a:lnTo>
                    <a:pt x="735" y="352"/>
                  </a:lnTo>
                  <a:lnTo>
                    <a:pt x="731" y="358"/>
                  </a:lnTo>
                  <a:lnTo>
                    <a:pt x="727" y="364"/>
                  </a:lnTo>
                  <a:lnTo>
                    <a:pt x="723" y="371"/>
                  </a:lnTo>
                  <a:lnTo>
                    <a:pt x="718" y="386"/>
                  </a:lnTo>
                  <a:lnTo>
                    <a:pt x="714" y="401"/>
                  </a:lnTo>
                  <a:lnTo>
                    <a:pt x="710" y="419"/>
                  </a:lnTo>
                  <a:lnTo>
                    <a:pt x="709" y="438"/>
                  </a:lnTo>
                  <a:lnTo>
                    <a:pt x="708" y="458"/>
                  </a:lnTo>
                  <a:lnTo>
                    <a:pt x="709" y="478"/>
                  </a:lnTo>
                  <a:lnTo>
                    <a:pt x="713" y="519"/>
                  </a:lnTo>
                  <a:lnTo>
                    <a:pt x="716" y="561"/>
                  </a:lnTo>
                  <a:lnTo>
                    <a:pt x="719" y="600"/>
                  </a:lnTo>
                  <a:lnTo>
                    <a:pt x="719" y="600"/>
                  </a:lnTo>
                  <a:lnTo>
                    <a:pt x="728" y="700"/>
                  </a:lnTo>
                  <a:lnTo>
                    <a:pt x="728" y="700"/>
                  </a:lnTo>
                  <a:lnTo>
                    <a:pt x="687" y="706"/>
                  </a:lnTo>
                  <a:lnTo>
                    <a:pt x="643" y="710"/>
                  </a:lnTo>
                  <a:lnTo>
                    <a:pt x="598" y="712"/>
                  </a:lnTo>
                  <a:lnTo>
                    <a:pt x="552" y="713"/>
                  </a:lnTo>
                  <a:lnTo>
                    <a:pt x="552" y="713"/>
                  </a:lnTo>
                  <a:lnTo>
                    <a:pt x="505" y="712"/>
                  </a:lnTo>
                  <a:lnTo>
                    <a:pt x="458" y="709"/>
                  </a:lnTo>
                  <a:lnTo>
                    <a:pt x="412" y="705"/>
                  </a:lnTo>
                  <a:lnTo>
                    <a:pt x="367" y="699"/>
                  </a:lnTo>
                  <a:lnTo>
                    <a:pt x="325" y="692"/>
                  </a:lnTo>
                  <a:lnTo>
                    <a:pt x="283" y="684"/>
                  </a:lnTo>
                  <a:lnTo>
                    <a:pt x="245" y="674"/>
                  </a:lnTo>
                  <a:lnTo>
                    <a:pt x="207" y="663"/>
                  </a:lnTo>
                  <a:lnTo>
                    <a:pt x="172" y="651"/>
                  </a:lnTo>
                  <a:lnTo>
                    <a:pt x="140" y="638"/>
                  </a:lnTo>
                  <a:lnTo>
                    <a:pt x="109" y="623"/>
                  </a:lnTo>
                  <a:lnTo>
                    <a:pt x="82" y="609"/>
                  </a:lnTo>
                  <a:lnTo>
                    <a:pt x="57" y="592"/>
                  </a:lnTo>
                  <a:lnTo>
                    <a:pt x="35" y="575"/>
                  </a:lnTo>
                  <a:lnTo>
                    <a:pt x="24" y="566"/>
                  </a:lnTo>
                  <a:lnTo>
                    <a:pt x="16" y="558"/>
                  </a:lnTo>
                  <a:lnTo>
                    <a:pt x="8" y="548"/>
                  </a:lnTo>
                  <a:lnTo>
                    <a:pt x="0" y="539"/>
                  </a:lnTo>
                  <a:lnTo>
                    <a:pt x="0" y="539"/>
                  </a:lnTo>
                  <a:lnTo>
                    <a:pt x="44" y="416"/>
                  </a:lnTo>
                  <a:lnTo>
                    <a:pt x="72" y="341"/>
                  </a:lnTo>
                  <a:lnTo>
                    <a:pt x="72" y="341"/>
                  </a:lnTo>
                  <a:lnTo>
                    <a:pt x="72" y="341"/>
                  </a:lnTo>
                  <a:lnTo>
                    <a:pt x="77" y="323"/>
                  </a:lnTo>
                  <a:lnTo>
                    <a:pt x="83" y="305"/>
                  </a:lnTo>
                  <a:lnTo>
                    <a:pt x="89" y="288"/>
                  </a:lnTo>
                  <a:lnTo>
                    <a:pt x="96" y="270"/>
                  </a:lnTo>
                  <a:lnTo>
                    <a:pt x="104" y="253"/>
                  </a:lnTo>
                  <a:lnTo>
                    <a:pt x="114" y="238"/>
                  </a:lnTo>
                  <a:lnTo>
                    <a:pt x="123" y="221"/>
                  </a:lnTo>
                  <a:lnTo>
                    <a:pt x="133" y="205"/>
                  </a:lnTo>
                  <a:lnTo>
                    <a:pt x="144" y="191"/>
                  </a:lnTo>
                  <a:lnTo>
                    <a:pt x="155" y="176"/>
                  </a:lnTo>
                  <a:lnTo>
                    <a:pt x="168" y="162"/>
                  </a:lnTo>
                  <a:lnTo>
                    <a:pt x="181" y="148"/>
                  </a:lnTo>
                  <a:lnTo>
                    <a:pt x="195" y="135"/>
                  </a:lnTo>
                  <a:lnTo>
                    <a:pt x="208" y="122"/>
                  </a:lnTo>
                  <a:lnTo>
                    <a:pt x="223" y="110"/>
                  </a:lnTo>
                  <a:lnTo>
                    <a:pt x="239" y="98"/>
                  </a:lnTo>
                  <a:lnTo>
                    <a:pt x="254" y="87"/>
                  </a:lnTo>
                  <a:lnTo>
                    <a:pt x="271" y="76"/>
                  </a:lnTo>
                  <a:lnTo>
                    <a:pt x="287" y="66"/>
                  </a:lnTo>
                  <a:lnTo>
                    <a:pt x="305" y="57"/>
                  </a:lnTo>
                  <a:lnTo>
                    <a:pt x="323" y="48"/>
                  </a:lnTo>
                  <a:lnTo>
                    <a:pt x="341" y="41"/>
                  </a:lnTo>
                  <a:lnTo>
                    <a:pt x="360" y="34"/>
                  </a:lnTo>
                  <a:lnTo>
                    <a:pt x="379" y="26"/>
                  </a:lnTo>
                  <a:lnTo>
                    <a:pt x="399" y="21"/>
                  </a:lnTo>
                  <a:lnTo>
                    <a:pt x="418" y="16"/>
                  </a:lnTo>
                  <a:lnTo>
                    <a:pt x="439" y="11"/>
                  </a:lnTo>
                  <a:lnTo>
                    <a:pt x="459" y="7"/>
                  </a:lnTo>
                  <a:lnTo>
                    <a:pt x="480" y="4"/>
                  </a:lnTo>
                  <a:lnTo>
                    <a:pt x="502" y="2"/>
                  </a:lnTo>
                  <a:lnTo>
                    <a:pt x="522" y="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565" y="1"/>
                  </a:lnTo>
                  <a:lnTo>
                    <a:pt x="585" y="2"/>
                  </a:lnTo>
                  <a:lnTo>
                    <a:pt x="604" y="4"/>
                  </a:lnTo>
                  <a:lnTo>
                    <a:pt x="624" y="6"/>
                  </a:lnTo>
                  <a:lnTo>
                    <a:pt x="643" y="10"/>
                  </a:lnTo>
                  <a:lnTo>
                    <a:pt x="662" y="14"/>
                  </a:lnTo>
                  <a:lnTo>
                    <a:pt x="680" y="18"/>
                  </a:lnTo>
                  <a:lnTo>
                    <a:pt x="699" y="23"/>
                  </a:lnTo>
                  <a:lnTo>
                    <a:pt x="717" y="29"/>
                  </a:lnTo>
                  <a:lnTo>
                    <a:pt x="734" y="36"/>
                  </a:lnTo>
                  <a:lnTo>
                    <a:pt x="752" y="43"/>
                  </a:lnTo>
                  <a:lnTo>
                    <a:pt x="769" y="50"/>
                  </a:lnTo>
                  <a:lnTo>
                    <a:pt x="785" y="59"/>
                  </a:lnTo>
                  <a:lnTo>
                    <a:pt x="802" y="67"/>
                  </a:lnTo>
                  <a:lnTo>
                    <a:pt x="818" y="76"/>
                  </a:lnTo>
                  <a:lnTo>
                    <a:pt x="833" y="86"/>
                  </a:lnTo>
                  <a:lnTo>
                    <a:pt x="848" y="96"/>
                  </a:lnTo>
                  <a:lnTo>
                    <a:pt x="862" y="107"/>
                  </a:lnTo>
                  <a:lnTo>
                    <a:pt x="876" y="119"/>
                  </a:lnTo>
                  <a:lnTo>
                    <a:pt x="889" y="130"/>
                  </a:lnTo>
                  <a:lnTo>
                    <a:pt x="903" y="143"/>
                  </a:lnTo>
                  <a:lnTo>
                    <a:pt x="914" y="155"/>
                  </a:lnTo>
                  <a:lnTo>
                    <a:pt x="927" y="168"/>
                  </a:lnTo>
                  <a:lnTo>
                    <a:pt x="938" y="181"/>
                  </a:lnTo>
                  <a:lnTo>
                    <a:pt x="949" y="196"/>
                  </a:lnTo>
                  <a:lnTo>
                    <a:pt x="958" y="210"/>
                  </a:lnTo>
                  <a:lnTo>
                    <a:pt x="968" y="224"/>
                  </a:lnTo>
                  <a:lnTo>
                    <a:pt x="977" y="240"/>
                  </a:lnTo>
                  <a:lnTo>
                    <a:pt x="985" y="254"/>
                  </a:lnTo>
                  <a:lnTo>
                    <a:pt x="992" y="270"/>
                  </a:lnTo>
                  <a:lnTo>
                    <a:pt x="998" y="287"/>
                  </a:lnTo>
                  <a:lnTo>
                    <a:pt x="1005" y="302"/>
                  </a:lnTo>
                  <a:lnTo>
                    <a:pt x="1005" y="302"/>
                  </a:lnTo>
                  <a:lnTo>
                    <a:pt x="1039" y="395"/>
                  </a:lnTo>
                  <a:lnTo>
                    <a:pt x="1095" y="550"/>
                  </a:lnTo>
                  <a:lnTo>
                    <a:pt x="1095" y="550"/>
                  </a:lnTo>
                  <a:lnTo>
                    <a:pt x="1087" y="560"/>
                  </a:lnTo>
                  <a:lnTo>
                    <a:pt x="1076" y="570"/>
                  </a:lnTo>
                  <a:lnTo>
                    <a:pt x="1066" y="578"/>
                  </a:lnTo>
                  <a:lnTo>
                    <a:pt x="1055" y="588"/>
                  </a:lnTo>
                  <a:lnTo>
                    <a:pt x="1042" y="597"/>
                  </a:lnTo>
                  <a:lnTo>
                    <a:pt x="1029" y="606"/>
                  </a:lnTo>
                  <a:lnTo>
                    <a:pt x="1000" y="622"/>
                  </a:lnTo>
                  <a:lnTo>
                    <a:pt x="1000" y="6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9" name="Freeform 76"/>
            <p:cNvSpPr>
              <a:spLocks/>
            </p:cNvSpPr>
            <p:nvPr/>
          </p:nvSpPr>
          <p:spPr bwMode="auto">
            <a:xfrm flipH="1">
              <a:off x="7082363" y="2067602"/>
              <a:ext cx="54184" cy="54177"/>
            </a:xfrm>
            <a:custGeom>
              <a:avLst/>
              <a:gdLst>
                <a:gd name="T0" fmla="*/ 59 w 292"/>
                <a:gd name="T1" fmla="*/ 8 h 376"/>
                <a:gd name="T2" fmla="*/ 59 w 292"/>
                <a:gd name="T3" fmla="*/ 8 h 376"/>
                <a:gd name="T4" fmla="*/ 74 w 292"/>
                <a:gd name="T5" fmla="*/ 3 h 376"/>
                <a:gd name="T6" fmla="*/ 89 w 292"/>
                <a:gd name="T7" fmla="*/ 1 h 376"/>
                <a:gd name="T8" fmla="*/ 104 w 292"/>
                <a:gd name="T9" fmla="*/ 0 h 376"/>
                <a:gd name="T10" fmla="*/ 119 w 292"/>
                <a:gd name="T11" fmla="*/ 1 h 376"/>
                <a:gd name="T12" fmla="*/ 132 w 292"/>
                <a:gd name="T13" fmla="*/ 3 h 376"/>
                <a:gd name="T14" fmla="*/ 147 w 292"/>
                <a:gd name="T15" fmla="*/ 8 h 376"/>
                <a:gd name="T16" fmla="*/ 159 w 292"/>
                <a:gd name="T17" fmla="*/ 13 h 376"/>
                <a:gd name="T18" fmla="*/ 173 w 292"/>
                <a:gd name="T19" fmla="*/ 20 h 376"/>
                <a:gd name="T20" fmla="*/ 184 w 292"/>
                <a:gd name="T21" fmla="*/ 28 h 376"/>
                <a:gd name="T22" fmla="*/ 196 w 292"/>
                <a:gd name="T23" fmla="*/ 40 h 376"/>
                <a:gd name="T24" fmla="*/ 207 w 292"/>
                <a:gd name="T25" fmla="*/ 51 h 376"/>
                <a:gd name="T26" fmla="*/ 217 w 292"/>
                <a:gd name="T27" fmla="*/ 66 h 376"/>
                <a:gd name="T28" fmla="*/ 226 w 292"/>
                <a:gd name="T29" fmla="*/ 81 h 376"/>
                <a:gd name="T30" fmla="*/ 234 w 292"/>
                <a:gd name="T31" fmla="*/ 99 h 376"/>
                <a:gd name="T32" fmla="*/ 241 w 292"/>
                <a:gd name="T33" fmla="*/ 118 h 376"/>
                <a:gd name="T34" fmla="*/ 247 w 292"/>
                <a:gd name="T35" fmla="*/ 140 h 376"/>
                <a:gd name="T36" fmla="*/ 247 w 292"/>
                <a:gd name="T37" fmla="*/ 140 h 376"/>
                <a:gd name="T38" fmla="*/ 292 w 292"/>
                <a:gd name="T39" fmla="*/ 298 h 376"/>
                <a:gd name="T40" fmla="*/ 292 w 292"/>
                <a:gd name="T41" fmla="*/ 298 h 376"/>
                <a:gd name="T42" fmla="*/ 264 w 292"/>
                <a:gd name="T43" fmla="*/ 311 h 376"/>
                <a:gd name="T44" fmla="*/ 235 w 292"/>
                <a:gd name="T45" fmla="*/ 323 h 376"/>
                <a:gd name="T46" fmla="*/ 203 w 292"/>
                <a:gd name="T47" fmla="*/ 335 h 376"/>
                <a:gd name="T48" fmla="*/ 170 w 292"/>
                <a:gd name="T49" fmla="*/ 345 h 376"/>
                <a:gd name="T50" fmla="*/ 136 w 292"/>
                <a:gd name="T51" fmla="*/ 354 h 376"/>
                <a:gd name="T52" fmla="*/ 98 w 292"/>
                <a:gd name="T53" fmla="*/ 363 h 376"/>
                <a:gd name="T54" fmla="*/ 60 w 292"/>
                <a:gd name="T55" fmla="*/ 370 h 376"/>
                <a:gd name="T56" fmla="*/ 20 w 292"/>
                <a:gd name="T57" fmla="*/ 376 h 376"/>
                <a:gd name="T58" fmla="*/ 20 w 292"/>
                <a:gd name="T59" fmla="*/ 376 h 376"/>
                <a:gd name="T60" fmla="*/ 11 w 292"/>
                <a:gd name="T61" fmla="*/ 276 h 376"/>
                <a:gd name="T62" fmla="*/ 11 w 292"/>
                <a:gd name="T63" fmla="*/ 276 h 376"/>
                <a:gd name="T64" fmla="*/ 8 w 292"/>
                <a:gd name="T65" fmla="*/ 237 h 376"/>
                <a:gd name="T66" fmla="*/ 5 w 292"/>
                <a:gd name="T67" fmla="*/ 195 h 376"/>
                <a:gd name="T68" fmla="*/ 1 w 292"/>
                <a:gd name="T69" fmla="*/ 154 h 376"/>
                <a:gd name="T70" fmla="*/ 0 w 292"/>
                <a:gd name="T71" fmla="*/ 134 h 376"/>
                <a:gd name="T72" fmla="*/ 1 w 292"/>
                <a:gd name="T73" fmla="*/ 114 h 376"/>
                <a:gd name="T74" fmla="*/ 2 w 292"/>
                <a:gd name="T75" fmla="*/ 95 h 376"/>
                <a:gd name="T76" fmla="*/ 6 w 292"/>
                <a:gd name="T77" fmla="*/ 77 h 376"/>
                <a:gd name="T78" fmla="*/ 10 w 292"/>
                <a:gd name="T79" fmla="*/ 62 h 376"/>
                <a:gd name="T80" fmla="*/ 15 w 292"/>
                <a:gd name="T81" fmla="*/ 47 h 376"/>
                <a:gd name="T82" fmla="*/ 19 w 292"/>
                <a:gd name="T83" fmla="*/ 40 h 376"/>
                <a:gd name="T84" fmla="*/ 23 w 292"/>
                <a:gd name="T85" fmla="*/ 34 h 376"/>
                <a:gd name="T86" fmla="*/ 27 w 292"/>
                <a:gd name="T87" fmla="*/ 28 h 376"/>
                <a:gd name="T88" fmla="*/ 33 w 292"/>
                <a:gd name="T89" fmla="*/ 23 h 376"/>
                <a:gd name="T90" fmla="*/ 38 w 292"/>
                <a:gd name="T91" fmla="*/ 18 h 376"/>
                <a:gd name="T92" fmla="*/ 44 w 292"/>
                <a:gd name="T93" fmla="*/ 14 h 376"/>
                <a:gd name="T94" fmla="*/ 51 w 292"/>
                <a:gd name="T95" fmla="*/ 11 h 376"/>
                <a:gd name="T96" fmla="*/ 59 w 292"/>
                <a:gd name="T97" fmla="*/ 8 h 376"/>
                <a:gd name="T98" fmla="*/ 59 w 292"/>
                <a:gd name="T99" fmla="*/ 8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376">
                  <a:moveTo>
                    <a:pt x="59" y="8"/>
                  </a:moveTo>
                  <a:lnTo>
                    <a:pt x="59" y="8"/>
                  </a:lnTo>
                  <a:lnTo>
                    <a:pt x="74" y="3"/>
                  </a:lnTo>
                  <a:lnTo>
                    <a:pt x="89" y="1"/>
                  </a:lnTo>
                  <a:lnTo>
                    <a:pt x="104" y="0"/>
                  </a:lnTo>
                  <a:lnTo>
                    <a:pt x="119" y="1"/>
                  </a:lnTo>
                  <a:lnTo>
                    <a:pt x="132" y="3"/>
                  </a:lnTo>
                  <a:lnTo>
                    <a:pt x="147" y="8"/>
                  </a:lnTo>
                  <a:lnTo>
                    <a:pt x="159" y="13"/>
                  </a:lnTo>
                  <a:lnTo>
                    <a:pt x="173" y="20"/>
                  </a:lnTo>
                  <a:lnTo>
                    <a:pt x="184" y="28"/>
                  </a:lnTo>
                  <a:lnTo>
                    <a:pt x="196" y="40"/>
                  </a:lnTo>
                  <a:lnTo>
                    <a:pt x="207" y="51"/>
                  </a:lnTo>
                  <a:lnTo>
                    <a:pt x="217" y="66"/>
                  </a:lnTo>
                  <a:lnTo>
                    <a:pt x="226" y="81"/>
                  </a:lnTo>
                  <a:lnTo>
                    <a:pt x="234" y="99"/>
                  </a:lnTo>
                  <a:lnTo>
                    <a:pt x="241" y="118"/>
                  </a:lnTo>
                  <a:lnTo>
                    <a:pt x="247" y="140"/>
                  </a:lnTo>
                  <a:lnTo>
                    <a:pt x="247" y="140"/>
                  </a:lnTo>
                  <a:lnTo>
                    <a:pt x="292" y="298"/>
                  </a:lnTo>
                  <a:lnTo>
                    <a:pt x="292" y="298"/>
                  </a:lnTo>
                  <a:lnTo>
                    <a:pt x="264" y="311"/>
                  </a:lnTo>
                  <a:lnTo>
                    <a:pt x="235" y="323"/>
                  </a:lnTo>
                  <a:lnTo>
                    <a:pt x="203" y="335"/>
                  </a:lnTo>
                  <a:lnTo>
                    <a:pt x="170" y="345"/>
                  </a:lnTo>
                  <a:lnTo>
                    <a:pt x="136" y="354"/>
                  </a:lnTo>
                  <a:lnTo>
                    <a:pt x="98" y="363"/>
                  </a:lnTo>
                  <a:lnTo>
                    <a:pt x="60" y="370"/>
                  </a:lnTo>
                  <a:lnTo>
                    <a:pt x="20" y="376"/>
                  </a:lnTo>
                  <a:lnTo>
                    <a:pt x="20" y="3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8" y="237"/>
                  </a:lnTo>
                  <a:lnTo>
                    <a:pt x="5" y="195"/>
                  </a:lnTo>
                  <a:lnTo>
                    <a:pt x="1" y="154"/>
                  </a:lnTo>
                  <a:lnTo>
                    <a:pt x="0" y="134"/>
                  </a:lnTo>
                  <a:lnTo>
                    <a:pt x="1" y="114"/>
                  </a:lnTo>
                  <a:lnTo>
                    <a:pt x="2" y="95"/>
                  </a:lnTo>
                  <a:lnTo>
                    <a:pt x="6" y="77"/>
                  </a:lnTo>
                  <a:lnTo>
                    <a:pt x="10" y="62"/>
                  </a:lnTo>
                  <a:lnTo>
                    <a:pt x="15" y="47"/>
                  </a:lnTo>
                  <a:lnTo>
                    <a:pt x="19" y="40"/>
                  </a:lnTo>
                  <a:lnTo>
                    <a:pt x="23" y="34"/>
                  </a:lnTo>
                  <a:lnTo>
                    <a:pt x="27" y="28"/>
                  </a:lnTo>
                  <a:lnTo>
                    <a:pt x="33" y="23"/>
                  </a:lnTo>
                  <a:lnTo>
                    <a:pt x="38" y="18"/>
                  </a:lnTo>
                  <a:lnTo>
                    <a:pt x="44" y="14"/>
                  </a:lnTo>
                  <a:lnTo>
                    <a:pt x="51" y="11"/>
                  </a:lnTo>
                  <a:lnTo>
                    <a:pt x="59" y="8"/>
                  </a:lnTo>
                  <a:lnTo>
                    <a:pt x="59" y="8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0" name="Freeform 77"/>
            <p:cNvSpPr>
              <a:spLocks noEditPoints="1"/>
            </p:cNvSpPr>
            <p:nvPr/>
          </p:nvSpPr>
          <p:spPr bwMode="auto">
            <a:xfrm flipH="1">
              <a:off x="6793383" y="2067602"/>
              <a:ext cx="740511" cy="877144"/>
            </a:xfrm>
            <a:custGeom>
              <a:avLst/>
              <a:gdLst>
                <a:gd name="T0" fmla="*/ 1012 w 4017"/>
                <a:gd name="T1" fmla="*/ 3103 h 6116"/>
                <a:gd name="T2" fmla="*/ 883 w 4017"/>
                <a:gd name="T3" fmla="*/ 3044 h 6116"/>
                <a:gd name="T4" fmla="*/ 627 w 4017"/>
                <a:gd name="T5" fmla="*/ 3975 h 6116"/>
                <a:gd name="T6" fmla="*/ 775 w 4017"/>
                <a:gd name="T7" fmla="*/ 4047 h 6116"/>
                <a:gd name="T8" fmla="*/ 318 w 4017"/>
                <a:gd name="T9" fmla="*/ 5869 h 6116"/>
                <a:gd name="T10" fmla="*/ 234 w 4017"/>
                <a:gd name="T11" fmla="*/ 5834 h 6116"/>
                <a:gd name="T12" fmla="*/ 75 w 4017"/>
                <a:gd name="T13" fmla="*/ 5753 h 6116"/>
                <a:gd name="T14" fmla="*/ 0 w 4017"/>
                <a:gd name="T15" fmla="*/ 5709 h 6116"/>
                <a:gd name="T16" fmla="*/ 358 w 4017"/>
                <a:gd name="T17" fmla="*/ 4837 h 6116"/>
                <a:gd name="T18" fmla="*/ 484 w 4017"/>
                <a:gd name="T19" fmla="*/ 4905 h 6116"/>
                <a:gd name="T20" fmla="*/ 2645 w 4017"/>
                <a:gd name="T21" fmla="*/ 5153 h 6116"/>
                <a:gd name="T22" fmla="*/ 2806 w 4017"/>
                <a:gd name="T23" fmla="*/ 6107 h 6116"/>
                <a:gd name="T24" fmla="*/ 3084 w 4017"/>
                <a:gd name="T25" fmla="*/ 6055 h 6116"/>
                <a:gd name="T26" fmla="*/ 3296 w 4017"/>
                <a:gd name="T27" fmla="*/ 6000 h 6116"/>
                <a:gd name="T28" fmla="*/ 3321 w 4017"/>
                <a:gd name="T29" fmla="*/ 5992 h 6116"/>
                <a:gd name="T30" fmla="*/ 3342 w 4017"/>
                <a:gd name="T31" fmla="*/ 5986 h 6116"/>
                <a:gd name="T32" fmla="*/ 3626 w 4017"/>
                <a:gd name="T33" fmla="*/ 5884 h 6116"/>
                <a:gd name="T34" fmla="*/ 3799 w 4017"/>
                <a:gd name="T35" fmla="*/ 5809 h 6116"/>
                <a:gd name="T36" fmla="*/ 3974 w 4017"/>
                <a:gd name="T37" fmla="*/ 5719 h 6116"/>
                <a:gd name="T38" fmla="*/ 3746 w 4017"/>
                <a:gd name="T39" fmla="*/ 4764 h 6116"/>
                <a:gd name="T40" fmla="*/ 3674 w 4017"/>
                <a:gd name="T41" fmla="*/ 4814 h 6116"/>
                <a:gd name="T42" fmla="*/ 3537 w 4017"/>
                <a:gd name="T43" fmla="*/ 4892 h 6116"/>
                <a:gd name="T44" fmla="*/ 3279 w 4017"/>
                <a:gd name="T45" fmla="*/ 5001 h 6116"/>
                <a:gd name="T46" fmla="*/ 2980 w 4017"/>
                <a:gd name="T47" fmla="*/ 5089 h 6116"/>
                <a:gd name="T48" fmla="*/ 2645 w 4017"/>
                <a:gd name="T49" fmla="*/ 5153 h 6116"/>
                <a:gd name="T50" fmla="*/ 2517 w 4017"/>
                <a:gd name="T51" fmla="*/ 3231 h 6116"/>
                <a:gd name="T52" fmla="*/ 2743 w 4017"/>
                <a:gd name="T53" fmla="*/ 3184 h 6116"/>
                <a:gd name="T54" fmla="*/ 2944 w 4017"/>
                <a:gd name="T55" fmla="*/ 3122 h 6116"/>
                <a:gd name="T56" fmla="*/ 3118 w 4017"/>
                <a:gd name="T57" fmla="*/ 3045 h 6116"/>
                <a:gd name="T58" fmla="*/ 3227 w 4017"/>
                <a:gd name="T59" fmla="*/ 2979 h 6116"/>
                <a:gd name="T60" fmla="*/ 3409 w 4017"/>
                <a:gd name="T61" fmla="*/ 3951 h 6116"/>
                <a:gd name="T62" fmla="*/ 3208 w 4017"/>
                <a:gd name="T63" fmla="*/ 4051 h 6116"/>
                <a:gd name="T64" fmla="*/ 2970 w 4017"/>
                <a:gd name="T65" fmla="*/ 4136 h 6116"/>
                <a:gd name="T66" fmla="*/ 2700 w 4017"/>
                <a:gd name="T67" fmla="*/ 4200 h 6116"/>
                <a:gd name="T68" fmla="*/ 2457 w 4017"/>
                <a:gd name="T69" fmla="*/ 3241 h 6116"/>
                <a:gd name="T70" fmla="*/ 2333 w 4017"/>
                <a:gd name="T71" fmla="*/ 1314 h 6116"/>
                <a:gd name="T72" fmla="*/ 2565 w 4017"/>
                <a:gd name="T73" fmla="*/ 1261 h 6116"/>
                <a:gd name="T74" fmla="*/ 2712 w 4017"/>
                <a:gd name="T75" fmla="*/ 1206 h 6116"/>
                <a:gd name="T76" fmla="*/ 2919 w 4017"/>
                <a:gd name="T77" fmla="*/ 2150 h 6116"/>
                <a:gd name="T78" fmla="*/ 2786 w 4017"/>
                <a:gd name="T79" fmla="*/ 2211 h 6116"/>
                <a:gd name="T80" fmla="*/ 2633 w 4017"/>
                <a:gd name="T81" fmla="*/ 2262 h 6116"/>
                <a:gd name="T82" fmla="*/ 2459 w 4017"/>
                <a:gd name="T83" fmla="*/ 2302 h 6116"/>
                <a:gd name="T84" fmla="*/ 2270 w 4017"/>
                <a:gd name="T85" fmla="*/ 1323 h 6116"/>
                <a:gd name="T86" fmla="*/ 2231 w 4017"/>
                <a:gd name="T87" fmla="*/ 3 h 6116"/>
                <a:gd name="T88" fmla="*/ 2289 w 4017"/>
                <a:gd name="T89" fmla="*/ 3 h 6116"/>
                <a:gd name="T90" fmla="*/ 2341 w 4017"/>
                <a:gd name="T91" fmla="*/ 28 h 6116"/>
                <a:gd name="T92" fmla="*/ 2383 w 4017"/>
                <a:gd name="T93" fmla="*/ 81 h 6116"/>
                <a:gd name="T94" fmla="*/ 2404 w 4017"/>
                <a:gd name="T95" fmla="*/ 140 h 6116"/>
                <a:gd name="T96" fmla="*/ 2392 w 4017"/>
                <a:gd name="T97" fmla="*/ 323 h 6116"/>
                <a:gd name="T98" fmla="*/ 2255 w 4017"/>
                <a:gd name="T99" fmla="*/ 363 h 6116"/>
                <a:gd name="T100" fmla="*/ 2168 w 4017"/>
                <a:gd name="T101" fmla="*/ 276 h 6116"/>
                <a:gd name="T102" fmla="*/ 2158 w 4017"/>
                <a:gd name="T103" fmla="*/ 154 h 6116"/>
                <a:gd name="T104" fmla="*/ 2163 w 4017"/>
                <a:gd name="T105" fmla="*/ 77 h 6116"/>
                <a:gd name="T106" fmla="*/ 2180 w 4017"/>
                <a:gd name="T107" fmla="*/ 34 h 6116"/>
                <a:gd name="T108" fmla="*/ 2201 w 4017"/>
                <a:gd name="T109" fmla="*/ 14 h 6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017" h="6116">
                  <a:moveTo>
                    <a:pt x="775" y="4047"/>
                  </a:moveTo>
                  <a:lnTo>
                    <a:pt x="775" y="4047"/>
                  </a:lnTo>
                  <a:lnTo>
                    <a:pt x="1012" y="3103"/>
                  </a:lnTo>
                  <a:lnTo>
                    <a:pt x="1012" y="3103"/>
                  </a:lnTo>
                  <a:lnTo>
                    <a:pt x="977" y="3089"/>
                  </a:lnTo>
                  <a:lnTo>
                    <a:pt x="945" y="3074"/>
                  </a:lnTo>
                  <a:lnTo>
                    <a:pt x="913" y="3059"/>
                  </a:lnTo>
                  <a:lnTo>
                    <a:pt x="883" y="3044"/>
                  </a:lnTo>
                  <a:lnTo>
                    <a:pt x="883" y="3044"/>
                  </a:lnTo>
                  <a:lnTo>
                    <a:pt x="582" y="3949"/>
                  </a:lnTo>
                  <a:lnTo>
                    <a:pt x="582" y="3949"/>
                  </a:lnTo>
                  <a:lnTo>
                    <a:pt x="627" y="3975"/>
                  </a:lnTo>
                  <a:lnTo>
                    <a:pt x="674" y="4000"/>
                  </a:lnTo>
                  <a:lnTo>
                    <a:pt x="723" y="4024"/>
                  </a:lnTo>
                  <a:lnTo>
                    <a:pt x="775" y="4047"/>
                  </a:lnTo>
                  <a:lnTo>
                    <a:pt x="775" y="4047"/>
                  </a:lnTo>
                  <a:close/>
                  <a:moveTo>
                    <a:pt x="552" y="4937"/>
                  </a:moveTo>
                  <a:lnTo>
                    <a:pt x="552" y="4937"/>
                  </a:lnTo>
                  <a:lnTo>
                    <a:pt x="319" y="5869"/>
                  </a:lnTo>
                  <a:lnTo>
                    <a:pt x="318" y="5869"/>
                  </a:lnTo>
                  <a:lnTo>
                    <a:pt x="318" y="5869"/>
                  </a:lnTo>
                  <a:lnTo>
                    <a:pt x="276" y="5852"/>
                  </a:lnTo>
                  <a:lnTo>
                    <a:pt x="234" y="5834"/>
                  </a:lnTo>
                  <a:lnTo>
                    <a:pt x="234" y="5834"/>
                  </a:lnTo>
                  <a:lnTo>
                    <a:pt x="190" y="5813"/>
                  </a:lnTo>
                  <a:lnTo>
                    <a:pt x="149" y="5792"/>
                  </a:lnTo>
                  <a:lnTo>
                    <a:pt x="110" y="5772"/>
                  </a:lnTo>
                  <a:lnTo>
                    <a:pt x="75" y="5753"/>
                  </a:lnTo>
                  <a:lnTo>
                    <a:pt x="23" y="5723"/>
                  </a:lnTo>
                  <a:lnTo>
                    <a:pt x="0" y="5710"/>
                  </a:lnTo>
                  <a:lnTo>
                    <a:pt x="0" y="5709"/>
                  </a:lnTo>
                  <a:lnTo>
                    <a:pt x="0" y="5709"/>
                  </a:lnTo>
                  <a:lnTo>
                    <a:pt x="301" y="4801"/>
                  </a:lnTo>
                  <a:lnTo>
                    <a:pt x="301" y="4801"/>
                  </a:lnTo>
                  <a:lnTo>
                    <a:pt x="329" y="4819"/>
                  </a:lnTo>
                  <a:lnTo>
                    <a:pt x="358" y="4837"/>
                  </a:lnTo>
                  <a:lnTo>
                    <a:pt x="388" y="4855"/>
                  </a:lnTo>
                  <a:lnTo>
                    <a:pt x="418" y="4871"/>
                  </a:lnTo>
                  <a:lnTo>
                    <a:pt x="450" y="4888"/>
                  </a:lnTo>
                  <a:lnTo>
                    <a:pt x="484" y="4905"/>
                  </a:lnTo>
                  <a:lnTo>
                    <a:pt x="517" y="4921"/>
                  </a:lnTo>
                  <a:lnTo>
                    <a:pt x="552" y="4937"/>
                  </a:lnTo>
                  <a:lnTo>
                    <a:pt x="552" y="4937"/>
                  </a:lnTo>
                  <a:close/>
                  <a:moveTo>
                    <a:pt x="2645" y="5153"/>
                  </a:moveTo>
                  <a:lnTo>
                    <a:pt x="2645" y="5153"/>
                  </a:lnTo>
                  <a:lnTo>
                    <a:pt x="2740" y="6116"/>
                  </a:lnTo>
                  <a:lnTo>
                    <a:pt x="2740" y="6116"/>
                  </a:lnTo>
                  <a:lnTo>
                    <a:pt x="2806" y="6107"/>
                  </a:lnTo>
                  <a:lnTo>
                    <a:pt x="2875" y="6096"/>
                  </a:lnTo>
                  <a:lnTo>
                    <a:pt x="2943" y="6083"/>
                  </a:lnTo>
                  <a:lnTo>
                    <a:pt x="3013" y="6070"/>
                  </a:lnTo>
                  <a:lnTo>
                    <a:pt x="3084" y="6055"/>
                  </a:lnTo>
                  <a:lnTo>
                    <a:pt x="3154" y="6038"/>
                  </a:lnTo>
                  <a:lnTo>
                    <a:pt x="3225" y="6020"/>
                  </a:lnTo>
                  <a:lnTo>
                    <a:pt x="3296" y="6000"/>
                  </a:lnTo>
                  <a:lnTo>
                    <a:pt x="3296" y="6000"/>
                  </a:lnTo>
                  <a:lnTo>
                    <a:pt x="3307" y="5997"/>
                  </a:lnTo>
                  <a:lnTo>
                    <a:pt x="3307" y="5997"/>
                  </a:lnTo>
                  <a:lnTo>
                    <a:pt x="3321" y="5992"/>
                  </a:lnTo>
                  <a:lnTo>
                    <a:pt x="3321" y="5992"/>
                  </a:lnTo>
                  <a:lnTo>
                    <a:pt x="3338" y="5987"/>
                  </a:lnTo>
                  <a:lnTo>
                    <a:pt x="3338" y="5987"/>
                  </a:lnTo>
                  <a:lnTo>
                    <a:pt x="3342" y="5986"/>
                  </a:lnTo>
                  <a:lnTo>
                    <a:pt x="3342" y="5986"/>
                  </a:lnTo>
                  <a:lnTo>
                    <a:pt x="3421" y="5960"/>
                  </a:lnTo>
                  <a:lnTo>
                    <a:pt x="3502" y="5932"/>
                  </a:lnTo>
                  <a:lnTo>
                    <a:pt x="3585" y="5901"/>
                  </a:lnTo>
                  <a:lnTo>
                    <a:pt x="3626" y="5884"/>
                  </a:lnTo>
                  <a:lnTo>
                    <a:pt x="3669" y="5866"/>
                  </a:lnTo>
                  <a:lnTo>
                    <a:pt x="3713" y="5849"/>
                  </a:lnTo>
                  <a:lnTo>
                    <a:pt x="3755" y="5829"/>
                  </a:lnTo>
                  <a:lnTo>
                    <a:pt x="3799" y="5809"/>
                  </a:lnTo>
                  <a:lnTo>
                    <a:pt x="3843" y="5787"/>
                  </a:lnTo>
                  <a:lnTo>
                    <a:pt x="3886" y="5765"/>
                  </a:lnTo>
                  <a:lnTo>
                    <a:pt x="3930" y="5742"/>
                  </a:lnTo>
                  <a:lnTo>
                    <a:pt x="3974" y="5719"/>
                  </a:lnTo>
                  <a:lnTo>
                    <a:pt x="4016" y="5694"/>
                  </a:lnTo>
                  <a:lnTo>
                    <a:pt x="4017" y="5694"/>
                  </a:lnTo>
                  <a:lnTo>
                    <a:pt x="4017" y="5694"/>
                  </a:lnTo>
                  <a:lnTo>
                    <a:pt x="3746" y="4764"/>
                  </a:lnTo>
                  <a:lnTo>
                    <a:pt x="3746" y="4764"/>
                  </a:lnTo>
                  <a:lnTo>
                    <a:pt x="3723" y="4782"/>
                  </a:lnTo>
                  <a:lnTo>
                    <a:pt x="3699" y="4798"/>
                  </a:lnTo>
                  <a:lnTo>
                    <a:pt x="3674" y="4814"/>
                  </a:lnTo>
                  <a:lnTo>
                    <a:pt x="3648" y="4831"/>
                  </a:lnTo>
                  <a:lnTo>
                    <a:pt x="3621" y="4846"/>
                  </a:lnTo>
                  <a:lnTo>
                    <a:pt x="3594" y="4862"/>
                  </a:lnTo>
                  <a:lnTo>
                    <a:pt x="3537" y="4892"/>
                  </a:lnTo>
                  <a:lnTo>
                    <a:pt x="3477" y="4921"/>
                  </a:lnTo>
                  <a:lnTo>
                    <a:pt x="3414" y="4948"/>
                  </a:lnTo>
                  <a:lnTo>
                    <a:pt x="3348" y="4976"/>
                  </a:lnTo>
                  <a:lnTo>
                    <a:pt x="3279" y="5001"/>
                  </a:lnTo>
                  <a:lnTo>
                    <a:pt x="3208" y="5024"/>
                  </a:lnTo>
                  <a:lnTo>
                    <a:pt x="3135" y="5047"/>
                  </a:lnTo>
                  <a:lnTo>
                    <a:pt x="3059" y="5069"/>
                  </a:lnTo>
                  <a:lnTo>
                    <a:pt x="2980" y="5089"/>
                  </a:lnTo>
                  <a:lnTo>
                    <a:pt x="2900" y="5107"/>
                  </a:lnTo>
                  <a:lnTo>
                    <a:pt x="2817" y="5123"/>
                  </a:lnTo>
                  <a:lnTo>
                    <a:pt x="2731" y="5139"/>
                  </a:lnTo>
                  <a:lnTo>
                    <a:pt x="2645" y="5153"/>
                  </a:lnTo>
                  <a:lnTo>
                    <a:pt x="2645" y="5153"/>
                  </a:lnTo>
                  <a:close/>
                  <a:moveTo>
                    <a:pt x="2457" y="3241"/>
                  </a:moveTo>
                  <a:lnTo>
                    <a:pt x="2457" y="3241"/>
                  </a:lnTo>
                  <a:lnTo>
                    <a:pt x="2517" y="3231"/>
                  </a:lnTo>
                  <a:lnTo>
                    <a:pt x="2575" y="3221"/>
                  </a:lnTo>
                  <a:lnTo>
                    <a:pt x="2633" y="3210"/>
                  </a:lnTo>
                  <a:lnTo>
                    <a:pt x="2689" y="3198"/>
                  </a:lnTo>
                  <a:lnTo>
                    <a:pt x="2743" y="3184"/>
                  </a:lnTo>
                  <a:lnTo>
                    <a:pt x="2796" y="3170"/>
                  </a:lnTo>
                  <a:lnTo>
                    <a:pt x="2847" y="3154"/>
                  </a:lnTo>
                  <a:lnTo>
                    <a:pt x="2897" y="3139"/>
                  </a:lnTo>
                  <a:lnTo>
                    <a:pt x="2944" y="3122"/>
                  </a:lnTo>
                  <a:lnTo>
                    <a:pt x="2991" y="3103"/>
                  </a:lnTo>
                  <a:lnTo>
                    <a:pt x="3035" y="3084"/>
                  </a:lnTo>
                  <a:lnTo>
                    <a:pt x="3077" y="3066"/>
                  </a:lnTo>
                  <a:lnTo>
                    <a:pt x="3118" y="3045"/>
                  </a:lnTo>
                  <a:lnTo>
                    <a:pt x="3157" y="3024"/>
                  </a:lnTo>
                  <a:lnTo>
                    <a:pt x="3193" y="3002"/>
                  </a:lnTo>
                  <a:lnTo>
                    <a:pt x="3227" y="2979"/>
                  </a:lnTo>
                  <a:lnTo>
                    <a:pt x="3227" y="2979"/>
                  </a:lnTo>
                  <a:lnTo>
                    <a:pt x="3493" y="3895"/>
                  </a:lnTo>
                  <a:lnTo>
                    <a:pt x="3493" y="3895"/>
                  </a:lnTo>
                  <a:lnTo>
                    <a:pt x="3453" y="3923"/>
                  </a:lnTo>
                  <a:lnTo>
                    <a:pt x="3409" y="3951"/>
                  </a:lnTo>
                  <a:lnTo>
                    <a:pt x="3363" y="3977"/>
                  </a:lnTo>
                  <a:lnTo>
                    <a:pt x="3315" y="4003"/>
                  </a:lnTo>
                  <a:lnTo>
                    <a:pt x="3263" y="4027"/>
                  </a:lnTo>
                  <a:lnTo>
                    <a:pt x="3208" y="4051"/>
                  </a:lnTo>
                  <a:lnTo>
                    <a:pt x="3152" y="4074"/>
                  </a:lnTo>
                  <a:lnTo>
                    <a:pt x="3094" y="4095"/>
                  </a:lnTo>
                  <a:lnTo>
                    <a:pt x="3034" y="4116"/>
                  </a:lnTo>
                  <a:lnTo>
                    <a:pt x="2970" y="4136"/>
                  </a:lnTo>
                  <a:lnTo>
                    <a:pt x="2906" y="4153"/>
                  </a:lnTo>
                  <a:lnTo>
                    <a:pt x="2838" y="4170"/>
                  </a:lnTo>
                  <a:lnTo>
                    <a:pt x="2770" y="4186"/>
                  </a:lnTo>
                  <a:lnTo>
                    <a:pt x="2700" y="4200"/>
                  </a:lnTo>
                  <a:lnTo>
                    <a:pt x="2627" y="4213"/>
                  </a:lnTo>
                  <a:lnTo>
                    <a:pt x="2554" y="4224"/>
                  </a:lnTo>
                  <a:lnTo>
                    <a:pt x="2554" y="4224"/>
                  </a:lnTo>
                  <a:lnTo>
                    <a:pt x="2457" y="3241"/>
                  </a:lnTo>
                  <a:lnTo>
                    <a:pt x="2457" y="3241"/>
                  </a:lnTo>
                  <a:close/>
                  <a:moveTo>
                    <a:pt x="2270" y="1323"/>
                  </a:moveTo>
                  <a:lnTo>
                    <a:pt x="2270" y="1323"/>
                  </a:lnTo>
                  <a:lnTo>
                    <a:pt x="2333" y="1314"/>
                  </a:lnTo>
                  <a:lnTo>
                    <a:pt x="2394" y="1304"/>
                  </a:lnTo>
                  <a:lnTo>
                    <a:pt x="2454" y="1291"/>
                  </a:lnTo>
                  <a:lnTo>
                    <a:pt x="2511" y="1277"/>
                  </a:lnTo>
                  <a:lnTo>
                    <a:pt x="2565" y="1261"/>
                  </a:lnTo>
                  <a:lnTo>
                    <a:pt x="2617" y="1244"/>
                  </a:lnTo>
                  <a:lnTo>
                    <a:pt x="2666" y="1226"/>
                  </a:lnTo>
                  <a:lnTo>
                    <a:pt x="2712" y="1206"/>
                  </a:lnTo>
                  <a:lnTo>
                    <a:pt x="2712" y="1206"/>
                  </a:lnTo>
                  <a:lnTo>
                    <a:pt x="2976" y="2116"/>
                  </a:lnTo>
                  <a:lnTo>
                    <a:pt x="2976" y="2116"/>
                  </a:lnTo>
                  <a:lnTo>
                    <a:pt x="2949" y="2133"/>
                  </a:lnTo>
                  <a:lnTo>
                    <a:pt x="2919" y="2150"/>
                  </a:lnTo>
                  <a:lnTo>
                    <a:pt x="2888" y="2166"/>
                  </a:lnTo>
                  <a:lnTo>
                    <a:pt x="2856" y="2182"/>
                  </a:lnTo>
                  <a:lnTo>
                    <a:pt x="2822" y="2197"/>
                  </a:lnTo>
                  <a:lnTo>
                    <a:pt x="2786" y="2211"/>
                  </a:lnTo>
                  <a:lnTo>
                    <a:pt x="2750" y="2225"/>
                  </a:lnTo>
                  <a:lnTo>
                    <a:pt x="2713" y="2238"/>
                  </a:lnTo>
                  <a:lnTo>
                    <a:pt x="2673" y="2251"/>
                  </a:lnTo>
                  <a:lnTo>
                    <a:pt x="2633" y="2262"/>
                  </a:lnTo>
                  <a:lnTo>
                    <a:pt x="2591" y="2274"/>
                  </a:lnTo>
                  <a:lnTo>
                    <a:pt x="2548" y="2284"/>
                  </a:lnTo>
                  <a:lnTo>
                    <a:pt x="2505" y="2294"/>
                  </a:lnTo>
                  <a:lnTo>
                    <a:pt x="2459" y="2302"/>
                  </a:lnTo>
                  <a:lnTo>
                    <a:pt x="2413" y="2310"/>
                  </a:lnTo>
                  <a:lnTo>
                    <a:pt x="2366" y="2316"/>
                  </a:lnTo>
                  <a:lnTo>
                    <a:pt x="2366" y="2316"/>
                  </a:lnTo>
                  <a:lnTo>
                    <a:pt x="2270" y="1323"/>
                  </a:lnTo>
                  <a:lnTo>
                    <a:pt x="2270" y="1323"/>
                  </a:lnTo>
                  <a:close/>
                  <a:moveTo>
                    <a:pt x="2216" y="8"/>
                  </a:moveTo>
                  <a:lnTo>
                    <a:pt x="2216" y="8"/>
                  </a:lnTo>
                  <a:lnTo>
                    <a:pt x="2231" y="3"/>
                  </a:lnTo>
                  <a:lnTo>
                    <a:pt x="2246" y="1"/>
                  </a:lnTo>
                  <a:lnTo>
                    <a:pt x="2261" y="0"/>
                  </a:lnTo>
                  <a:lnTo>
                    <a:pt x="2276" y="1"/>
                  </a:lnTo>
                  <a:lnTo>
                    <a:pt x="2289" y="3"/>
                  </a:lnTo>
                  <a:lnTo>
                    <a:pt x="2304" y="8"/>
                  </a:lnTo>
                  <a:lnTo>
                    <a:pt x="2316" y="13"/>
                  </a:lnTo>
                  <a:lnTo>
                    <a:pt x="2330" y="20"/>
                  </a:lnTo>
                  <a:lnTo>
                    <a:pt x="2341" y="28"/>
                  </a:lnTo>
                  <a:lnTo>
                    <a:pt x="2353" y="40"/>
                  </a:lnTo>
                  <a:lnTo>
                    <a:pt x="2364" y="51"/>
                  </a:lnTo>
                  <a:lnTo>
                    <a:pt x="2374" y="66"/>
                  </a:lnTo>
                  <a:lnTo>
                    <a:pt x="2383" y="81"/>
                  </a:lnTo>
                  <a:lnTo>
                    <a:pt x="2391" y="99"/>
                  </a:lnTo>
                  <a:lnTo>
                    <a:pt x="2398" y="118"/>
                  </a:lnTo>
                  <a:lnTo>
                    <a:pt x="2404" y="140"/>
                  </a:lnTo>
                  <a:lnTo>
                    <a:pt x="2404" y="140"/>
                  </a:lnTo>
                  <a:lnTo>
                    <a:pt x="2449" y="298"/>
                  </a:lnTo>
                  <a:lnTo>
                    <a:pt x="2449" y="298"/>
                  </a:lnTo>
                  <a:lnTo>
                    <a:pt x="2421" y="311"/>
                  </a:lnTo>
                  <a:lnTo>
                    <a:pt x="2392" y="323"/>
                  </a:lnTo>
                  <a:lnTo>
                    <a:pt x="2360" y="335"/>
                  </a:lnTo>
                  <a:lnTo>
                    <a:pt x="2327" y="345"/>
                  </a:lnTo>
                  <a:lnTo>
                    <a:pt x="2293" y="354"/>
                  </a:lnTo>
                  <a:lnTo>
                    <a:pt x="2255" y="363"/>
                  </a:lnTo>
                  <a:lnTo>
                    <a:pt x="2217" y="370"/>
                  </a:lnTo>
                  <a:lnTo>
                    <a:pt x="2177" y="376"/>
                  </a:lnTo>
                  <a:lnTo>
                    <a:pt x="2177" y="376"/>
                  </a:lnTo>
                  <a:lnTo>
                    <a:pt x="2168" y="276"/>
                  </a:lnTo>
                  <a:lnTo>
                    <a:pt x="2168" y="276"/>
                  </a:lnTo>
                  <a:lnTo>
                    <a:pt x="2165" y="237"/>
                  </a:lnTo>
                  <a:lnTo>
                    <a:pt x="2162" y="195"/>
                  </a:lnTo>
                  <a:lnTo>
                    <a:pt x="2158" y="154"/>
                  </a:lnTo>
                  <a:lnTo>
                    <a:pt x="2157" y="134"/>
                  </a:lnTo>
                  <a:lnTo>
                    <a:pt x="2158" y="114"/>
                  </a:lnTo>
                  <a:lnTo>
                    <a:pt x="2159" y="95"/>
                  </a:lnTo>
                  <a:lnTo>
                    <a:pt x="2163" y="77"/>
                  </a:lnTo>
                  <a:lnTo>
                    <a:pt x="2167" y="62"/>
                  </a:lnTo>
                  <a:lnTo>
                    <a:pt x="2172" y="47"/>
                  </a:lnTo>
                  <a:lnTo>
                    <a:pt x="2176" y="40"/>
                  </a:lnTo>
                  <a:lnTo>
                    <a:pt x="2180" y="34"/>
                  </a:lnTo>
                  <a:lnTo>
                    <a:pt x="2184" y="28"/>
                  </a:lnTo>
                  <a:lnTo>
                    <a:pt x="2190" y="23"/>
                  </a:lnTo>
                  <a:lnTo>
                    <a:pt x="2195" y="18"/>
                  </a:lnTo>
                  <a:lnTo>
                    <a:pt x="2201" y="14"/>
                  </a:lnTo>
                  <a:lnTo>
                    <a:pt x="2208" y="11"/>
                  </a:lnTo>
                  <a:lnTo>
                    <a:pt x="2216" y="8"/>
                  </a:lnTo>
                  <a:lnTo>
                    <a:pt x="2216" y="8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1" name="Freeform 78"/>
            <p:cNvSpPr>
              <a:spLocks/>
            </p:cNvSpPr>
            <p:nvPr/>
          </p:nvSpPr>
          <p:spPr bwMode="auto">
            <a:xfrm flipH="1">
              <a:off x="7033339" y="2110170"/>
              <a:ext cx="99337" cy="147051"/>
            </a:xfrm>
            <a:custGeom>
              <a:avLst/>
              <a:gdLst>
                <a:gd name="T0" fmla="*/ 272 w 535"/>
                <a:gd name="T1" fmla="*/ 0 h 1025"/>
                <a:gd name="T2" fmla="*/ 272 w 535"/>
                <a:gd name="T3" fmla="*/ 0 h 1025"/>
                <a:gd name="T4" fmla="*/ 535 w 535"/>
                <a:gd name="T5" fmla="*/ 908 h 1025"/>
                <a:gd name="T6" fmla="*/ 535 w 535"/>
                <a:gd name="T7" fmla="*/ 908 h 1025"/>
                <a:gd name="T8" fmla="*/ 489 w 535"/>
                <a:gd name="T9" fmla="*/ 928 h 1025"/>
                <a:gd name="T10" fmla="*/ 440 w 535"/>
                <a:gd name="T11" fmla="*/ 946 h 1025"/>
                <a:gd name="T12" fmla="*/ 388 w 535"/>
                <a:gd name="T13" fmla="*/ 963 h 1025"/>
                <a:gd name="T14" fmla="*/ 334 w 535"/>
                <a:gd name="T15" fmla="*/ 979 h 1025"/>
                <a:gd name="T16" fmla="*/ 277 w 535"/>
                <a:gd name="T17" fmla="*/ 993 h 1025"/>
                <a:gd name="T18" fmla="*/ 217 w 535"/>
                <a:gd name="T19" fmla="*/ 1006 h 1025"/>
                <a:gd name="T20" fmla="*/ 156 w 535"/>
                <a:gd name="T21" fmla="*/ 1016 h 1025"/>
                <a:gd name="T22" fmla="*/ 93 w 535"/>
                <a:gd name="T23" fmla="*/ 1025 h 1025"/>
                <a:gd name="T24" fmla="*/ 93 w 535"/>
                <a:gd name="T25" fmla="*/ 1025 h 1025"/>
                <a:gd name="T26" fmla="*/ 0 w 535"/>
                <a:gd name="T27" fmla="*/ 78 h 1025"/>
                <a:gd name="T28" fmla="*/ 0 w 535"/>
                <a:gd name="T29" fmla="*/ 78 h 1025"/>
                <a:gd name="T30" fmla="*/ 40 w 535"/>
                <a:gd name="T31" fmla="*/ 72 h 1025"/>
                <a:gd name="T32" fmla="*/ 78 w 535"/>
                <a:gd name="T33" fmla="*/ 65 h 1025"/>
                <a:gd name="T34" fmla="*/ 116 w 535"/>
                <a:gd name="T35" fmla="*/ 56 h 1025"/>
                <a:gd name="T36" fmla="*/ 150 w 535"/>
                <a:gd name="T37" fmla="*/ 47 h 1025"/>
                <a:gd name="T38" fmla="*/ 183 w 535"/>
                <a:gd name="T39" fmla="*/ 37 h 1025"/>
                <a:gd name="T40" fmla="*/ 215 w 535"/>
                <a:gd name="T41" fmla="*/ 25 h 1025"/>
                <a:gd name="T42" fmla="*/ 244 w 535"/>
                <a:gd name="T43" fmla="*/ 13 h 1025"/>
                <a:gd name="T44" fmla="*/ 272 w 535"/>
                <a:gd name="T45" fmla="*/ 0 h 1025"/>
                <a:gd name="T46" fmla="*/ 272 w 535"/>
                <a:gd name="T47" fmla="*/ 0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5" h="1025">
                  <a:moveTo>
                    <a:pt x="272" y="0"/>
                  </a:moveTo>
                  <a:lnTo>
                    <a:pt x="272" y="0"/>
                  </a:lnTo>
                  <a:lnTo>
                    <a:pt x="535" y="908"/>
                  </a:lnTo>
                  <a:lnTo>
                    <a:pt x="535" y="908"/>
                  </a:lnTo>
                  <a:lnTo>
                    <a:pt x="489" y="928"/>
                  </a:lnTo>
                  <a:lnTo>
                    <a:pt x="440" y="946"/>
                  </a:lnTo>
                  <a:lnTo>
                    <a:pt x="388" y="963"/>
                  </a:lnTo>
                  <a:lnTo>
                    <a:pt x="334" y="979"/>
                  </a:lnTo>
                  <a:lnTo>
                    <a:pt x="277" y="993"/>
                  </a:lnTo>
                  <a:lnTo>
                    <a:pt x="217" y="1006"/>
                  </a:lnTo>
                  <a:lnTo>
                    <a:pt x="156" y="1016"/>
                  </a:lnTo>
                  <a:lnTo>
                    <a:pt x="93" y="1025"/>
                  </a:lnTo>
                  <a:lnTo>
                    <a:pt x="93" y="102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0" y="72"/>
                  </a:lnTo>
                  <a:lnTo>
                    <a:pt x="78" y="65"/>
                  </a:lnTo>
                  <a:lnTo>
                    <a:pt x="116" y="56"/>
                  </a:lnTo>
                  <a:lnTo>
                    <a:pt x="150" y="47"/>
                  </a:lnTo>
                  <a:lnTo>
                    <a:pt x="183" y="37"/>
                  </a:lnTo>
                  <a:lnTo>
                    <a:pt x="215" y="25"/>
                  </a:lnTo>
                  <a:lnTo>
                    <a:pt x="244" y="13"/>
                  </a:lnTo>
                  <a:lnTo>
                    <a:pt x="272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2" name="Freeform 79"/>
            <p:cNvSpPr>
              <a:spLocks noEditPoints="1"/>
            </p:cNvSpPr>
            <p:nvPr/>
          </p:nvSpPr>
          <p:spPr bwMode="auto">
            <a:xfrm flipH="1">
              <a:off x="6843696" y="2110170"/>
              <a:ext cx="634724" cy="696555"/>
            </a:xfrm>
            <a:custGeom>
              <a:avLst/>
              <a:gdLst>
                <a:gd name="T0" fmla="*/ 612 w 3445"/>
                <a:gd name="T1" fmla="*/ 2761 h 4855"/>
                <a:gd name="T2" fmla="*/ 711 w 3445"/>
                <a:gd name="T3" fmla="*/ 2805 h 4855"/>
                <a:gd name="T4" fmla="*/ 806 w 3445"/>
                <a:gd name="T5" fmla="*/ 2430 h 4855"/>
                <a:gd name="T6" fmla="*/ 817 w 3445"/>
                <a:gd name="T7" fmla="*/ 2381 h 4855"/>
                <a:gd name="T8" fmla="*/ 821 w 3445"/>
                <a:gd name="T9" fmla="*/ 2341 h 4855"/>
                <a:gd name="T10" fmla="*/ 818 w 3445"/>
                <a:gd name="T11" fmla="*/ 2313 h 4855"/>
                <a:gd name="T12" fmla="*/ 810 w 3445"/>
                <a:gd name="T13" fmla="*/ 2295 h 4855"/>
                <a:gd name="T14" fmla="*/ 798 w 3445"/>
                <a:gd name="T15" fmla="*/ 2285 h 4855"/>
                <a:gd name="T16" fmla="*/ 782 w 3445"/>
                <a:gd name="T17" fmla="*/ 2285 h 4855"/>
                <a:gd name="T18" fmla="*/ 765 w 3445"/>
                <a:gd name="T19" fmla="*/ 2294 h 4855"/>
                <a:gd name="T20" fmla="*/ 746 w 3445"/>
                <a:gd name="T21" fmla="*/ 2310 h 4855"/>
                <a:gd name="T22" fmla="*/ 711 w 3445"/>
                <a:gd name="T23" fmla="*/ 2369 h 4855"/>
                <a:gd name="T24" fmla="*/ 661 w 3445"/>
                <a:gd name="T25" fmla="*/ 2509 h 4855"/>
                <a:gd name="T26" fmla="*/ 474 w 3445"/>
                <a:gd name="T27" fmla="*/ 3749 h 4855"/>
                <a:gd name="T28" fmla="*/ 251 w 3445"/>
                <a:gd name="T29" fmla="*/ 4639 h 4855"/>
                <a:gd name="T30" fmla="*/ 149 w 3445"/>
                <a:gd name="T31" fmla="*/ 4590 h 4855"/>
                <a:gd name="T32" fmla="*/ 57 w 3445"/>
                <a:gd name="T33" fmla="*/ 4539 h 4855"/>
                <a:gd name="T34" fmla="*/ 0 w 3445"/>
                <a:gd name="T35" fmla="*/ 4503 h 4855"/>
                <a:gd name="T36" fmla="*/ 326 w 3445"/>
                <a:gd name="T37" fmla="*/ 3677 h 4855"/>
                <a:gd name="T38" fmla="*/ 474 w 3445"/>
                <a:gd name="T39" fmla="*/ 3749 h 4855"/>
                <a:gd name="T40" fmla="*/ 2156 w 3445"/>
                <a:gd name="T41" fmla="*/ 2943 h 4855"/>
                <a:gd name="T42" fmla="*/ 2332 w 3445"/>
                <a:gd name="T43" fmla="*/ 2912 h 4855"/>
                <a:gd name="T44" fmla="*/ 2495 w 3445"/>
                <a:gd name="T45" fmla="*/ 2872 h 4855"/>
                <a:gd name="T46" fmla="*/ 2643 w 3445"/>
                <a:gd name="T47" fmla="*/ 2824 h 4855"/>
                <a:gd name="T48" fmla="*/ 2776 w 3445"/>
                <a:gd name="T49" fmla="*/ 2768 h 4855"/>
                <a:gd name="T50" fmla="*/ 2892 w 3445"/>
                <a:gd name="T51" fmla="*/ 2704 h 4855"/>
                <a:gd name="T52" fmla="*/ 2675 w 3445"/>
                <a:gd name="T53" fmla="*/ 1818 h 4855"/>
                <a:gd name="T54" fmla="*/ 2618 w 3445"/>
                <a:gd name="T55" fmla="*/ 1852 h 4855"/>
                <a:gd name="T56" fmla="*/ 2521 w 3445"/>
                <a:gd name="T57" fmla="*/ 1899 h 4855"/>
                <a:gd name="T58" fmla="*/ 2412 w 3445"/>
                <a:gd name="T59" fmla="*/ 1940 h 4855"/>
                <a:gd name="T60" fmla="*/ 2290 w 3445"/>
                <a:gd name="T61" fmla="*/ 1976 h 4855"/>
                <a:gd name="T62" fmla="*/ 2158 w 3445"/>
                <a:gd name="T63" fmla="*/ 2004 h 4855"/>
                <a:gd name="T64" fmla="*/ 2065 w 3445"/>
                <a:gd name="T65" fmla="*/ 2018 h 4855"/>
                <a:gd name="T66" fmla="*/ 3192 w 3445"/>
                <a:gd name="T67" fmla="*/ 3597 h 4855"/>
                <a:gd name="T68" fmla="*/ 3445 w 3445"/>
                <a:gd name="T69" fmla="*/ 4466 h 4855"/>
                <a:gd name="T70" fmla="*/ 3373 w 3445"/>
                <a:gd name="T71" fmla="*/ 4516 h 4855"/>
                <a:gd name="T72" fmla="*/ 3293 w 3445"/>
                <a:gd name="T73" fmla="*/ 4564 h 4855"/>
                <a:gd name="T74" fmla="*/ 3113 w 3445"/>
                <a:gd name="T75" fmla="*/ 4650 h 4855"/>
                <a:gd name="T76" fmla="*/ 2907 w 3445"/>
                <a:gd name="T77" fmla="*/ 4726 h 4855"/>
                <a:gd name="T78" fmla="*/ 2679 w 3445"/>
                <a:gd name="T79" fmla="*/ 4791 h 4855"/>
                <a:gd name="T80" fmla="*/ 2430 w 3445"/>
                <a:gd name="T81" fmla="*/ 4841 h 4855"/>
                <a:gd name="T82" fmla="*/ 2253 w 3445"/>
                <a:gd name="T83" fmla="*/ 3926 h 4855"/>
                <a:gd name="T84" fmla="*/ 2399 w 3445"/>
                <a:gd name="T85" fmla="*/ 3902 h 4855"/>
                <a:gd name="T86" fmla="*/ 2605 w 3445"/>
                <a:gd name="T87" fmla="*/ 3855 h 4855"/>
                <a:gd name="T88" fmla="*/ 2793 w 3445"/>
                <a:gd name="T89" fmla="*/ 3797 h 4855"/>
                <a:gd name="T90" fmla="*/ 2962 w 3445"/>
                <a:gd name="T91" fmla="*/ 3729 h 4855"/>
                <a:gd name="T92" fmla="*/ 3108 w 3445"/>
                <a:gd name="T93" fmla="*/ 3653 h 4855"/>
                <a:gd name="T94" fmla="*/ 3192 w 3445"/>
                <a:gd name="T95" fmla="*/ 3597 h 4855"/>
                <a:gd name="T96" fmla="*/ 2411 w 3445"/>
                <a:gd name="T97" fmla="*/ 908 h 4855"/>
                <a:gd name="T98" fmla="*/ 2316 w 3445"/>
                <a:gd name="T99" fmla="*/ 946 h 4855"/>
                <a:gd name="T100" fmla="*/ 2153 w 3445"/>
                <a:gd name="T101" fmla="*/ 993 h 4855"/>
                <a:gd name="T102" fmla="*/ 1969 w 3445"/>
                <a:gd name="T103" fmla="*/ 1025 h 4855"/>
                <a:gd name="T104" fmla="*/ 1876 w 3445"/>
                <a:gd name="T105" fmla="*/ 78 h 4855"/>
                <a:gd name="T106" fmla="*/ 1992 w 3445"/>
                <a:gd name="T107" fmla="*/ 56 h 4855"/>
                <a:gd name="T108" fmla="*/ 2091 w 3445"/>
                <a:gd name="T109" fmla="*/ 25 h 4855"/>
                <a:gd name="T110" fmla="*/ 2148 w 3445"/>
                <a:gd name="T111" fmla="*/ 0 h 4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45" h="4855">
                  <a:moveTo>
                    <a:pt x="582" y="2746"/>
                  </a:moveTo>
                  <a:lnTo>
                    <a:pt x="582" y="2746"/>
                  </a:lnTo>
                  <a:lnTo>
                    <a:pt x="612" y="2761"/>
                  </a:lnTo>
                  <a:lnTo>
                    <a:pt x="644" y="2776"/>
                  </a:lnTo>
                  <a:lnTo>
                    <a:pt x="676" y="2791"/>
                  </a:lnTo>
                  <a:lnTo>
                    <a:pt x="711" y="2805"/>
                  </a:lnTo>
                  <a:lnTo>
                    <a:pt x="711" y="2805"/>
                  </a:lnTo>
                  <a:lnTo>
                    <a:pt x="773" y="2557"/>
                  </a:lnTo>
                  <a:lnTo>
                    <a:pt x="806" y="2430"/>
                  </a:lnTo>
                  <a:lnTo>
                    <a:pt x="806" y="2430"/>
                  </a:lnTo>
                  <a:lnTo>
                    <a:pt x="815" y="2396"/>
                  </a:lnTo>
                  <a:lnTo>
                    <a:pt x="817" y="2381"/>
                  </a:lnTo>
                  <a:lnTo>
                    <a:pt x="819" y="2366"/>
                  </a:lnTo>
                  <a:lnTo>
                    <a:pt x="820" y="2354"/>
                  </a:lnTo>
                  <a:lnTo>
                    <a:pt x="821" y="2341"/>
                  </a:lnTo>
                  <a:lnTo>
                    <a:pt x="820" y="2331"/>
                  </a:lnTo>
                  <a:lnTo>
                    <a:pt x="820" y="2322"/>
                  </a:lnTo>
                  <a:lnTo>
                    <a:pt x="818" y="2313"/>
                  </a:lnTo>
                  <a:lnTo>
                    <a:pt x="816" y="2306"/>
                  </a:lnTo>
                  <a:lnTo>
                    <a:pt x="813" y="2300"/>
                  </a:lnTo>
                  <a:lnTo>
                    <a:pt x="810" y="2295"/>
                  </a:lnTo>
                  <a:lnTo>
                    <a:pt x="806" y="2290"/>
                  </a:lnTo>
                  <a:lnTo>
                    <a:pt x="802" y="2287"/>
                  </a:lnTo>
                  <a:lnTo>
                    <a:pt x="798" y="2285"/>
                  </a:lnTo>
                  <a:lnTo>
                    <a:pt x="793" y="2284"/>
                  </a:lnTo>
                  <a:lnTo>
                    <a:pt x="788" y="2284"/>
                  </a:lnTo>
                  <a:lnTo>
                    <a:pt x="782" y="2285"/>
                  </a:lnTo>
                  <a:lnTo>
                    <a:pt x="776" y="2286"/>
                  </a:lnTo>
                  <a:lnTo>
                    <a:pt x="771" y="2289"/>
                  </a:lnTo>
                  <a:lnTo>
                    <a:pt x="765" y="2294"/>
                  </a:lnTo>
                  <a:lnTo>
                    <a:pt x="759" y="2298"/>
                  </a:lnTo>
                  <a:lnTo>
                    <a:pt x="752" y="2304"/>
                  </a:lnTo>
                  <a:lnTo>
                    <a:pt x="746" y="2310"/>
                  </a:lnTo>
                  <a:lnTo>
                    <a:pt x="734" y="2327"/>
                  </a:lnTo>
                  <a:lnTo>
                    <a:pt x="722" y="2346"/>
                  </a:lnTo>
                  <a:lnTo>
                    <a:pt x="711" y="2369"/>
                  </a:lnTo>
                  <a:lnTo>
                    <a:pt x="700" y="2395"/>
                  </a:lnTo>
                  <a:lnTo>
                    <a:pt x="700" y="2395"/>
                  </a:lnTo>
                  <a:lnTo>
                    <a:pt x="661" y="2509"/>
                  </a:lnTo>
                  <a:lnTo>
                    <a:pt x="582" y="2746"/>
                  </a:lnTo>
                  <a:lnTo>
                    <a:pt x="582" y="2746"/>
                  </a:lnTo>
                  <a:close/>
                  <a:moveTo>
                    <a:pt x="474" y="3749"/>
                  </a:moveTo>
                  <a:lnTo>
                    <a:pt x="474" y="3749"/>
                  </a:lnTo>
                  <a:lnTo>
                    <a:pt x="251" y="4639"/>
                  </a:lnTo>
                  <a:lnTo>
                    <a:pt x="251" y="4639"/>
                  </a:lnTo>
                  <a:lnTo>
                    <a:pt x="216" y="4623"/>
                  </a:lnTo>
                  <a:lnTo>
                    <a:pt x="183" y="4607"/>
                  </a:lnTo>
                  <a:lnTo>
                    <a:pt x="149" y="4590"/>
                  </a:lnTo>
                  <a:lnTo>
                    <a:pt x="117" y="4573"/>
                  </a:lnTo>
                  <a:lnTo>
                    <a:pt x="87" y="4557"/>
                  </a:lnTo>
                  <a:lnTo>
                    <a:pt x="57" y="4539"/>
                  </a:lnTo>
                  <a:lnTo>
                    <a:pt x="28" y="4521"/>
                  </a:lnTo>
                  <a:lnTo>
                    <a:pt x="0" y="4503"/>
                  </a:lnTo>
                  <a:lnTo>
                    <a:pt x="0" y="4503"/>
                  </a:lnTo>
                  <a:lnTo>
                    <a:pt x="281" y="3651"/>
                  </a:lnTo>
                  <a:lnTo>
                    <a:pt x="281" y="3651"/>
                  </a:lnTo>
                  <a:lnTo>
                    <a:pt x="326" y="3677"/>
                  </a:lnTo>
                  <a:lnTo>
                    <a:pt x="373" y="3702"/>
                  </a:lnTo>
                  <a:lnTo>
                    <a:pt x="422" y="3726"/>
                  </a:lnTo>
                  <a:lnTo>
                    <a:pt x="474" y="3749"/>
                  </a:lnTo>
                  <a:lnTo>
                    <a:pt x="474" y="3749"/>
                  </a:lnTo>
                  <a:close/>
                  <a:moveTo>
                    <a:pt x="2156" y="2943"/>
                  </a:moveTo>
                  <a:lnTo>
                    <a:pt x="2156" y="2943"/>
                  </a:lnTo>
                  <a:lnTo>
                    <a:pt x="2216" y="2933"/>
                  </a:lnTo>
                  <a:lnTo>
                    <a:pt x="2274" y="2923"/>
                  </a:lnTo>
                  <a:lnTo>
                    <a:pt x="2332" y="2912"/>
                  </a:lnTo>
                  <a:lnTo>
                    <a:pt x="2388" y="2900"/>
                  </a:lnTo>
                  <a:lnTo>
                    <a:pt x="2442" y="2886"/>
                  </a:lnTo>
                  <a:lnTo>
                    <a:pt x="2495" y="2872"/>
                  </a:lnTo>
                  <a:lnTo>
                    <a:pt x="2546" y="2856"/>
                  </a:lnTo>
                  <a:lnTo>
                    <a:pt x="2596" y="2841"/>
                  </a:lnTo>
                  <a:lnTo>
                    <a:pt x="2643" y="2824"/>
                  </a:lnTo>
                  <a:lnTo>
                    <a:pt x="2690" y="2805"/>
                  </a:lnTo>
                  <a:lnTo>
                    <a:pt x="2734" y="2786"/>
                  </a:lnTo>
                  <a:lnTo>
                    <a:pt x="2776" y="2768"/>
                  </a:lnTo>
                  <a:lnTo>
                    <a:pt x="2817" y="2747"/>
                  </a:lnTo>
                  <a:lnTo>
                    <a:pt x="2856" y="2726"/>
                  </a:lnTo>
                  <a:lnTo>
                    <a:pt x="2892" y="2704"/>
                  </a:lnTo>
                  <a:lnTo>
                    <a:pt x="2926" y="2681"/>
                  </a:lnTo>
                  <a:lnTo>
                    <a:pt x="2926" y="2681"/>
                  </a:lnTo>
                  <a:lnTo>
                    <a:pt x="2675" y="1818"/>
                  </a:lnTo>
                  <a:lnTo>
                    <a:pt x="2675" y="1818"/>
                  </a:lnTo>
                  <a:lnTo>
                    <a:pt x="2648" y="1835"/>
                  </a:lnTo>
                  <a:lnTo>
                    <a:pt x="2618" y="1852"/>
                  </a:lnTo>
                  <a:lnTo>
                    <a:pt x="2587" y="1868"/>
                  </a:lnTo>
                  <a:lnTo>
                    <a:pt x="2555" y="1884"/>
                  </a:lnTo>
                  <a:lnTo>
                    <a:pt x="2521" y="1899"/>
                  </a:lnTo>
                  <a:lnTo>
                    <a:pt x="2485" y="1913"/>
                  </a:lnTo>
                  <a:lnTo>
                    <a:pt x="2449" y="1927"/>
                  </a:lnTo>
                  <a:lnTo>
                    <a:pt x="2412" y="1940"/>
                  </a:lnTo>
                  <a:lnTo>
                    <a:pt x="2372" y="1953"/>
                  </a:lnTo>
                  <a:lnTo>
                    <a:pt x="2332" y="1964"/>
                  </a:lnTo>
                  <a:lnTo>
                    <a:pt x="2290" y="1976"/>
                  </a:lnTo>
                  <a:lnTo>
                    <a:pt x="2247" y="1986"/>
                  </a:lnTo>
                  <a:lnTo>
                    <a:pt x="2204" y="1996"/>
                  </a:lnTo>
                  <a:lnTo>
                    <a:pt x="2158" y="2004"/>
                  </a:lnTo>
                  <a:lnTo>
                    <a:pt x="2112" y="2012"/>
                  </a:lnTo>
                  <a:lnTo>
                    <a:pt x="2065" y="2018"/>
                  </a:lnTo>
                  <a:lnTo>
                    <a:pt x="2065" y="2018"/>
                  </a:lnTo>
                  <a:lnTo>
                    <a:pt x="2156" y="2943"/>
                  </a:lnTo>
                  <a:lnTo>
                    <a:pt x="2156" y="2943"/>
                  </a:lnTo>
                  <a:close/>
                  <a:moveTo>
                    <a:pt x="3192" y="3597"/>
                  </a:moveTo>
                  <a:lnTo>
                    <a:pt x="3192" y="3597"/>
                  </a:lnTo>
                  <a:lnTo>
                    <a:pt x="3445" y="4466"/>
                  </a:lnTo>
                  <a:lnTo>
                    <a:pt x="3445" y="4466"/>
                  </a:lnTo>
                  <a:lnTo>
                    <a:pt x="3422" y="4484"/>
                  </a:lnTo>
                  <a:lnTo>
                    <a:pt x="3398" y="4500"/>
                  </a:lnTo>
                  <a:lnTo>
                    <a:pt x="3373" y="4516"/>
                  </a:lnTo>
                  <a:lnTo>
                    <a:pt x="3347" y="4533"/>
                  </a:lnTo>
                  <a:lnTo>
                    <a:pt x="3320" y="4548"/>
                  </a:lnTo>
                  <a:lnTo>
                    <a:pt x="3293" y="4564"/>
                  </a:lnTo>
                  <a:lnTo>
                    <a:pt x="3236" y="4594"/>
                  </a:lnTo>
                  <a:lnTo>
                    <a:pt x="3176" y="4623"/>
                  </a:lnTo>
                  <a:lnTo>
                    <a:pt x="3113" y="4650"/>
                  </a:lnTo>
                  <a:lnTo>
                    <a:pt x="3047" y="4678"/>
                  </a:lnTo>
                  <a:lnTo>
                    <a:pt x="2978" y="4703"/>
                  </a:lnTo>
                  <a:lnTo>
                    <a:pt x="2907" y="4726"/>
                  </a:lnTo>
                  <a:lnTo>
                    <a:pt x="2834" y="4749"/>
                  </a:lnTo>
                  <a:lnTo>
                    <a:pt x="2758" y="4771"/>
                  </a:lnTo>
                  <a:lnTo>
                    <a:pt x="2679" y="4791"/>
                  </a:lnTo>
                  <a:lnTo>
                    <a:pt x="2599" y="4809"/>
                  </a:lnTo>
                  <a:lnTo>
                    <a:pt x="2516" y="4825"/>
                  </a:lnTo>
                  <a:lnTo>
                    <a:pt x="2430" y="4841"/>
                  </a:lnTo>
                  <a:lnTo>
                    <a:pt x="2344" y="4855"/>
                  </a:lnTo>
                  <a:lnTo>
                    <a:pt x="2344" y="4855"/>
                  </a:lnTo>
                  <a:lnTo>
                    <a:pt x="2253" y="3926"/>
                  </a:lnTo>
                  <a:lnTo>
                    <a:pt x="2253" y="3926"/>
                  </a:lnTo>
                  <a:lnTo>
                    <a:pt x="2326" y="3915"/>
                  </a:lnTo>
                  <a:lnTo>
                    <a:pt x="2399" y="3902"/>
                  </a:lnTo>
                  <a:lnTo>
                    <a:pt x="2469" y="3888"/>
                  </a:lnTo>
                  <a:lnTo>
                    <a:pt x="2537" y="3872"/>
                  </a:lnTo>
                  <a:lnTo>
                    <a:pt x="2605" y="3855"/>
                  </a:lnTo>
                  <a:lnTo>
                    <a:pt x="2669" y="3838"/>
                  </a:lnTo>
                  <a:lnTo>
                    <a:pt x="2733" y="3818"/>
                  </a:lnTo>
                  <a:lnTo>
                    <a:pt x="2793" y="3797"/>
                  </a:lnTo>
                  <a:lnTo>
                    <a:pt x="2851" y="3776"/>
                  </a:lnTo>
                  <a:lnTo>
                    <a:pt x="2907" y="3753"/>
                  </a:lnTo>
                  <a:lnTo>
                    <a:pt x="2962" y="3729"/>
                  </a:lnTo>
                  <a:lnTo>
                    <a:pt x="3014" y="3705"/>
                  </a:lnTo>
                  <a:lnTo>
                    <a:pt x="3062" y="3679"/>
                  </a:lnTo>
                  <a:lnTo>
                    <a:pt x="3108" y="3653"/>
                  </a:lnTo>
                  <a:lnTo>
                    <a:pt x="3152" y="3625"/>
                  </a:lnTo>
                  <a:lnTo>
                    <a:pt x="3192" y="3597"/>
                  </a:lnTo>
                  <a:lnTo>
                    <a:pt x="3192" y="3597"/>
                  </a:lnTo>
                  <a:close/>
                  <a:moveTo>
                    <a:pt x="2148" y="0"/>
                  </a:moveTo>
                  <a:lnTo>
                    <a:pt x="2148" y="0"/>
                  </a:lnTo>
                  <a:lnTo>
                    <a:pt x="2411" y="908"/>
                  </a:lnTo>
                  <a:lnTo>
                    <a:pt x="2411" y="908"/>
                  </a:lnTo>
                  <a:lnTo>
                    <a:pt x="2365" y="928"/>
                  </a:lnTo>
                  <a:lnTo>
                    <a:pt x="2316" y="946"/>
                  </a:lnTo>
                  <a:lnTo>
                    <a:pt x="2264" y="963"/>
                  </a:lnTo>
                  <a:lnTo>
                    <a:pt x="2210" y="979"/>
                  </a:lnTo>
                  <a:lnTo>
                    <a:pt x="2153" y="993"/>
                  </a:lnTo>
                  <a:lnTo>
                    <a:pt x="2093" y="1006"/>
                  </a:lnTo>
                  <a:lnTo>
                    <a:pt x="2032" y="1016"/>
                  </a:lnTo>
                  <a:lnTo>
                    <a:pt x="1969" y="1025"/>
                  </a:lnTo>
                  <a:lnTo>
                    <a:pt x="1969" y="1025"/>
                  </a:lnTo>
                  <a:lnTo>
                    <a:pt x="1876" y="78"/>
                  </a:lnTo>
                  <a:lnTo>
                    <a:pt x="1876" y="78"/>
                  </a:lnTo>
                  <a:lnTo>
                    <a:pt x="1916" y="72"/>
                  </a:lnTo>
                  <a:lnTo>
                    <a:pt x="1954" y="65"/>
                  </a:lnTo>
                  <a:lnTo>
                    <a:pt x="1992" y="56"/>
                  </a:lnTo>
                  <a:lnTo>
                    <a:pt x="2026" y="47"/>
                  </a:lnTo>
                  <a:lnTo>
                    <a:pt x="2059" y="37"/>
                  </a:lnTo>
                  <a:lnTo>
                    <a:pt x="2091" y="25"/>
                  </a:lnTo>
                  <a:lnTo>
                    <a:pt x="2120" y="13"/>
                  </a:lnTo>
                  <a:lnTo>
                    <a:pt x="2148" y="0"/>
                  </a:lnTo>
                  <a:lnTo>
                    <a:pt x="2148" y="0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3" name="Freeform 80"/>
            <p:cNvSpPr>
              <a:spLocks noEditPoints="1"/>
            </p:cNvSpPr>
            <p:nvPr/>
          </p:nvSpPr>
          <p:spPr bwMode="auto">
            <a:xfrm flipH="1">
              <a:off x="6793383" y="2030195"/>
              <a:ext cx="1063034" cy="1071921"/>
            </a:xfrm>
            <a:custGeom>
              <a:avLst/>
              <a:gdLst>
                <a:gd name="T0" fmla="*/ 3292 w 5765"/>
                <a:gd name="T1" fmla="*/ 6405 h 7478"/>
                <a:gd name="T2" fmla="*/ 2428 w 5765"/>
                <a:gd name="T3" fmla="*/ 6250 h 7478"/>
                <a:gd name="T4" fmla="*/ 1985 w 5765"/>
                <a:gd name="T5" fmla="*/ 6088 h 7478"/>
                <a:gd name="T6" fmla="*/ 1611 w 5765"/>
                <a:gd name="T7" fmla="*/ 5851 h 7478"/>
                <a:gd name="T8" fmla="*/ 1479 w 5765"/>
                <a:gd name="T9" fmla="*/ 5664 h 7478"/>
                <a:gd name="T10" fmla="*/ 1454 w 5765"/>
                <a:gd name="T11" fmla="*/ 5448 h 7478"/>
                <a:gd name="T12" fmla="*/ 79 w 5765"/>
                <a:gd name="T13" fmla="*/ 5569 h 7478"/>
                <a:gd name="T14" fmla="*/ 5 w 5765"/>
                <a:gd name="T15" fmla="*/ 5685 h 7478"/>
                <a:gd name="T16" fmla="*/ 32 w 5765"/>
                <a:gd name="T17" fmla="*/ 5817 h 7478"/>
                <a:gd name="T18" fmla="*/ 3352 w 5765"/>
                <a:gd name="T19" fmla="*/ 7411 h 7478"/>
                <a:gd name="T20" fmla="*/ 3699 w 5765"/>
                <a:gd name="T21" fmla="*/ 7477 h 7478"/>
                <a:gd name="T22" fmla="*/ 1921 w 5765"/>
                <a:gd name="T23" fmla="*/ 4965 h 7478"/>
                <a:gd name="T24" fmla="*/ 1738 w 5765"/>
                <a:gd name="T25" fmla="*/ 4683 h 7478"/>
                <a:gd name="T26" fmla="*/ 2057 w 5765"/>
                <a:gd name="T27" fmla="*/ 3950 h 7478"/>
                <a:gd name="T28" fmla="*/ 2298 w 5765"/>
                <a:gd name="T29" fmla="*/ 4192 h 7478"/>
                <a:gd name="T30" fmla="*/ 2446 w 5765"/>
                <a:gd name="T31" fmla="*/ 5259 h 7478"/>
                <a:gd name="T32" fmla="*/ 3334 w 5765"/>
                <a:gd name="T33" fmla="*/ 5445 h 7478"/>
                <a:gd name="T34" fmla="*/ 4160 w 5765"/>
                <a:gd name="T35" fmla="*/ 5445 h 7478"/>
                <a:gd name="T36" fmla="*/ 4033 w 5765"/>
                <a:gd name="T37" fmla="*/ 4518 h 7478"/>
                <a:gd name="T38" fmla="*/ 3316 w 5765"/>
                <a:gd name="T39" fmla="*/ 4505 h 7478"/>
                <a:gd name="T40" fmla="*/ 2585 w 5765"/>
                <a:gd name="T41" fmla="*/ 4336 h 7478"/>
                <a:gd name="T42" fmla="*/ 5456 w 5765"/>
                <a:gd name="T43" fmla="*/ 3909 h 7478"/>
                <a:gd name="T44" fmla="*/ 5293 w 5765"/>
                <a:gd name="T45" fmla="*/ 4121 h 7478"/>
                <a:gd name="T46" fmla="*/ 5628 w 5765"/>
                <a:gd name="T47" fmla="*/ 4912 h 7478"/>
                <a:gd name="T48" fmla="*/ 5762 w 5765"/>
                <a:gd name="T49" fmla="*/ 4652 h 7478"/>
                <a:gd name="T50" fmla="*/ 4029 w 5765"/>
                <a:gd name="T51" fmla="*/ 2593 h 7478"/>
                <a:gd name="T52" fmla="*/ 3928 w 5765"/>
                <a:gd name="T53" fmla="*/ 3533 h 7478"/>
                <a:gd name="T54" fmla="*/ 3338 w 5765"/>
                <a:gd name="T55" fmla="*/ 3512 h 7478"/>
                <a:gd name="T56" fmla="*/ 2762 w 5765"/>
                <a:gd name="T57" fmla="*/ 3368 h 7478"/>
                <a:gd name="T58" fmla="*/ 2871 w 5765"/>
                <a:gd name="T59" fmla="*/ 2894 h 7478"/>
                <a:gd name="T60" fmla="*/ 2839 w 5765"/>
                <a:gd name="T61" fmla="*/ 2847 h 7478"/>
                <a:gd name="T62" fmla="*/ 2762 w 5765"/>
                <a:gd name="T63" fmla="*/ 2932 h 7478"/>
                <a:gd name="T64" fmla="*/ 2485 w 5765"/>
                <a:gd name="T65" fmla="*/ 3214 h 7478"/>
                <a:gd name="T66" fmla="*/ 2320 w 5765"/>
                <a:gd name="T67" fmla="*/ 2993 h 7478"/>
                <a:gd name="T68" fmla="*/ 2681 w 5765"/>
                <a:gd name="T69" fmla="*/ 2304 h 7478"/>
                <a:gd name="T70" fmla="*/ 2980 w 5765"/>
                <a:gd name="T71" fmla="*/ 2481 h 7478"/>
                <a:gd name="T72" fmla="*/ 3432 w 5765"/>
                <a:gd name="T73" fmla="*/ 2588 h 7478"/>
                <a:gd name="T74" fmla="*/ 4901 w 5765"/>
                <a:gd name="T75" fmla="*/ 2190 h 7478"/>
                <a:gd name="T76" fmla="*/ 4813 w 5765"/>
                <a:gd name="T77" fmla="*/ 2314 h 7478"/>
                <a:gd name="T78" fmla="*/ 5052 w 5765"/>
                <a:gd name="T79" fmla="*/ 3186 h 7478"/>
                <a:gd name="T80" fmla="*/ 5174 w 5765"/>
                <a:gd name="T81" fmla="*/ 3023 h 7478"/>
                <a:gd name="T82" fmla="*/ 4580 w 5765"/>
                <a:gd name="T83" fmla="*/ 1402 h 7478"/>
                <a:gd name="T84" fmla="*/ 4228 w 5765"/>
                <a:gd name="T85" fmla="*/ 547 h 7478"/>
                <a:gd name="T86" fmla="*/ 2897 w 5765"/>
                <a:gd name="T87" fmla="*/ 1381 h 7478"/>
                <a:gd name="T88" fmla="*/ 3099 w 5765"/>
                <a:gd name="T89" fmla="*/ 1495 h 7478"/>
                <a:gd name="T90" fmla="*/ 3680 w 5765"/>
                <a:gd name="T91" fmla="*/ 1604 h 7478"/>
                <a:gd name="T92" fmla="*/ 3886 w 5765"/>
                <a:gd name="T93" fmla="*/ 647 h 7478"/>
                <a:gd name="T94" fmla="*/ 3482 w 5765"/>
                <a:gd name="T95" fmla="*/ 625 h 7478"/>
                <a:gd name="T96" fmla="*/ 3215 w 5765"/>
                <a:gd name="T97" fmla="*/ 499 h 7478"/>
                <a:gd name="T98" fmla="*/ 3435 w 5765"/>
                <a:gd name="T99" fmla="*/ 151 h 7478"/>
                <a:gd name="T100" fmla="*/ 3550 w 5765"/>
                <a:gd name="T101" fmla="*/ 241 h 7478"/>
                <a:gd name="T102" fmla="*/ 3816 w 5765"/>
                <a:gd name="T103" fmla="*/ 270 h 7478"/>
                <a:gd name="T104" fmla="*/ 4045 w 5765"/>
                <a:gd name="T105" fmla="*/ 189 h 7478"/>
                <a:gd name="T106" fmla="*/ 4068 w 5765"/>
                <a:gd name="T107" fmla="*/ 122 h 7478"/>
                <a:gd name="T108" fmla="*/ 3954 w 5765"/>
                <a:gd name="T109" fmla="*/ 31 h 7478"/>
                <a:gd name="T110" fmla="*/ 3688 w 5765"/>
                <a:gd name="T111" fmla="*/ 3 h 7478"/>
                <a:gd name="T112" fmla="*/ 3459 w 5765"/>
                <a:gd name="T113" fmla="*/ 83 h 7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65" h="7478">
                  <a:moveTo>
                    <a:pt x="3747" y="7478"/>
                  </a:moveTo>
                  <a:lnTo>
                    <a:pt x="3747" y="6431"/>
                  </a:lnTo>
                  <a:lnTo>
                    <a:pt x="3747" y="6431"/>
                  </a:lnTo>
                  <a:lnTo>
                    <a:pt x="3730" y="6431"/>
                  </a:lnTo>
                  <a:lnTo>
                    <a:pt x="3679" y="6430"/>
                  </a:lnTo>
                  <a:lnTo>
                    <a:pt x="3598" y="6427"/>
                  </a:lnTo>
                  <a:lnTo>
                    <a:pt x="3492" y="6421"/>
                  </a:lnTo>
                  <a:lnTo>
                    <a:pt x="3430" y="6417"/>
                  </a:lnTo>
                  <a:lnTo>
                    <a:pt x="3364" y="6412"/>
                  </a:lnTo>
                  <a:lnTo>
                    <a:pt x="3292" y="6405"/>
                  </a:lnTo>
                  <a:lnTo>
                    <a:pt x="3217" y="6397"/>
                  </a:lnTo>
                  <a:lnTo>
                    <a:pt x="3138" y="6388"/>
                  </a:lnTo>
                  <a:lnTo>
                    <a:pt x="3056" y="6377"/>
                  </a:lnTo>
                  <a:lnTo>
                    <a:pt x="2971" y="6365"/>
                  </a:lnTo>
                  <a:lnTo>
                    <a:pt x="2883" y="6351"/>
                  </a:lnTo>
                  <a:lnTo>
                    <a:pt x="2794" y="6335"/>
                  </a:lnTo>
                  <a:lnTo>
                    <a:pt x="2704" y="6317"/>
                  </a:lnTo>
                  <a:lnTo>
                    <a:pt x="2612" y="6297"/>
                  </a:lnTo>
                  <a:lnTo>
                    <a:pt x="2520" y="6274"/>
                  </a:lnTo>
                  <a:lnTo>
                    <a:pt x="2428" y="6250"/>
                  </a:lnTo>
                  <a:lnTo>
                    <a:pt x="2382" y="6237"/>
                  </a:lnTo>
                  <a:lnTo>
                    <a:pt x="2337" y="6223"/>
                  </a:lnTo>
                  <a:lnTo>
                    <a:pt x="2291" y="6208"/>
                  </a:lnTo>
                  <a:lnTo>
                    <a:pt x="2246" y="6193"/>
                  </a:lnTo>
                  <a:lnTo>
                    <a:pt x="2201" y="6177"/>
                  </a:lnTo>
                  <a:lnTo>
                    <a:pt x="2157" y="6161"/>
                  </a:lnTo>
                  <a:lnTo>
                    <a:pt x="2113" y="6144"/>
                  </a:lnTo>
                  <a:lnTo>
                    <a:pt x="2069" y="6126"/>
                  </a:lnTo>
                  <a:lnTo>
                    <a:pt x="2027" y="6107"/>
                  </a:lnTo>
                  <a:lnTo>
                    <a:pt x="1985" y="6088"/>
                  </a:lnTo>
                  <a:lnTo>
                    <a:pt x="1944" y="6068"/>
                  </a:lnTo>
                  <a:lnTo>
                    <a:pt x="1903" y="6047"/>
                  </a:lnTo>
                  <a:lnTo>
                    <a:pt x="1862" y="6025"/>
                  </a:lnTo>
                  <a:lnTo>
                    <a:pt x="1824" y="6003"/>
                  </a:lnTo>
                  <a:lnTo>
                    <a:pt x="1786" y="5979"/>
                  </a:lnTo>
                  <a:lnTo>
                    <a:pt x="1748" y="5955"/>
                  </a:lnTo>
                  <a:lnTo>
                    <a:pt x="1713" y="5930"/>
                  </a:lnTo>
                  <a:lnTo>
                    <a:pt x="1677" y="5905"/>
                  </a:lnTo>
                  <a:lnTo>
                    <a:pt x="1644" y="5878"/>
                  </a:lnTo>
                  <a:lnTo>
                    <a:pt x="1611" y="5851"/>
                  </a:lnTo>
                  <a:lnTo>
                    <a:pt x="1580" y="5822"/>
                  </a:lnTo>
                  <a:lnTo>
                    <a:pt x="1550" y="5793"/>
                  </a:lnTo>
                  <a:lnTo>
                    <a:pt x="1550" y="5793"/>
                  </a:lnTo>
                  <a:lnTo>
                    <a:pt x="1543" y="5784"/>
                  </a:lnTo>
                  <a:lnTo>
                    <a:pt x="1535" y="5774"/>
                  </a:lnTo>
                  <a:lnTo>
                    <a:pt x="1526" y="5759"/>
                  </a:lnTo>
                  <a:lnTo>
                    <a:pt x="1514" y="5741"/>
                  </a:lnTo>
                  <a:lnTo>
                    <a:pt x="1503" y="5719"/>
                  </a:lnTo>
                  <a:lnTo>
                    <a:pt x="1490" y="5693"/>
                  </a:lnTo>
                  <a:lnTo>
                    <a:pt x="1479" y="5664"/>
                  </a:lnTo>
                  <a:lnTo>
                    <a:pt x="1469" y="5631"/>
                  </a:lnTo>
                  <a:lnTo>
                    <a:pt x="1464" y="5614"/>
                  </a:lnTo>
                  <a:lnTo>
                    <a:pt x="1461" y="5595"/>
                  </a:lnTo>
                  <a:lnTo>
                    <a:pt x="1457" y="5576"/>
                  </a:lnTo>
                  <a:lnTo>
                    <a:pt x="1455" y="5556"/>
                  </a:lnTo>
                  <a:lnTo>
                    <a:pt x="1453" y="5536"/>
                  </a:lnTo>
                  <a:lnTo>
                    <a:pt x="1452" y="5515"/>
                  </a:lnTo>
                  <a:lnTo>
                    <a:pt x="1452" y="5493"/>
                  </a:lnTo>
                  <a:lnTo>
                    <a:pt x="1453" y="5471"/>
                  </a:lnTo>
                  <a:lnTo>
                    <a:pt x="1454" y="5448"/>
                  </a:lnTo>
                  <a:lnTo>
                    <a:pt x="1457" y="5424"/>
                  </a:lnTo>
                  <a:lnTo>
                    <a:pt x="1461" y="5399"/>
                  </a:lnTo>
                  <a:lnTo>
                    <a:pt x="1467" y="5374"/>
                  </a:lnTo>
                  <a:lnTo>
                    <a:pt x="1475" y="5349"/>
                  </a:lnTo>
                  <a:lnTo>
                    <a:pt x="1483" y="5323"/>
                  </a:lnTo>
                  <a:lnTo>
                    <a:pt x="1483" y="5323"/>
                  </a:lnTo>
                  <a:lnTo>
                    <a:pt x="1612" y="4955"/>
                  </a:lnTo>
                  <a:lnTo>
                    <a:pt x="1667" y="4799"/>
                  </a:lnTo>
                  <a:lnTo>
                    <a:pt x="79" y="5569"/>
                  </a:lnTo>
                  <a:lnTo>
                    <a:pt x="79" y="5569"/>
                  </a:lnTo>
                  <a:lnTo>
                    <a:pt x="76" y="5572"/>
                  </a:lnTo>
                  <a:lnTo>
                    <a:pt x="66" y="5581"/>
                  </a:lnTo>
                  <a:lnTo>
                    <a:pt x="52" y="5597"/>
                  </a:lnTo>
                  <a:lnTo>
                    <a:pt x="45" y="5606"/>
                  </a:lnTo>
                  <a:lnTo>
                    <a:pt x="37" y="5618"/>
                  </a:lnTo>
                  <a:lnTo>
                    <a:pt x="30" y="5629"/>
                  </a:lnTo>
                  <a:lnTo>
                    <a:pt x="22" y="5642"/>
                  </a:lnTo>
                  <a:lnTo>
                    <a:pt x="15" y="5655"/>
                  </a:lnTo>
                  <a:lnTo>
                    <a:pt x="10" y="5670"/>
                  </a:lnTo>
                  <a:lnTo>
                    <a:pt x="5" y="5685"/>
                  </a:lnTo>
                  <a:lnTo>
                    <a:pt x="1" y="5701"/>
                  </a:lnTo>
                  <a:lnTo>
                    <a:pt x="0" y="5718"/>
                  </a:lnTo>
                  <a:lnTo>
                    <a:pt x="1" y="5734"/>
                  </a:lnTo>
                  <a:lnTo>
                    <a:pt x="1" y="5734"/>
                  </a:lnTo>
                  <a:lnTo>
                    <a:pt x="4" y="5751"/>
                  </a:lnTo>
                  <a:lnTo>
                    <a:pt x="8" y="5767"/>
                  </a:lnTo>
                  <a:lnTo>
                    <a:pt x="12" y="5781"/>
                  </a:lnTo>
                  <a:lnTo>
                    <a:pt x="18" y="5794"/>
                  </a:lnTo>
                  <a:lnTo>
                    <a:pt x="24" y="5806"/>
                  </a:lnTo>
                  <a:lnTo>
                    <a:pt x="32" y="5817"/>
                  </a:lnTo>
                  <a:lnTo>
                    <a:pt x="39" y="5826"/>
                  </a:lnTo>
                  <a:lnTo>
                    <a:pt x="46" y="5834"/>
                  </a:lnTo>
                  <a:lnTo>
                    <a:pt x="61" y="5848"/>
                  </a:lnTo>
                  <a:lnTo>
                    <a:pt x="73" y="5857"/>
                  </a:lnTo>
                  <a:lnTo>
                    <a:pt x="82" y="5864"/>
                  </a:lnTo>
                  <a:lnTo>
                    <a:pt x="85" y="5866"/>
                  </a:lnTo>
                  <a:lnTo>
                    <a:pt x="3323" y="7398"/>
                  </a:lnTo>
                  <a:lnTo>
                    <a:pt x="3323" y="7398"/>
                  </a:lnTo>
                  <a:lnTo>
                    <a:pt x="3330" y="7401"/>
                  </a:lnTo>
                  <a:lnTo>
                    <a:pt x="3352" y="7411"/>
                  </a:lnTo>
                  <a:lnTo>
                    <a:pt x="3388" y="7422"/>
                  </a:lnTo>
                  <a:lnTo>
                    <a:pt x="3410" y="7430"/>
                  </a:lnTo>
                  <a:lnTo>
                    <a:pt x="3436" y="7437"/>
                  </a:lnTo>
                  <a:lnTo>
                    <a:pt x="3466" y="7444"/>
                  </a:lnTo>
                  <a:lnTo>
                    <a:pt x="3498" y="7452"/>
                  </a:lnTo>
                  <a:lnTo>
                    <a:pt x="3532" y="7458"/>
                  </a:lnTo>
                  <a:lnTo>
                    <a:pt x="3571" y="7464"/>
                  </a:lnTo>
                  <a:lnTo>
                    <a:pt x="3611" y="7469"/>
                  </a:lnTo>
                  <a:lnTo>
                    <a:pt x="3654" y="7473"/>
                  </a:lnTo>
                  <a:lnTo>
                    <a:pt x="3699" y="7477"/>
                  </a:lnTo>
                  <a:lnTo>
                    <a:pt x="3747" y="7478"/>
                  </a:lnTo>
                  <a:lnTo>
                    <a:pt x="3747" y="7478"/>
                  </a:lnTo>
                  <a:close/>
                  <a:moveTo>
                    <a:pt x="2332" y="4214"/>
                  </a:moveTo>
                  <a:lnTo>
                    <a:pt x="2332" y="4214"/>
                  </a:lnTo>
                  <a:lnTo>
                    <a:pt x="2051" y="5066"/>
                  </a:lnTo>
                  <a:lnTo>
                    <a:pt x="2051" y="5066"/>
                  </a:lnTo>
                  <a:lnTo>
                    <a:pt x="2015" y="5041"/>
                  </a:lnTo>
                  <a:lnTo>
                    <a:pt x="1982" y="5018"/>
                  </a:lnTo>
                  <a:lnTo>
                    <a:pt x="1950" y="4991"/>
                  </a:lnTo>
                  <a:lnTo>
                    <a:pt x="1921" y="4965"/>
                  </a:lnTo>
                  <a:lnTo>
                    <a:pt x="1893" y="4939"/>
                  </a:lnTo>
                  <a:lnTo>
                    <a:pt x="1867" y="4912"/>
                  </a:lnTo>
                  <a:lnTo>
                    <a:pt x="1843" y="4885"/>
                  </a:lnTo>
                  <a:lnTo>
                    <a:pt x="1822" y="4858"/>
                  </a:lnTo>
                  <a:lnTo>
                    <a:pt x="1802" y="4830"/>
                  </a:lnTo>
                  <a:lnTo>
                    <a:pt x="1784" y="4801"/>
                  </a:lnTo>
                  <a:lnTo>
                    <a:pt x="1770" y="4773"/>
                  </a:lnTo>
                  <a:lnTo>
                    <a:pt x="1756" y="4742"/>
                  </a:lnTo>
                  <a:lnTo>
                    <a:pt x="1746" y="4713"/>
                  </a:lnTo>
                  <a:lnTo>
                    <a:pt x="1738" y="4683"/>
                  </a:lnTo>
                  <a:lnTo>
                    <a:pt x="1732" y="4653"/>
                  </a:lnTo>
                  <a:lnTo>
                    <a:pt x="1728" y="4623"/>
                  </a:lnTo>
                  <a:lnTo>
                    <a:pt x="1728" y="4623"/>
                  </a:lnTo>
                  <a:lnTo>
                    <a:pt x="2015" y="3813"/>
                  </a:lnTo>
                  <a:lnTo>
                    <a:pt x="2015" y="3813"/>
                  </a:lnTo>
                  <a:lnTo>
                    <a:pt x="2018" y="3841"/>
                  </a:lnTo>
                  <a:lnTo>
                    <a:pt x="2025" y="3868"/>
                  </a:lnTo>
                  <a:lnTo>
                    <a:pt x="2033" y="3895"/>
                  </a:lnTo>
                  <a:lnTo>
                    <a:pt x="2043" y="3922"/>
                  </a:lnTo>
                  <a:lnTo>
                    <a:pt x="2057" y="3950"/>
                  </a:lnTo>
                  <a:lnTo>
                    <a:pt x="2071" y="3976"/>
                  </a:lnTo>
                  <a:lnTo>
                    <a:pt x="2089" y="4002"/>
                  </a:lnTo>
                  <a:lnTo>
                    <a:pt x="2108" y="4027"/>
                  </a:lnTo>
                  <a:lnTo>
                    <a:pt x="2130" y="4052"/>
                  </a:lnTo>
                  <a:lnTo>
                    <a:pt x="2153" y="4077"/>
                  </a:lnTo>
                  <a:lnTo>
                    <a:pt x="2178" y="4101"/>
                  </a:lnTo>
                  <a:lnTo>
                    <a:pt x="2206" y="4125"/>
                  </a:lnTo>
                  <a:lnTo>
                    <a:pt x="2235" y="4148"/>
                  </a:lnTo>
                  <a:lnTo>
                    <a:pt x="2265" y="4170"/>
                  </a:lnTo>
                  <a:lnTo>
                    <a:pt x="2298" y="4192"/>
                  </a:lnTo>
                  <a:lnTo>
                    <a:pt x="2332" y="4214"/>
                  </a:lnTo>
                  <a:lnTo>
                    <a:pt x="2332" y="4214"/>
                  </a:lnTo>
                  <a:close/>
                  <a:moveTo>
                    <a:pt x="2525" y="4312"/>
                  </a:moveTo>
                  <a:lnTo>
                    <a:pt x="2525" y="4312"/>
                  </a:lnTo>
                  <a:lnTo>
                    <a:pt x="2302" y="5202"/>
                  </a:lnTo>
                  <a:lnTo>
                    <a:pt x="2302" y="5202"/>
                  </a:lnTo>
                  <a:lnTo>
                    <a:pt x="2337" y="5217"/>
                  </a:lnTo>
                  <a:lnTo>
                    <a:pt x="2373" y="5231"/>
                  </a:lnTo>
                  <a:lnTo>
                    <a:pt x="2409" y="5246"/>
                  </a:lnTo>
                  <a:lnTo>
                    <a:pt x="2446" y="5259"/>
                  </a:lnTo>
                  <a:lnTo>
                    <a:pt x="2523" y="5285"/>
                  </a:lnTo>
                  <a:lnTo>
                    <a:pt x="2603" y="5310"/>
                  </a:lnTo>
                  <a:lnTo>
                    <a:pt x="2686" y="5334"/>
                  </a:lnTo>
                  <a:lnTo>
                    <a:pt x="2771" y="5355"/>
                  </a:lnTo>
                  <a:lnTo>
                    <a:pt x="2859" y="5375"/>
                  </a:lnTo>
                  <a:lnTo>
                    <a:pt x="2950" y="5393"/>
                  </a:lnTo>
                  <a:lnTo>
                    <a:pt x="3042" y="5409"/>
                  </a:lnTo>
                  <a:lnTo>
                    <a:pt x="3138" y="5423"/>
                  </a:lnTo>
                  <a:lnTo>
                    <a:pt x="3235" y="5435"/>
                  </a:lnTo>
                  <a:lnTo>
                    <a:pt x="3334" y="5445"/>
                  </a:lnTo>
                  <a:lnTo>
                    <a:pt x="3435" y="5453"/>
                  </a:lnTo>
                  <a:lnTo>
                    <a:pt x="3537" y="5458"/>
                  </a:lnTo>
                  <a:lnTo>
                    <a:pt x="3641" y="5462"/>
                  </a:lnTo>
                  <a:lnTo>
                    <a:pt x="3747" y="5463"/>
                  </a:lnTo>
                  <a:lnTo>
                    <a:pt x="3747" y="5463"/>
                  </a:lnTo>
                  <a:lnTo>
                    <a:pt x="3832" y="5462"/>
                  </a:lnTo>
                  <a:lnTo>
                    <a:pt x="3916" y="5460"/>
                  </a:lnTo>
                  <a:lnTo>
                    <a:pt x="3998" y="5456"/>
                  </a:lnTo>
                  <a:lnTo>
                    <a:pt x="4080" y="5452"/>
                  </a:lnTo>
                  <a:lnTo>
                    <a:pt x="4160" y="5445"/>
                  </a:lnTo>
                  <a:lnTo>
                    <a:pt x="4240" y="5437"/>
                  </a:lnTo>
                  <a:lnTo>
                    <a:pt x="4318" y="5428"/>
                  </a:lnTo>
                  <a:lnTo>
                    <a:pt x="4395" y="5418"/>
                  </a:lnTo>
                  <a:lnTo>
                    <a:pt x="4395" y="5418"/>
                  </a:lnTo>
                  <a:lnTo>
                    <a:pt x="4304" y="4489"/>
                  </a:lnTo>
                  <a:lnTo>
                    <a:pt x="4304" y="4489"/>
                  </a:lnTo>
                  <a:lnTo>
                    <a:pt x="4238" y="4499"/>
                  </a:lnTo>
                  <a:lnTo>
                    <a:pt x="4170" y="4506"/>
                  </a:lnTo>
                  <a:lnTo>
                    <a:pt x="4102" y="4513"/>
                  </a:lnTo>
                  <a:lnTo>
                    <a:pt x="4033" y="4518"/>
                  </a:lnTo>
                  <a:lnTo>
                    <a:pt x="3963" y="4523"/>
                  </a:lnTo>
                  <a:lnTo>
                    <a:pt x="3892" y="4526"/>
                  </a:lnTo>
                  <a:lnTo>
                    <a:pt x="3820" y="4528"/>
                  </a:lnTo>
                  <a:lnTo>
                    <a:pt x="3747" y="4529"/>
                  </a:lnTo>
                  <a:lnTo>
                    <a:pt x="3747" y="4529"/>
                  </a:lnTo>
                  <a:lnTo>
                    <a:pt x="3658" y="4528"/>
                  </a:lnTo>
                  <a:lnTo>
                    <a:pt x="3571" y="4525"/>
                  </a:lnTo>
                  <a:lnTo>
                    <a:pt x="3484" y="4521"/>
                  </a:lnTo>
                  <a:lnTo>
                    <a:pt x="3399" y="4513"/>
                  </a:lnTo>
                  <a:lnTo>
                    <a:pt x="3316" y="4505"/>
                  </a:lnTo>
                  <a:lnTo>
                    <a:pt x="3234" y="4496"/>
                  </a:lnTo>
                  <a:lnTo>
                    <a:pt x="3153" y="4484"/>
                  </a:lnTo>
                  <a:lnTo>
                    <a:pt x="3075" y="4471"/>
                  </a:lnTo>
                  <a:lnTo>
                    <a:pt x="2998" y="4456"/>
                  </a:lnTo>
                  <a:lnTo>
                    <a:pt x="2924" y="4439"/>
                  </a:lnTo>
                  <a:lnTo>
                    <a:pt x="2851" y="4422"/>
                  </a:lnTo>
                  <a:lnTo>
                    <a:pt x="2780" y="4402"/>
                  </a:lnTo>
                  <a:lnTo>
                    <a:pt x="2713" y="4382"/>
                  </a:lnTo>
                  <a:lnTo>
                    <a:pt x="2647" y="4360"/>
                  </a:lnTo>
                  <a:lnTo>
                    <a:pt x="2585" y="4336"/>
                  </a:lnTo>
                  <a:lnTo>
                    <a:pt x="2525" y="4312"/>
                  </a:lnTo>
                  <a:lnTo>
                    <a:pt x="2525" y="4312"/>
                  </a:lnTo>
                  <a:close/>
                  <a:moveTo>
                    <a:pt x="5765" y="4625"/>
                  </a:moveTo>
                  <a:lnTo>
                    <a:pt x="5765" y="4625"/>
                  </a:lnTo>
                  <a:lnTo>
                    <a:pt x="5479" y="3817"/>
                  </a:lnTo>
                  <a:lnTo>
                    <a:pt x="5479" y="3817"/>
                  </a:lnTo>
                  <a:lnTo>
                    <a:pt x="5476" y="3840"/>
                  </a:lnTo>
                  <a:lnTo>
                    <a:pt x="5471" y="3863"/>
                  </a:lnTo>
                  <a:lnTo>
                    <a:pt x="5465" y="3886"/>
                  </a:lnTo>
                  <a:lnTo>
                    <a:pt x="5456" y="3909"/>
                  </a:lnTo>
                  <a:lnTo>
                    <a:pt x="5447" y="3932"/>
                  </a:lnTo>
                  <a:lnTo>
                    <a:pt x="5436" y="3954"/>
                  </a:lnTo>
                  <a:lnTo>
                    <a:pt x="5423" y="3976"/>
                  </a:lnTo>
                  <a:lnTo>
                    <a:pt x="5409" y="3997"/>
                  </a:lnTo>
                  <a:lnTo>
                    <a:pt x="5393" y="4018"/>
                  </a:lnTo>
                  <a:lnTo>
                    <a:pt x="5375" y="4040"/>
                  </a:lnTo>
                  <a:lnTo>
                    <a:pt x="5357" y="4061"/>
                  </a:lnTo>
                  <a:lnTo>
                    <a:pt x="5337" y="4081"/>
                  </a:lnTo>
                  <a:lnTo>
                    <a:pt x="5315" y="4102"/>
                  </a:lnTo>
                  <a:lnTo>
                    <a:pt x="5293" y="4121"/>
                  </a:lnTo>
                  <a:lnTo>
                    <a:pt x="5268" y="4141"/>
                  </a:lnTo>
                  <a:lnTo>
                    <a:pt x="5243" y="4160"/>
                  </a:lnTo>
                  <a:lnTo>
                    <a:pt x="5243" y="4160"/>
                  </a:lnTo>
                  <a:lnTo>
                    <a:pt x="5496" y="5029"/>
                  </a:lnTo>
                  <a:lnTo>
                    <a:pt x="5496" y="5029"/>
                  </a:lnTo>
                  <a:lnTo>
                    <a:pt x="5526" y="5007"/>
                  </a:lnTo>
                  <a:lnTo>
                    <a:pt x="5554" y="4984"/>
                  </a:lnTo>
                  <a:lnTo>
                    <a:pt x="5580" y="4960"/>
                  </a:lnTo>
                  <a:lnTo>
                    <a:pt x="5605" y="4936"/>
                  </a:lnTo>
                  <a:lnTo>
                    <a:pt x="5628" y="4912"/>
                  </a:lnTo>
                  <a:lnTo>
                    <a:pt x="5650" y="4887"/>
                  </a:lnTo>
                  <a:lnTo>
                    <a:pt x="5670" y="4862"/>
                  </a:lnTo>
                  <a:lnTo>
                    <a:pt x="5687" y="4837"/>
                  </a:lnTo>
                  <a:lnTo>
                    <a:pt x="5704" y="4812"/>
                  </a:lnTo>
                  <a:lnTo>
                    <a:pt x="5718" y="4786"/>
                  </a:lnTo>
                  <a:lnTo>
                    <a:pt x="5731" y="4760"/>
                  </a:lnTo>
                  <a:lnTo>
                    <a:pt x="5741" y="4733"/>
                  </a:lnTo>
                  <a:lnTo>
                    <a:pt x="5751" y="4706"/>
                  </a:lnTo>
                  <a:lnTo>
                    <a:pt x="5757" y="4680"/>
                  </a:lnTo>
                  <a:lnTo>
                    <a:pt x="5762" y="4652"/>
                  </a:lnTo>
                  <a:lnTo>
                    <a:pt x="5765" y="4625"/>
                  </a:lnTo>
                  <a:lnTo>
                    <a:pt x="5765" y="4625"/>
                  </a:lnTo>
                  <a:close/>
                  <a:moveTo>
                    <a:pt x="3751" y="2608"/>
                  </a:moveTo>
                  <a:lnTo>
                    <a:pt x="3751" y="2608"/>
                  </a:lnTo>
                  <a:lnTo>
                    <a:pt x="3799" y="2606"/>
                  </a:lnTo>
                  <a:lnTo>
                    <a:pt x="3846" y="2605"/>
                  </a:lnTo>
                  <a:lnTo>
                    <a:pt x="3893" y="2603"/>
                  </a:lnTo>
                  <a:lnTo>
                    <a:pt x="3939" y="2600"/>
                  </a:lnTo>
                  <a:lnTo>
                    <a:pt x="3984" y="2597"/>
                  </a:lnTo>
                  <a:lnTo>
                    <a:pt x="4029" y="2593"/>
                  </a:lnTo>
                  <a:lnTo>
                    <a:pt x="4073" y="2588"/>
                  </a:lnTo>
                  <a:lnTo>
                    <a:pt x="4116" y="2581"/>
                  </a:lnTo>
                  <a:lnTo>
                    <a:pt x="4116" y="2581"/>
                  </a:lnTo>
                  <a:lnTo>
                    <a:pt x="4207" y="3506"/>
                  </a:lnTo>
                  <a:lnTo>
                    <a:pt x="4207" y="3506"/>
                  </a:lnTo>
                  <a:lnTo>
                    <a:pt x="4153" y="3513"/>
                  </a:lnTo>
                  <a:lnTo>
                    <a:pt x="4098" y="3519"/>
                  </a:lnTo>
                  <a:lnTo>
                    <a:pt x="4043" y="3524"/>
                  </a:lnTo>
                  <a:lnTo>
                    <a:pt x="3985" y="3530"/>
                  </a:lnTo>
                  <a:lnTo>
                    <a:pt x="3928" y="3533"/>
                  </a:lnTo>
                  <a:lnTo>
                    <a:pt x="3870" y="3535"/>
                  </a:lnTo>
                  <a:lnTo>
                    <a:pt x="3811" y="3537"/>
                  </a:lnTo>
                  <a:lnTo>
                    <a:pt x="3751" y="3537"/>
                  </a:lnTo>
                  <a:lnTo>
                    <a:pt x="3751" y="3537"/>
                  </a:lnTo>
                  <a:lnTo>
                    <a:pt x="3680" y="3537"/>
                  </a:lnTo>
                  <a:lnTo>
                    <a:pt x="3610" y="3534"/>
                  </a:lnTo>
                  <a:lnTo>
                    <a:pt x="3540" y="3531"/>
                  </a:lnTo>
                  <a:lnTo>
                    <a:pt x="3472" y="3525"/>
                  </a:lnTo>
                  <a:lnTo>
                    <a:pt x="3404" y="3519"/>
                  </a:lnTo>
                  <a:lnTo>
                    <a:pt x="3338" y="3512"/>
                  </a:lnTo>
                  <a:lnTo>
                    <a:pt x="3273" y="3503"/>
                  </a:lnTo>
                  <a:lnTo>
                    <a:pt x="3210" y="3492"/>
                  </a:lnTo>
                  <a:lnTo>
                    <a:pt x="3147" y="3481"/>
                  </a:lnTo>
                  <a:lnTo>
                    <a:pt x="3087" y="3468"/>
                  </a:lnTo>
                  <a:lnTo>
                    <a:pt x="3029" y="3454"/>
                  </a:lnTo>
                  <a:lnTo>
                    <a:pt x="2972" y="3439"/>
                  </a:lnTo>
                  <a:lnTo>
                    <a:pt x="2916" y="3422"/>
                  </a:lnTo>
                  <a:lnTo>
                    <a:pt x="2863" y="3406"/>
                  </a:lnTo>
                  <a:lnTo>
                    <a:pt x="2811" y="3387"/>
                  </a:lnTo>
                  <a:lnTo>
                    <a:pt x="2762" y="3368"/>
                  </a:lnTo>
                  <a:lnTo>
                    <a:pt x="2762" y="3368"/>
                  </a:lnTo>
                  <a:lnTo>
                    <a:pt x="2824" y="3120"/>
                  </a:lnTo>
                  <a:lnTo>
                    <a:pt x="2857" y="2993"/>
                  </a:lnTo>
                  <a:lnTo>
                    <a:pt x="2857" y="2993"/>
                  </a:lnTo>
                  <a:lnTo>
                    <a:pt x="2866" y="2959"/>
                  </a:lnTo>
                  <a:lnTo>
                    <a:pt x="2868" y="2944"/>
                  </a:lnTo>
                  <a:lnTo>
                    <a:pt x="2870" y="2929"/>
                  </a:lnTo>
                  <a:lnTo>
                    <a:pt x="2871" y="2917"/>
                  </a:lnTo>
                  <a:lnTo>
                    <a:pt x="2872" y="2904"/>
                  </a:lnTo>
                  <a:lnTo>
                    <a:pt x="2871" y="2894"/>
                  </a:lnTo>
                  <a:lnTo>
                    <a:pt x="2871" y="2885"/>
                  </a:lnTo>
                  <a:lnTo>
                    <a:pt x="2869" y="2876"/>
                  </a:lnTo>
                  <a:lnTo>
                    <a:pt x="2867" y="2869"/>
                  </a:lnTo>
                  <a:lnTo>
                    <a:pt x="2864" y="2863"/>
                  </a:lnTo>
                  <a:lnTo>
                    <a:pt x="2861" y="2858"/>
                  </a:lnTo>
                  <a:lnTo>
                    <a:pt x="2857" y="2853"/>
                  </a:lnTo>
                  <a:lnTo>
                    <a:pt x="2853" y="2850"/>
                  </a:lnTo>
                  <a:lnTo>
                    <a:pt x="2849" y="2848"/>
                  </a:lnTo>
                  <a:lnTo>
                    <a:pt x="2844" y="2847"/>
                  </a:lnTo>
                  <a:lnTo>
                    <a:pt x="2839" y="2847"/>
                  </a:lnTo>
                  <a:lnTo>
                    <a:pt x="2833" y="2848"/>
                  </a:lnTo>
                  <a:lnTo>
                    <a:pt x="2827" y="2849"/>
                  </a:lnTo>
                  <a:lnTo>
                    <a:pt x="2822" y="2852"/>
                  </a:lnTo>
                  <a:lnTo>
                    <a:pt x="2816" y="2857"/>
                  </a:lnTo>
                  <a:lnTo>
                    <a:pt x="2810" y="2861"/>
                  </a:lnTo>
                  <a:lnTo>
                    <a:pt x="2803" y="2867"/>
                  </a:lnTo>
                  <a:lnTo>
                    <a:pt x="2797" y="2873"/>
                  </a:lnTo>
                  <a:lnTo>
                    <a:pt x="2785" y="2890"/>
                  </a:lnTo>
                  <a:lnTo>
                    <a:pt x="2773" y="2909"/>
                  </a:lnTo>
                  <a:lnTo>
                    <a:pt x="2762" y="2932"/>
                  </a:lnTo>
                  <a:lnTo>
                    <a:pt x="2751" y="2958"/>
                  </a:lnTo>
                  <a:lnTo>
                    <a:pt x="2751" y="2958"/>
                  </a:lnTo>
                  <a:lnTo>
                    <a:pt x="2712" y="3072"/>
                  </a:lnTo>
                  <a:lnTo>
                    <a:pt x="2633" y="3309"/>
                  </a:lnTo>
                  <a:lnTo>
                    <a:pt x="2633" y="3309"/>
                  </a:lnTo>
                  <a:lnTo>
                    <a:pt x="2601" y="3291"/>
                  </a:lnTo>
                  <a:lnTo>
                    <a:pt x="2569" y="3272"/>
                  </a:lnTo>
                  <a:lnTo>
                    <a:pt x="2539" y="3254"/>
                  </a:lnTo>
                  <a:lnTo>
                    <a:pt x="2511" y="3234"/>
                  </a:lnTo>
                  <a:lnTo>
                    <a:pt x="2485" y="3214"/>
                  </a:lnTo>
                  <a:lnTo>
                    <a:pt x="2460" y="3194"/>
                  </a:lnTo>
                  <a:lnTo>
                    <a:pt x="2437" y="3173"/>
                  </a:lnTo>
                  <a:lnTo>
                    <a:pt x="2416" y="3151"/>
                  </a:lnTo>
                  <a:lnTo>
                    <a:pt x="2396" y="3130"/>
                  </a:lnTo>
                  <a:lnTo>
                    <a:pt x="2378" y="3108"/>
                  </a:lnTo>
                  <a:lnTo>
                    <a:pt x="2363" y="3086"/>
                  </a:lnTo>
                  <a:lnTo>
                    <a:pt x="2349" y="3063"/>
                  </a:lnTo>
                  <a:lnTo>
                    <a:pt x="2338" y="3040"/>
                  </a:lnTo>
                  <a:lnTo>
                    <a:pt x="2327" y="3016"/>
                  </a:lnTo>
                  <a:lnTo>
                    <a:pt x="2320" y="2993"/>
                  </a:lnTo>
                  <a:lnTo>
                    <a:pt x="2314" y="2969"/>
                  </a:lnTo>
                  <a:lnTo>
                    <a:pt x="2314" y="2969"/>
                  </a:lnTo>
                  <a:lnTo>
                    <a:pt x="2596" y="2173"/>
                  </a:lnTo>
                  <a:lnTo>
                    <a:pt x="2596" y="2173"/>
                  </a:lnTo>
                  <a:lnTo>
                    <a:pt x="2605" y="2196"/>
                  </a:lnTo>
                  <a:lnTo>
                    <a:pt x="2615" y="2218"/>
                  </a:lnTo>
                  <a:lnTo>
                    <a:pt x="2628" y="2240"/>
                  </a:lnTo>
                  <a:lnTo>
                    <a:pt x="2643" y="2262"/>
                  </a:lnTo>
                  <a:lnTo>
                    <a:pt x="2661" y="2283"/>
                  </a:lnTo>
                  <a:lnTo>
                    <a:pt x="2681" y="2304"/>
                  </a:lnTo>
                  <a:lnTo>
                    <a:pt x="2701" y="2324"/>
                  </a:lnTo>
                  <a:lnTo>
                    <a:pt x="2725" y="2344"/>
                  </a:lnTo>
                  <a:lnTo>
                    <a:pt x="2751" y="2364"/>
                  </a:lnTo>
                  <a:lnTo>
                    <a:pt x="2778" y="2382"/>
                  </a:lnTo>
                  <a:lnTo>
                    <a:pt x="2807" y="2400"/>
                  </a:lnTo>
                  <a:lnTo>
                    <a:pt x="2839" y="2418"/>
                  </a:lnTo>
                  <a:lnTo>
                    <a:pt x="2872" y="2435"/>
                  </a:lnTo>
                  <a:lnTo>
                    <a:pt x="2906" y="2451"/>
                  </a:lnTo>
                  <a:lnTo>
                    <a:pt x="2943" y="2467"/>
                  </a:lnTo>
                  <a:lnTo>
                    <a:pt x="2980" y="2481"/>
                  </a:lnTo>
                  <a:lnTo>
                    <a:pt x="3020" y="2496"/>
                  </a:lnTo>
                  <a:lnTo>
                    <a:pt x="3060" y="2510"/>
                  </a:lnTo>
                  <a:lnTo>
                    <a:pt x="3103" y="2522"/>
                  </a:lnTo>
                  <a:lnTo>
                    <a:pt x="3146" y="2535"/>
                  </a:lnTo>
                  <a:lnTo>
                    <a:pt x="3191" y="2545"/>
                  </a:lnTo>
                  <a:lnTo>
                    <a:pt x="3237" y="2555"/>
                  </a:lnTo>
                  <a:lnTo>
                    <a:pt x="3284" y="2565"/>
                  </a:lnTo>
                  <a:lnTo>
                    <a:pt x="3332" y="2573"/>
                  </a:lnTo>
                  <a:lnTo>
                    <a:pt x="3381" y="2581"/>
                  </a:lnTo>
                  <a:lnTo>
                    <a:pt x="3432" y="2588"/>
                  </a:lnTo>
                  <a:lnTo>
                    <a:pt x="3483" y="2594"/>
                  </a:lnTo>
                  <a:lnTo>
                    <a:pt x="3535" y="2598"/>
                  </a:lnTo>
                  <a:lnTo>
                    <a:pt x="3588" y="2602"/>
                  </a:lnTo>
                  <a:lnTo>
                    <a:pt x="3642" y="2604"/>
                  </a:lnTo>
                  <a:lnTo>
                    <a:pt x="3696" y="2606"/>
                  </a:lnTo>
                  <a:lnTo>
                    <a:pt x="3751" y="2608"/>
                  </a:lnTo>
                  <a:lnTo>
                    <a:pt x="3751" y="2608"/>
                  </a:lnTo>
                  <a:close/>
                  <a:moveTo>
                    <a:pt x="5185" y="2988"/>
                  </a:moveTo>
                  <a:lnTo>
                    <a:pt x="5185" y="2988"/>
                  </a:lnTo>
                  <a:lnTo>
                    <a:pt x="4901" y="2190"/>
                  </a:lnTo>
                  <a:lnTo>
                    <a:pt x="4901" y="2190"/>
                  </a:lnTo>
                  <a:lnTo>
                    <a:pt x="4896" y="2203"/>
                  </a:lnTo>
                  <a:lnTo>
                    <a:pt x="4890" y="2216"/>
                  </a:lnTo>
                  <a:lnTo>
                    <a:pt x="4883" y="2228"/>
                  </a:lnTo>
                  <a:lnTo>
                    <a:pt x="4874" y="2242"/>
                  </a:lnTo>
                  <a:lnTo>
                    <a:pt x="4866" y="2254"/>
                  </a:lnTo>
                  <a:lnTo>
                    <a:pt x="4857" y="2266"/>
                  </a:lnTo>
                  <a:lnTo>
                    <a:pt x="4846" y="2278"/>
                  </a:lnTo>
                  <a:lnTo>
                    <a:pt x="4836" y="2291"/>
                  </a:lnTo>
                  <a:lnTo>
                    <a:pt x="4813" y="2314"/>
                  </a:lnTo>
                  <a:lnTo>
                    <a:pt x="4786" y="2338"/>
                  </a:lnTo>
                  <a:lnTo>
                    <a:pt x="4758" y="2360"/>
                  </a:lnTo>
                  <a:lnTo>
                    <a:pt x="4726" y="2381"/>
                  </a:lnTo>
                  <a:lnTo>
                    <a:pt x="4726" y="2381"/>
                  </a:lnTo>
                  <a:lnTo>
                    <a:pt x="4977" y="3244"/>
                  </a:lnTo>
                  <a:lnTo>
                    <a:pt x="4977" y="3244"/>
                  </a:lnTo>
                  <a:lnTo>
                    <a:pt x="4997" y="3231"/>
                  </a:lnTo>
                  <a:lnTo>
                    <a:pt x="5017" y="3216"/>
                  </a:lnTo>
                  <a:lnTo>
                    <a:pt x="5035" y="3200"/>
                  </a:lnTo>
                  <a:lnTo>
                    <a:pt x="5052" y="3186"/>
                  </a:lnTo>
                  <a:lnTo>
                    <a:pt x="5069" y="3170"/>
                  </a:lnTo>
                  <a:lnTo>
                    <a:pt x="5084" y="3155"/>
                  </a:lnTo>
                  <a:lnTo>
                    <a:pt x="5099" y="3139"/>
                  </a:lnTo>
                  <a:lnTo>
                    <a:pt x="5113" y="3123"/>
                  </a:lnTo>
                  <a:lnTo>
                    <a:pt x="5126" y="3107"/>
                  </a:lnTo>
                  <a:lnTo>
                    <a:pt x="5137" y="3090"/>
                  </a:lnTo>
                  <a:lnTo>
                    <a:pt x="5148" y="3074"/>
                  </a:lnTo>
                  <a:lnTo>
                    <a:pt x="5157" y="3057"/>
                  </a:lnTo>
                  <a:lnTo>
                    <a:pt x="5166" y="3040"/>
                  </a:lnTo>
                  <a:lnTo>
                    <a:pt x="5174" y="3023"/>
                  </a:lnTo>
                  <a:lnTo>
                    <a:pt x="5180" y="3006"/>
                  </a:lnTo>
                  <a:lnTo>
                    <a:pt x="5185" y="2988"/>
                  </a:lnTo>
                  <a:lnTo>
                    <a:pt x="5185" y="2988"/>
                  </a:lnTo>
                  <a:close/>
                  <a:moveTo>
                    <a:pt x="4294" y="491"/>
                  </a:moveTo>
                  <a:lnTo>
                    <a:pt x="4294" y="491"/>
                  </a:lnTo>
                  <a:lnTo>
                    <a:pt x="4432" y="874"/>
                  </a:lnTo>
                  <a:lnTo>
                    <a:pt x="4611" y="1377"/>
                  </a:lnTo>
                  <a:lnTo>
                    <a:pt x="4611" y="1377"/>
                  </a:lnTo>
                  <a:lnTo>
                    <a:pt x="4596" y="1389"/>
                  </a:lnTo>
                  <a:lnTo>
                    <a:pt x="4580" y="1402"/>
                  </a:lnTo>
                  <a:lnTo>
                    <a:pt x="4562" y="1414"/>
                  </a:lnTo>
                  <a:lnTo>
                    <a:pt x="4544" y="1426"/>
                  </a:lnTo>
                  <a:lnTo>
                    <a:pt x="4525" y="1437"/>
                  </a:lnTo>
                  <a:lnTo>
                    <a:pt x="4504" y="1449"/>
                  </a:lnTo>
                  <a:lnTo>
                    <a:pt x="4483" y="1459"/>
                  </a:lnTo>
                  <a:lnTo>
                    <a:pt x="4462" y="1471"/>
                  </a:lnTo>
                  <a:lnTo>
                    <a:pt x="4462" y="1471"/>
                  </a:lnTo>
                  <a:lnTo>
                    <a:pt x="4199" y="563"/>
                  </a:lnTo>
                  <a:lnTo>
                    <a:pt x="4199" y="563"/>
                  </a:lnTo>
                  <a:lnTo>
                    <a:pt x="4228" y="547"/>
                  </a:lnTo>
                  <a:lnTo>
                    <a:pt x="4241" y="538"/>
                  </a:lnTo>
                  <a:lnTo>
                    <a:pt x="4254" y="529"/>
                  </a:lnTo>
                  <a:lnTo>
                    <a:pt x="4265" y="519"/>
                  </a:lnTo>
                  <a:lnTo>
                    <a:pt x="4275" y="511"/>
                  </a:lnTo>
                  <a:lnTo>
                    <a:pt x="4286" y="501"/>
                  </a:lnTo>
                  <a:lnTo>
                    <a:pt x="4294" y="491"/>
                  </a:lnTo>
                  <a:lnTo>
                    <a:pt x="4294" y="491"/>
                  </a:lnTo>
                  <a:close/>
                  <a:moveTo>
                    <a:pt x="2881" y="1368"/>
                  </a:moveTo>
                  <a:lnTo>
                    <a:pt x="2881" y="1368"/>
                  </a:lnTo>
                  <a:lnTo>
                    <a:pt x="2897" y="1381"/>
                  </a:lnTo>
                  <a:lnTo>
                    <a:pt x="2912" y="1394"/>
                  </a:lnTo>
                  <a:lnTo>
                    <a:pt x="2929" y="1406"/>
                  </a:lnTo>
                  <a:lnTo>
                    <a:pt x="2948" y="1419"/>
                  </a:lnTo>
                  <a:lnTo>
                    <a:pt x="2967" y="1430"/>
                  </a:lnTo>
                  <a:lnTo>
                    <a:pt x="2986" y="1442"/>
                  </a:lnTo>
                  <a:lnTo>
                    <a:pt x="3007" y="1453"/>
                  </a:lnTo>
                  <a:lnTo>
                    <a:pt x="3029" y="1464"/>
                  </a:lnTo>
                  <a:lnTo>
                    <a:pt x="3051" y="1475"/>
                  </a:lnTo>
                  <a:lnTo>
                    <a:pt x="3075" y="1485"/>
                  </a:lnTo>
                  <a:lnTo>
                    <a:pt x="3099" y="1495"/>
                  </a:lnTo>
                  <a:lnTo>
                    <a:pt x="3124" y="1504"/>
                  </a:lnTo>
                  <a:lnTo>
                    <a:pt x="3176" y="1523"/>
                  </a:lnTo>
                  <a:lnTo>
                    <a:pt x="3231" y="1538"/>
                  </a:lnTo>
                  <a:lnTo>
                    <a:pt x="3288" y="1554"/>
                  </a:lnTo>
                  <a:lnTo>
                    <a:pt x="3348" y="1567"/>
                  </a:lnTo>
                  <a:lnTo>
                    <a:pt x="3410" y="1578"/>
                  </a:lnTo>
                  <a:lnTo>
                    <a:pt x="3475" y="1587"/>
                  </a:lnTo>
                  <a:lnTo>
                    <a:pt x="3541" y="1595"/>
                  </a:lnTo>
                  <a:lnTo>
                    <a:pt x="3610" y="1600"/>
                  </a:lnTo>
                  <a:lnTo>
                    <a:pt x="3680" y="1604"/>
                  </a:lnTo>
                  <a:lnTo>
                    <a:pt x="3751" y="1605"/>
                  </a:lnTo>
                  <a:lnTo>
                    <a:pt x="3751" y="1605"/>
                  </a:lnTo>
                  <a:lnTo>
                    <a:pt x="3821" y="1604"/>
                  </a:lnTo>
                  <a:lnTo>
                    <a:pt x="3889" y="1601"/>
                  </a:lnTo>
                  <a:lnTo>
                    <a:pt x="3955" y="1596"/>
                  </a:lnTo>
                  <a:lnTo>
                    <a:pt x="4020" y="1588"/>
                  </a:lnTo>
                  <a:lnTo>
                    <a:pt x="4020" y="1588"/>
                  </a:lnTo>
                  <a:lnTo>
                    <a:pt x="3927" y="641"/>
                  </a:lnTo>
                  <a:lnTo>
                    <a:pt x="3927" y="641"/>
                  </a:lnTo>
                  <a:lnTo>
                    <a:pt x="3886" y="647"/>
                  </a:lnTo>
                  <a:lnTo>
                    <a:pt x="3842" y="651"/>
                  </a:lnTo>
                  <a:lnTo>
                    <a:pt x="3797" y="653"/>
                  </a:lnTo>
                  <a:lnTo>
                    <a:pt x="3751" y="654"/>
                  </a:lnTo>
                  <a:lnTo>
                    <a:pt x="3751" y="654"/>
                  </a:lnTo>
                  <a:lnTo>
                    <a:pt x="3704" y="653"/>
                  </a:lnTo>
                  <a:lnTo>
                    <a:pt x="3657" y="650"/>
                  </a:lnTo>
                  <a:lnTo>
                    <a:pt x="3611" y="646"/>
                  </a:lnTo>
                  <a:lnTo>
                    <a:pt x="3566" y="640"/>
                  </a:lnTo>
                  <a:lnTo>
                    <a:pt x="3524" y="633"/>
                  </a:lnTo>
                  <a:lnTo>
                    <a:pt x="3482" y="625"/>
                  </a:lnTo>
                  <a:lnTo>
                    <a:pt x="3444" y="615"/>
                  </a:lnTo>
                  <a:lnTo>
                    <a:pt x="3406" y="604"/>
                  </a:lnTo>
                  <a:lnTo>
                    <a:pt x="3371" y="592"/>
                  </a:lnTo>
                  <a:lnTo>
                    <a:pt x="3339" y="579"/>
                  </a:lnTo>
                  <a:lnTo>
                    <a:pt x="3308" y="564"/>
                  </a:lnTo>
                  <a:lnTo>
                    <a:pt x="3281" y="550"/>
                  </a:lnTo>
                  <a:lnTo>
                    <a:pt x="3256" y="533"/>
                  </a:lnTo>
                  <a:lnTo>
                    <a:pt x="3234" y="516"/>
                  </a:lnTo>
                  <a:lnTo>
                    <a:pt x="3223" y="507"/>
                  </a:lnTo>
                  <a:lnTo>
                    <a:pt x="3215" y="499"/>
                  </a:lnTo>
                  <a:lnTo>
                    <a:pt x="3207" y="489"/>
                  </a:lnTo>
                  <a:lnTo>
                    <a:pt x="3199" y="480"/>
                  </a:lnTo>
                  <a:lnTo>
                    <a:pt x="3199" y="480"/>
                  </a:lnTo>
                  <a:lnTo>
                    <a:pt x="3064" y="856"/>
                  </a:lnTo>
                  <a:lnTo>
                    <a:pt x="2881" y="1368"/>
                  </a:lnTo>
                  <a:lnTo>
                    <a:pt x="2881" y="1368"/>
                  </a:lnTo>
                  <a:close/>
                  <a:moveTo>
                    <a:pt x="3434" y="136"/>
                  </a:moveTo>
                  <a:lnTo>
                    <a:pt x="3434" y="136"/>
                  </a:lnTo>
                  <a:lnTo>
                    <a:pt x="3434" y="143"/>
                  </a:lnTo>
                  <a:lnTo>
                    <a:pt x="3435" y="151"/>
                  </a:lnTo>
                  <a:lnTo>
                    <a:pt x="3438" y="157"/>
                  </a:lnTo>
                  <a:lnTo>
                    <a:pt x="3441" y="164"/>
                  </a:lnTo>
                  <a:lnTo>
                    <a:pt x="3444" y="170"/>
                  </a:lnTo>
                  <a:lnTo>
                    <a:pt x="3448" y="177"/>
                  </a:lnTo>
                  <a:lnTo>
                    <a:pt x="3459" y="189"/>
                  </a:lnTo>
                  <a:lnTo>
                    <a:pt x="3472" y="202"/>
                  </a:lnTo>
                  <a:lnTo>
                    <a:pt x="3488" y="213"/>
                  </a:lnTo>
                  <a:lnTo>
                    <a:pt x="3506" y="224"/>
                  </a:lnTo>
                  <a:lnTo>
                    <a:pt x="3527" y="233"/>
                  </a:lnTo>
                  <a:lnTo>
                    <a:pt x="3550" y="241"/>
                  </a:lnTo>
                  <a:lnTo>
                    <a:pt x="3574" y="250"/>
                  </a:lnTo>
                  <a:lnTo>
                    <a:pt x="3601" y="256"/>
                  </a:lnTo>
                  <a:lnTo>
                    <a:pt x="3628" y="262"/>
                  </a:lnTo>
                  <a:lnTo>
                    <a:pt x="3657" y="266"/>
                  </a:lnTo>
                  <a:lnTo>
                    <a:pt x="3688" y="270"/>
                  </a:lnTo>
                  <a:lnTo>
                    <a:pt x="3719" y="273"/>
                  </a:lnTo>
                  <a:lnTo>
                    <a:pt x="3751" y="273"/>
                  </a:lnTo>
                  <a:lnTo>
                    <a:pt x="3751" y="273"/>
                  </a:lnTo>
                  <a:lnTo>
                    <a:pt x="3784" y="273"/>
                  </a:lnTo>
                  <a:lnTo>
                    <a:pt x="3816" y="270"/>
                  </a:lnTo>
                  <a:lnTo>
                    <a:pt x="3846" y="266"/>
                  </a:lnTo>
                  <a:lnTo>
                    <a:pt x="3875" y="262"/>
                  </a:lnTo>
                  <a:lnTo>
                    <a:pt x="3903" y="256"/>
                  </a:lnTo>
                  <a:lnTo>
                    <a:pt x="3929" y="250"/>
                  </a:lnTo>
                  <a:lnTo>
                    <a:pt x="3954" y="241"/>
                  </a:lnTo>
                  <a:lnTo>
                    <a:pt x="3976" y="233"/>
                  </a:lnTo>
                  <a:lnTo>
                    <a:pt x="3997" y="224"/>
                  </a:lnTo>
                  <a:lnTo>
                    <a:pt x="4016" y="213"/>
                  </a:lnTo>
                  <a:lnTo>
                    <a:pt x="4031" y="202"/>
                  </a:lnTo>
                  <a:lnTo>
                    <a:pt x="4045" y="189"/>
                  </a:lnTo>
                  <a:lnTo>
                    <a:pt x="4055" y="177"/>
                  </a:lnTo>
                  <a:lnTo>
                    <a:pt x="4059" y="170"/>
                  </a:lnTo>
                  <a:lnTo>
                    <a:pt x="4062" y="164"/>
                  </a:lnTo>
                  <a:lnTo>
                    <a:pt x="4065" y="157"/>
                  </a:lnTo>
                  <a:lnTo>
                    <a:pt x="4068" y="151"/>
                  </a:lnTo>
                  <a:lnTo>
                    <a:pt x="4069" y="143"/>
                  </a:lnTo>
                  <a:lnTo>
                    <a:pt x="4070" y="136"/>
                  </a:lnTo>
                  <a:lnTo>
                    <a:pt x="4070" y="136"/>
                  </a:lnTo>
                  <a:lnTo>
                    <a:pt x="4069" y="130"/>
                  </a:lnTo>
                  <a:lnTo>
                    <a:pt x="4068" y="122"/>
                  </a:lnTo>
                  <a:lnTo>
                    <a:pt x="4065" y="115"/>
                  </a:lnTo>
                  <a:lnTo>
                    <a:pt x="4062" y="109"/>
                  </a:lnTo>
                  <a:lnTo>
                    <a:pt x="4059" y="103"/>
                  </a:lnTo>
                  <a:lnTo>
                    <a:pt x="4055" y="95"/>
                  </a:lnTo>
                  <a:lnTo>
                    <a:pt x="4045" y="83"/>
                  </a:lnTo>
                  <a:lnTo>
                    <a:pt x="4031" y="71"/>
                  </a:lnTo>
                  <a:lnTo>
                    <a:pt x="4016" y="60"/>
                  </a:lnTo>
                  <a:lnTo>
                    <a:pt x="3997" y="50"/>
                  </a:lnTo>
                  <a:lnTo>
                    <a:pt x="3976" y="40"/>
                  </a:lnTo>
                  <a:lnTo>
                    <a:pt x="3954" y="31"/>
                  </a:lnTo>
                  <a:lnTo>
                    <a:pt x="3929" y="23"/>
                  </a:lnTo>
                  <a:lnTo>
                    <a:pt x="3903" y="16"/>
                  </a:lnTo>
                  <a:lnTo>
                    <a:pt x="3875" y="11"/>
                  </a:lnTo>
                  <a:lnTo>
                    <a:pt x="3846" y="6"/>
                  </a:lnTo>
                  <a:lnTo>
                    <a:pt x="3816" y="3"/>
                  </a:lnTo>
                  <a:lnTo>
                    <a:pt x="3784" y="1"/>
                  </a:lnTo>
                  <a:lnTo>
                    <a:pt x="3751" y="0"/>
                  </a:lnTo>
                  <a:lnTo>
                    <a:pt x="3751" y="0"/>
                  </a:lnTo>
                  <a:lnTo>
                    <a:pt x="3719" y="1"/>
                  </a:lnTo>
                  <a:lnTo>
                    <a:pt x="3688" y="3"/>
                  </a:lnTo>
                  <a:lnTo>
                    <a:pt x="3657" y="6"/>
                  </a:lnTo>
                  <a:lnTo>
                    <a:pt x="3628" y="11"/>
                  </a:lnTo>
                  <a:lnTo>
                    <a:pt x="3601" y="16"/>
                  </a:lnTo>
                  <a:lnTo>
                    <a:pt x="3574" y="23"/>
                  </a:lnTo>
                  <a:lnTo>
                    <a:pt x="3550" y="31"/>
                  </a:lnTo>
                  <a:lnTo>
                    <a:pt x="3527" y="40"/>
                  </a:lnTo>
                  <a:lnTo>
                    <a:pt x="3506" y="50"/>
                  </a:lnTo>
                  <a:lnTo>
                    <a:pt x="3488" y="60"/>
                  </a:lnTo>
                  <a:lnTo>
                    <a:pt x="3472" y="71"/>
                  </a:lnTo>
                  <a:lnTo>
                    <a:pt x="3459" y="83"/>
                  </a:lnTo>
                  <a:lnTo>
                    <a:pt x="3448" y="95"/>
                  </a:lnTo>
                  <a:lnTo>
                    <a:pt x="3444" y="103"/>
                  </a:lnTo>
                  <a:lnTo>
                    <a:pt x="3441" y="109"/>
                  </a:lnTo>
                  <a:lnTo>
                    <a:pt x="3438" y="115"/>
                  </a:lnTo>
                  <a:lnTo>
                    <a:pt x="3435" y="122"/>
                  </a:lnTo>
                  <a:lnTo>
                    <a:pt x="3434" y="130"/>
                  </a:lnTo>
                  <a:lnTo>
                    <a:pt x="3434" y="136"/>
                  </a:lnTo>
                  <a:lnTo>
                    <a:pt x="3434" y="136"/>
                  </a:lnTo>
                  <a:close/>
                </a:path>
              </a:pathLst>
            </a:custGeom>
            <a:solidFill>
              <a:srgbClr val="F15A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4" name="Freeform 83"/>
            <p:cNvSpPr>
              <a:spLocks/>
            </p:cNvSpPr>
            <p:nvPr/>
          </p:nvSpPr>
          <p:spPr bwMode="auto">
            <a:xfrm flipH="1">
              <a:off x="6474731" y="2848002"/>
              <a:ext cx="1381686" cy="261854"/>
            </a:xfrm>
            <a:custGeom>
              <a:avLst/>
              <a:gdLst>
                <a:gd name="T0" fmla="*/ 1 w 7498"/>
                <a:gd name="T1" fmla="*/ 15 h 1827"/>
                <a:gd name="T2" fmla="*/ 14 w 7498"/>
                <a:gd name="T3" fmla="*/ 65 h 1827"/>
                <a:gd name="T4" fmla="*/ 32 w 7498"/>
                <a:gd name="T5" fmla="*/ 101 h 1827"/>
                <a:gd name="T6" fmla="*/ 60 w 7498"/>
                <a:gd name="T7" fmla="*/ 136 h 1827"/>
                <a:gd name="T8" fmla="*/ 102 w 7498"/>
                <a:gd name="T9" fmla="*/ 166 h 1827"/>
                <a:gd name="T10" fmla="*/ 273 w 7498"/>
                <a:gd name="T11" fmla="*/ 248 h 1827"/>
                <a:gd name="T12" fmla="*/ 3325 w 7498"/>
                <a:gd name="T13" fmla="*/ 1690 h 1827"/>
                <a:gd name="T14" fmla="*/ 3358 w 7498"/>
                <a:gd name="T15" fmla="*/ 1703 h 1827"/>
                <a:gd name="T16" fmla="*/ 3449 w 7498"/>
                <a:gd name="T17" fmla="*/ 1730 h 1827"/>
                <a:gd name="T18" fmla="*/ 3547 w 7498"/>
                <a:gd name="T19" fmla="*/ 1751 h 1827"/>
                <a:gd name="T20" fmla="*/ 3663 w 7498"/>
                <a:gd name="T21" fmla="*/ 1766 h 1827"/>
                <a:gd name="T22" fmla="*/ 3749 w 7498"/>
                <a:gd name="T23" fmla="*/ 1770 h 1827"/>
                <a:gd name="T24" fmla="*/ 3876 w 7498"/>
                <a:gd name="T25" fmla="*/ 1762 h 1827"/>
                <a:gd name="T26" fmla="*/ 3987 w 7498"/>
                <a:gd name="T27" fmla="*/ 1745 h 1827"/>
                <a:gd name="T28" fmla="*/ 4077 w 7498"/>
                <a:gd name="T29" fmla="*/ 1723 h 1827"/>
                <a:gd name="T30" fmla="*/ 4165 w 7498"/>
                <a:gd name="T31" fmla="*/ 1693 h 1827"/>
                <a:gd name="T32" fmla="*/ 5743 w 7498"/>
                <a:gd name="T33" fmla="*/ 951 h 1827"/>
                <a:gd name="T34" fmla="*/ 7342 w 7498"/>
                <a:gd name="T35" fmla="*/ 193 h 1827"/>
                <a:gd name="T36" fmla="*/ 7412 w 7498"/>
                <a:gd name="T37" fmla="*/ 157 h 1827"/>
                <a:gd name="T38" fmla="*/ 7449 w 7498"/>
                <a:gd name="T39" fmla="*/ 124 h 1827"/>
                <a:gd name="T40" fmla="*/ 7474 w 7498"/>
                <a:gd name="T41" fmla="*/ 89 h 1827"/>
                <a:gd name="T42" fmla="*/ 7489 w 7498"/>
                <a:gd name="T43" fmla="*/ 53 h 1827"/>
                <a:gd name="T44" fmla="*/ 7498 w 7498"/>
                <a:gd name="T45" fmla="*/ 0 h 1827"/>
                <a:gd name="T46" fmla="*/ 7498 w 7498"/>
                <a:gd name="T47" fmla="*/ 46 h 1827"/>
                <a:gd name="T48" fmla="*/ 7495 w 7498"/>
                <a:gd name="T49" fmla="*/ 87 h 1827"/>
                <a:gd name="T50" fmla="*/ 7484 w 7498"/>
                <a:gd name="T51" fmla="*/ 126 h 1827"/>
                <a:gd name="T52" fmla="*/ 7459 w 7498"/>
                <a:gd name="T53" fmla="*/ 171 h 1827"/>
                <a:gd name="T54" fmla="*/ 7415 w 7498"/>
                <a:gd name="T55" fmla="*/ 212 h 1827"/>
                <a:gd name="T56" fmla="*/ 7396 w 7498"/>
                <a:gd name="T57" fmla="*/ 223 h 1827"/>
                <a:gd name="T58" fmla="*/ 6846 w 7498"/>
                <a:gd name="T59" fmla="*/ 487 h 1827"/>
                <a:gd name="T60" fmla="*/ 4173 w 7498"/>
                <a:gd name="T61" fmla="*/ 1748 h 1827"/>
                <a:gd name="T62" fmla="*/ 4102 w 7498"/>
                <a:gd name="T63" fmla="*/ 1773 h 1827"/>
                <a:gd name="T64" fmla="*/ 4020 w 7498"/>
                <a:gd name="T65" fmla="*/ 1795 h 1827"/>
                <a:gd name="T66" fmla="*/ 3915 w 7498"/>
                <a:gd name="T67" fmla="*/ 1814 h 1827"/>
                <a:gd name="T68" fmla="*/ 3793 w 7498"/>
                <a:gd name="T69" fmla="*/ 1826 h 1827"/>
                <a:gd name="T70" fmla="*/ 3706 w 7498"/>
                <a:gd name="T71" fmla="*/ 1826 h 1827"/>
                <a:gd name="T72" fmla="*/ 3584 w 7498"/>
                <a:gd name="T73" fmla="*/ 1814 h 1827"/>
                <a:gd name="T74" fmla="*/ 3479 w 7498"/>
                <a:gd name="T75" fmla="*/ 1795 h 1827"/>
                <a:gd name="T76" fmla="*/ 3397 w 7498"/>
                <a:gd name="T77" fmla="*/ 1773 h 1827"/>
                <a:gd name="T78" fmla="*/ 3325 w 7498"/>
                <a:gd name="T79" fmla="*/ 1748 h 1827"/>
                <a:gd name="T80" fmla="*/ 652 w 7498"/>
                <a:gd name="T81" fmla="*/ 487 h 1827"/>
                <a:gd name="T82" fmla="*/ 102 w 7498"/>
                <a:gd name="T83" fmla="*/ 223 h 1827"/>
                <a:gd name="T84" fmla="*/ 84 w 7498"/>
                <a:gd name="T85" fmla="*/ 212 h 1827"/>
                <a:gd name="T86" fmla="*/ 40 w 7498"/>
                <a:gd name="T87" fmla="*/ 171 h 1827"/>
                <a:gd name="T88" fmla="*/ 15 w 7498"/>
                <a:gd name="T89" fmla="*/ 126 h 1827"/>
                <a:gd name="T90" fmla="*/ 3 w 7498"/>
                <a:gd name="T91" fmla="*/ 87 h 1827"/>
                <a:gd name="T92" fmla="*/ 0 w 7498"/>
                <a:gd name="T93" fmla="*/ 46 h 1827"/>
                <a:gd name="T94" fmla="*/ 0 w 7498"/>
                <a:gd name="T95" fmla="*/ 0 h 1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98" h="1827">
                  <a:moveTo>
                    <a:pt x="0" y="0"/>
                  </a:moveTo>
                  <a:lnTo>
                    <a:pt x="0" y="0"/>
                  </a:lnTo>
                  <a:lnTo>
                    <a:pt x="1" y="15"/>
                  </a:lnTo>
                  <a:lnTo>
                    <a:pt x="5" y="33"/>
                  </a:lnTo>
                  <a:lnTo>
                    <a:pt x="10" y="53"/>
                  </a:lnTo>
                  <a:lnTo>
                    <a:pt x="14" y="65"/>
                  </a:lnTo>
                  <a:lnTo>
                    <a:pt x="18" y="77"/>
                  </a:lnTo>
                  <a:lnTo>
                    <a:pt x="24" y="89"/>
                  </a:lnTo>
                  <a:lnTo>
                    <a:pt x="32" y="101"/>
                  </a:lnTo>
                  <a:lnTo>
                    <a:pt x="39" y="113"/>
                  </a:lnTo>
                  <a:lnTo>
                    <a:pt x="49" y="124"/>
                  </a:lnTo>
                  <a:lnTo>
                    <a:pt x="60" y="136"/>
                  </a:lnTo>
                  <a:lnTo>
                    <a:pt x="72" y="147"/>
                  </a:lnTo>
                  <a:lnTo>
                    <a:pt x="87" y="157"/>
                  </a:lnTo>
                  <a:lnTo>
                    <a:pt x="102" y="166"/>
                  </a:lnTo>
                  <a:lnTo>
                    <a:pt x="102" y="166"/>
                  </a:lnTo>
                  <a:lnTo>
                    <a:pt x="156" y="193"/>
                  </a:lnTo>
                  <a:lnTo>
                    <a:pt x="273" y="248"/>
                  </a:lnTo>
                  <a:lnTo>
                    <a:pt x="652" y="430"/>
                  </a:lnTo>
                  <a:lnTo>
                    <a:pt x="1755" y="951"/>
                  </a:lnTo>
                  <a:lnTo>
                    <a:pt x="3325" y="1690"/>
                  </a:lnTo>
                  <a:lnTo>
                    <a:pt x="3325" y="1690"/>
                  </a:lnTo>
                  <a:lnTo>
                    <a:pt x="3333" y="1693"/>
                  </a:lnTo>
                  <a:lnTo>
                    <a:pt x="3358" y="1703"/>
                  </a:lnTo>
                  <a:lnTo>
                    <a:pt x="3397" y="1715"/>
                  </a:lnTo>
                  <a:lnTo>
                    <a:pt x="3422" y="1723"/>
                  </a:lnTo>
                  <a:lnTo>
                    <a:pt x="3449" y="1730"/>
                  </a:lnTo>
                  <a:lnTo>
                    <a:pt x="3479" y="1737"/>
                  </a:lnTo>
                  <a:lnTo>
                    <a:pt x="3511" y="1745"/>
                  </a:lnTo>
                  <a:lnTo>
                    <a:pt x="3547" y="1751"/>
                  </a:lnTo>
                  <a:lnTo>
                    <a:pt x="3584" y="1757"/>
                  </a:lnTo>
                  <a:lnTo>
                    <a:pt x="3622" y="1762"/>
                  </a:lnTo>
                  <a:lnTo>
                    <a:pt x="3663" y="1766"/>
                  </a:lnTo>
                  <a:lnTo>
                    <a:pt x="3706" y="1769"/>
                  </a:lnTo>
                  <a:lnTo>
                    <a:pt x="3749" y="1770"/>
                  </a:lnTo>
                  <a:lnTo>
                    <a:pt x="3749" y="1770"/>
                  </a:lnTo>
                  <a:lnTo>
                    <a:pt x="3793" y="1769"/>
                  </a:lnTo>
                  <a:lnTo>
                    <a:pt x="3836" y="1766"/>
                  </a:lnTo>
                  <a:lnTo>
                    <a:pt x="3876" y="1762"/>
                  </a:lnTo>
                  <a:lnTo>
                    <a:pt x="3915" y="1757"/>
                  </a:lnTo>
                  <a:lnTo>
                    <a:pt x="3952" y="1751"/>
                  </a:lnTo>
                  <a:lnTo>
                    <a:pt x="3987" y="1745"/>
                  </a:lnTo>
                  <a:lnTo>
                    <a:pt x="4020" y="1737"/>
                  </a:lnTo>
                  <a:lnTo>
                    <a:pt x="4050" y="1730"/>
                  </a:lnTo>
                  <a:lnTo>
                    <a:pt x="4077" y="1723"/>
                  </a:lnTo>
                  <a:lnTo>
                    <a:pt x="4102" y="1715"/>
                  </a:lnTo>
                  <a:lnTo>
                    <a:pt x="4140" y="1703"/>
                  </a:lnTo>
                  <a:lnTo>
                    <a:pt x="4165" y="1693"/>
                  </a:lnTo>
                  <a:lnTo>
                    <a:pt x="4173" y="1690"/>
                  </a:lnTo>
                  <a:lnTo>
                    <a:pt x="4173" y="1690"/>
                  </a:lnTo>
                  <a:lnTo>
                    <a:pt x="5743" y="951"/>
                  </a:lnTo>
                  <a:lnTo>
                    <a:pt x="6846" y="430"/>
                  </a:lnTo>
                  <a:lnTo>
                    <a:pt x="7226" y="248"/>
                  </a:lnTo>
                  <a:lnTo>
                    <a:pt x="7342" y="193"/>
                  </a:lnTo>
                  <a:lnTo>
                    <a:pt x="7396" y="166"/>
                  </a:lnTo>
                  <a:lnTo>
                    <a:pt x="7396" y="166"/>
                  </a:lnTo>
                  <a:lnTo>
                    <a:pt x="7412" y="157"/>
                  </a:lnTo>
                  <a:lnTo>
                    <a:pt x="7427" y="146"/>
                  </a:lnTo>
                  <a:lnTo>
                    <a:pt x="7439" y="136"/>
                  </a:lnTo>
                  <a:lnTo>
                    <a:pt x="7449" y="124"/>
                  </a:lnTo>
                  <a:lnTo>
                    <a:pt x="7459" y="113"/>
                  </a:lnTo>
                  <a:lnTo>
                    <a:pt x="7467" y="101"/>
                  </a:lnTo>
                  <a:lnTo>
                    <a:pt x="7474" y="89"/>
                  </a:lnTo>
                  <a:lnTo>
                    <a:pt x="7481" y="77"/>
                  </a:lnTo>
                  <a:lnTo>
                    <a:pt x="7485" y="65"/>
                  </a:lnTo>
                  <a:lnTo>
                    <a:pt x="7489" y="53"/>
                  </a:lnTo>
                  <a:lnTo>
                    <a:pt x="7494" y="33"/>
                  </a:lnTo>
                  <a:lnTo>
                    <a:pt x="7497" y="15"/>
                  </a:lnTo>
                  <a:lnTo>
                    <a:pt x="7498" y="0"/>
                  </a:lnTo>
                  <a:lnTo>
                    <a:pt x="7498" y="0"/>
                  </a:lnTo>
                  <a:lnTo>
                    <a:pt x="7498" y="46"/>
                  </a:lnTo>
                  <a:lnTo>
                    <a:pt x="7498" y="46"/>
                  </a:lnTo>
                  <a:lnTo>
                    <a:pt x="7498" y="51"/>
                  </a:lnTo>
                  <a:lnTo>
                    <a:pt x="7498" y="66"/>
                  </a:lnTo>
                  <a:lnTo>
                    <a:pt x="7495" y="87"/>
                  </a:lnTo>
                  <a:lnTo>
                    <a:pt x="7492" y="99"/>
                  </a:lnTo>
                  <a:lnTo>
                    <a:pt x="7489" y="113"/>
                  </a:lnTo>
                  <a:lnTo>
                    <a:pt x="7484" y="126"/>
                  </a:lnTo>
                  <a:lnTo>
                    <a:pt x="7476" y="141"/>
                  </a:lnTo>
                  <a:lnTo>
                    <a:pt x="7469" y="157"/>
                  </a:lnTo>
                  <a:lnTo>
                    <a:pt x="7459" y="171"/>
                  </a:lnTo>
                  <a:lnTo>
                    <a:pt x="7446" y="185"/>
                  </a:lnTo>
                  <a:lnTo>
                    <a:pt x="7432" y="199"/>
                  </a:lnTo>
                  <a:lnTo>
                    <a:pt x="7415" y="212"/>
                  </a:lnTo>
                  <a:lnTo>
                    <a:pt x="7406" y="218"/>
                  </a:lnTo>
                  <a:lnTo>
                    <a:pt x="7396" y="223"/>
                  </a:lnTo>
                  <a:lnTo>
                    <a:pt x="7396" y="223"/>
                  </a:lnTo>
                  <a:lnTo>
                    <a:pt x="7342" y="250"/>
                  </a:lnTo>
                  <a:lnTo>
                    <a:pt x="7226" y="306"/>
                  </a:lnTo>
                  <a:lnTo>
                    <a:pt x="6846" y="487"/>
                  </a:lnTo>
                  <a:lnTo>
                    <a:pt x="5743" y="1008"/>
                  </a:lnTo>
                  <a:lnTo>
                    <a:pt x="4173" y="1748"/>
                  </a:lnTo>
                  <a:lnTo>
                    <a:pt x="4173" y="1748"/>
                  </a:lnTo>
                  <a:lnTo>
                    <a:pt x="4165" y="1751"/>
                  </a:lnTo>
                  <a:lnTo>
                    <a:pt x="4140" y="1760"/>
                  </a:lnTo>
                  <a:lnTo>
                    <a:pt x="4102" y="1773"/>
                  </a:lnTo>
                  <a:lnTo>
                    <a:pt x="4077" y="1780"/>
                  </a:lnTo>
                  <a:lnTo>
                    <a:pt x="4050" y="1787"/>
                  </a:lnTo>
                  <a:lnTo>
                    <a:pt x="4020" y="1795"/>
                  </a:lnTo>
                  <a:lnTo>
                    <a:pt x="3987" y="1802"/>
                  </a:lnTo>
                  <a:lnTo>
                    <a:pt x="3952" y="1808"/>
                  </a:lnTo>
                  <a:lnTo>
                    <a:pt x="3915" y="1814"/>
                  </a:lnTo>
                  <a:lnTo>
                    <a:pt x="3876" y="1820"/>
                  </a:lnTo>
                  <a:lnTo>
                    <a:pt x="3836" y="1823"/>
                  </a:lnTo>
                  <a:lnTo>
                    <a:pt x="3793" y="1826"/>
                  </a:lnTo>
                  <a:lnTo>
                    <a:pt x="3749" y="1827"/>
                  </a:lnTo>
                  <a:lnTo>
                    <a:pt x="3749" y="1827"/>
                  </a:lnTo>
                  <a:lnTo>
                    <a:pt x="3706" y="1826"/>
                  </a:lnTo>
                  <a:lnTo>
                    <a:pt x="3663" y="1823"/>
                  </a:lnTo>
                  <a:lnTo>
                    <a:pt x="3622" y="1820"/>
                  </a:lnTo>
                  <a:lnTo>
                    <a:pt x="3584" y="1814"/>
                  </a:lnTo>
                  <a:lnTo>
                    <a:pt x="3547" y="1808"/>
                  </a:lnTo>
                  <a:lnTo>
                    <a:pt x="3511" y="1802"/>
                  </a:lnTo>
                  <a:lnTo>
                    <a:pt x="3479" y="1795"/>
                  </a:lnTo>
                  <a:lnTo>
                    <a:pt x="3449" y="1787"/>
                  </a:lnTo>
                  <a:lnTo>
                    <a:pt x="3422" y="1780"/>
                  </a:lnTo>
                  <a:lnTo>
                    <a:pt x="3397" y="1773"/>
                  </a:lnTo>
                  <a:lnTo>
                    <a:pt x="3358" y="1760"/>
                  </a:lnTo>
                  <a:lnTo>
                    <a:pt x="3333" y="1751"/>
                  </a:lnTo>
                  <a:lnTo>
                    <a:pt x="3325" y="1748"/>
                  </a:lnTo>
                  <a:lnTo>
                    <a:pt x="3325" y="1748"/>
                  </a:lnTo>
                  <a:lnTo>
                    <a:pt x="1755" y="1008"/>
                  </a:lnTo>
                  <a:lnTo>
                    <a:pt x="652" y="487"/>
                  </a:lnTo>
                  <a:lnTo>
                    <a:pt x="273" y="306"/>
                  </a:lnTo>
                  <a:lnTo>
                    <a:pt x="156" y="250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93" y="218"/>
                  </a:lnTo>
                  <a:lnTo>
                    <a:pt x="84" y="212"/>
                  </a:lnTo>
                  <a:lnTo>
                    <a:pt x="67" y="199"/>
                  </a:lnTo>
                  <a:lnTo>
                    <a:pt x="52" y="185"/>
                  </a:lnTo>
                  <a:lnTo>
                    <a:pt x="40" y="171"/>
                  </a:lnTo>
                  <a:lnTo>
                    <a:pt x="29" y="157"/>
                  </a:lnTo>
                  <a:lnTo>
                    <a:pt x="21" y="141"/>
                  </a:lnTo>
                  <a:lnTo>
                    <a:pt x="15" y="126"/>
                  </a:lnTo>
                  <a:lnTo>
                    <a:pt x="10" y="113"/>
                  </a:lnTo>
                  <a:lnTo>
                    <a:pt x="7" y="99"/>
                  </a:lnTo>
                  <a:lnTo>
                    <a:pt x="3" y="87"/>
                  </a:lnTo>
                  <a:lnTo>
                    <a:pt x="0" y="66"/>
                  </a:lnTo>
                  <a:lnTo>
                    <a:pt x="0" y="51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46" name="Groupe 1321"/>
          <p:cNvGrpSpPr/>
          <p:nvPr/>
        </p:nvGrpSpPr>
        <p:grpSpPr>
          <a:xfrm>
            <a:off x="754197" y="5590797"/>
            <a:ext cx="1376072" cy="1121890"/>
            <a:chOff x="800917" y="3494250"/>
            <a:chExt cx="2480843" cy="2022591"/>
          </a:xfrm>
        </p:grpSpPr>
        <p:sp>
          <p:nvSpPr>
            <p:cNvPr id="161" name="Freeform 123"/>
            <p:cNvSpPr>
              <a:spLocks/>
            </p:cNvSpPr>
            <p:nvPr/>
          </p:nvSpPr>
          <p:spPr bwMode="auto">
            <a:xfrm flipH="1">
              <a:off x="800917" y="4744180"/>
              <a:ext cx="2480843" cy="772661"/>
            </a:xfrm>
            <a:custGeom>
              <a:avLst/>
              <a:gdLst>
                <a:gd name="T0" fmla="*/ 0 w 13458"/>
                <a:gd name="T1" fmla="*/ 1697 h 5395"/>
                <a:gd name="T2" fmla="*/ 2 w 13458"/>
                <a:gd name="T3" fmla="*/ 1656 h 5395"/>
                <a:gd name="T4" fmla="*/ 11 w 13458"/>
                <a:gd name="T5" fmla="*/ 1600 h 5395"/>
                <a:gd name="T6" fmla="*/ 26 w 13458"/>
                <a:gd name="T7" fmla="*/ 1550 h 5395"/>
                <a:gd name="T8" fmla="*/ 53 w 13458"/>
                <a:gd name="T9" fmla="*/ 1493 h 5395"/>
                <a:gd name="T10" fmla="*/ 101 w 13458"/>
                <a:gd name="T11" fmla="*/ 1427 h 5395"/>
                <a:gd name="T12" fmla="*/ 142 w 13458"/>
                <a:gd name="T13" fmla="*/ 1386 h 5395"/>
                <a:gd name="T14" fmla="*/ 2995 w 13458"/>
                <a:gd name="T15" fmla="*/ 0 h 5395"/>
                <a:gd name="T16" fmla="*/ 13288 w 13458"/>
                <a:gd name="T17" fmla="*/ 1366 h 5395"/>
                <a:gd name="T18" fmla="*/ 13314 w 13458"/>
                <a:gd name="T19" fmla="*/ 1386 h 5395"/>
                <a:gd name="T20" fmla="*/ 13357 w 13458"/>
                <a:gd name="T21" fmla="*/ 1427 h 5395"/>
                <a:gd name="T22" fmla="*/ 13404 w 13458"/>
                <a:gd name="T23" fmla="*/ 1493 h 5395"/>
                <a:gd name="T24" fmla="*/ 13431 w 13458"/>
                <a:gd name="T25" fmla="*/ 1550 h 5395"/>
                <a:gd name="T26" fmla="*/ 13446 w 13458"/>
                <a:gd name="T27" fmla="*/ 1600 h 5395"/>
                <a:gd name="T28" fmla="*/ 13456 w 13458"/>
                <a:gd name="T29" fmla="*/ 1656 h 5395"/>
                <a:gd name="T30" fmla="*/ 13457 w 13458"/>
                <a:gd name="T31" fmla="*/ 1697 h 5395"/>
                <a:gd name="T32" fmla="*/ 13458 w 13458"/>
                <a:gd name="T33" fmla="*/ 2209 h 5395"/>
                <a:gd name="T34" fmla="*/ 13452 w 13458"/>
                <a:gd name="T35" fmla="*/ 2272 h 5395"/>
                <a:gd name="T36" fmla="*/ 13431 w 13458"/>
                <a:gd name="T37" fmla="*/ 2344 h 5395"/>
                <a:gd name="T38" fmla="*/ 13404 w 13458"/>
                <a:gd name="T39" fmla="*/ 2397 h 5395"/>
                <a:gd name="T40" fmla="*/ 13376 w 13458"/>
                <a:gd name="T41" fmla="*/ 2436 h 5395"/>
                <a:gd name="T42" fmla="*/ 13338 w 13458"/>
                <a:gd name="T43" fmla="*/ 2473 h 5395"/>
                <a:gd name="T44" fmla="*/ 13292 w 13458"/>
                <a:gd name="T45" fmla="*/ 2508 h 5395"/>
                <a:gd name="T46" fmla="*/ 13240 w 13458"/>
                <a:gd name="T47" fmla="*/ 2535 h 5395"/>
                <a:gd name="T48" fmla="*/ 12287 w 13458"/>
                <a:gd name="T49" fmla="*/ 2990 h 5395"/>
                <a:gd name="T50" fmla="*/ 8366 w 13458"/>
                <a:gd name="T51" fmla="*/ 4841 h 5395"/>
                <a:gd name="T52" fmla="*/ 7475 w 13458"/>
                <a:gd name="T53" fmla="*/ 5260 h 5395"/>
                <a:gd name="T54" fmla="*/ 7360 w 13458"/>
                <a:gd name="T55" fmla="*/ 5298 h 5395"/>
                <a:gd name="T56" fmla="*/ 7214 w 13458"/>
                <a:gd name="T57" fmla="*/ 5337 h 5395"/>
                <a:gd name="T58" fmla="*/ 7026 w 13458"/>
                <a:gd name="T59" fmla="*/ 5372 h 5395"/>
                <a:gd name="T60" fmla="*/ 6882 w 13458"/>
                <a:gd name="T61" fmla="*/ 5389 h 5395"/>
                <a:gd name="T62" fmla="*/ 6768 w 13458"/>
                <a:gd name="T63" fmla="*/ 5394 h 5395"/>
                <a:gd name="T64" fmla="*/ 6728 w 13458"/>
                <a:gd name="T65" fmla="*/ 5395 h 5395"/>
                <a:gd name="T66" fmla="*/ 6612 w 13458"/>
                <a:gd name="T67" fmla="*/ 5391 h 5395"/>
                <a:gd name="T68" fmla="*/ 6501 w 13458"/>
                <a:gd name="T69" fmla="*/ 5381 h 5395"/>
                <a:gd name="T70" fmla="*/ 6301 w 13458"/>
                <a:gd name="T71" fmla="*/ 5350 h 5395"/>
                <a:gd name="T72" fmla="*/ 6140 w 13458"/>
                <a:gd name="T73" fmla="*/ 5311 h 5395"/>
                <a:gd name="T74" fmla="*/ 6027 w 13458"/>
                <a:gd name="T75" fmla="*/ 5275 h 5395"/>
                <a:gd name="T76" fmla="*/ 5966 w 13458"/>
                <a:gd name="T77" fmla="*/ 5253 h 5395"/>
                <a:gd name="T78" fmla="*/ 2100 w 13458"/>
                <a:gd name="T79" fmla="*/ 3430 h 5395"/>
                <a:gd name="T80" fmla="*/ 281 w 13458"/>
                <a:gd name="T81" fmla="*/ 2566 h 5395"/>
                <a:gd name="T82" fmla="*/ 183 w 13458"/>
                <a:gd name="T83" fmla="*/ 2517 h 5395"/>
                <a:gd name="T84" fmla="*/ 133 w 13458"/>
                <a:gd name="T85" fmla="*/ 2485 h 5395"/>
                <a:gd name="T86" fmla="*/ 93 w 13458"/>
                <a:gd name="T87" fmla="*/ 2449 h 5395"/>
                <a:gd name="T88" fmla="*/ 62 w 13458"/>
                <a:gd name="T89" fmla="*/ 2410 h 5395"/>
                <a:gd name="T90" fmla="*/ 38 w 13458"/>
                <a:gd name="T91" fmla="*/ 2370 h 5395"/>
                <a:gd name="T92" fmla="*/ 10 w 13458"/>
                <a:gd name="T93" fmla="*/ 2295 h 5395"/>
                <a:gd name="T94" fmla="*/ 1 w 13458"/>
                <a:gd name="T95" fmla="*/ 2235 h 5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458" h="5395">
                  <a:moveTo>
                    <a:pt x="0" y="2199"/>
                  </a:moveTo>
                  <a:lnTo>
                    <a:pt x="0" y="2199"/>
                  </a:lnTo>
                  <a:lnTo>
                    <a:pt x="0" y="1697"/>
                  </a:lnTo>
                  <a:lnTo>
                    <a:pt x="0" y="1697"/>
                  </a:lnTo>
                  <a:lnTo>
                    <a:pt x="0" y="1676"/>
                  </a:lnTo>
                  <a:lnTo>
                    <a:pt x="2" y="1656"/>
                  </a:lnTo>
                  <a:lnTo>
                    <a:pt x="4" y="1637"/>
                  </a:lnTo>
                  <a:lnTo>
                    <a:pt x="7" y="1618"/>
                  </a:lnTo>
                  <a:lnTo>
                    <a:pt x="11" y="1600"/>
                  </a:lnTo>
                  <a:lnTo>
                    <a:pt x="15" y="1583"/>
                  </a:lnTo>
                  <a:lnTo>
                    <a:pt x="21" y="1566"/>
                  </a:lnTo>
                  <a:lnTo>
                    <a:pt x="26" y="1550"/>
                  </a:lnTo>
                  <a:lnTo>
                    <a:pt x="32" y="1535"/>
                  </a:lnTo>
                  <a:lnTo>
                    <a:pt x="39" y="1520"/>
                  </a:lnTo>
                  <a:lnTo>
                    <a:pt x="53" y="1493"/>
                  </a:lnTo>
                  <a:lnTo>
                    <a:pt x="68" y="1469"/>
                  </a:lnTo>
                  <a:lnTo>
                    <a:pt x="84" y="1447"/>
                  </a:lnTo>
                  <a:lnTo>
                    <a:pt x="101" y="1427"/>
                  </a:lnTo>
                  <a:lnTo>
                    <a:pt x="115" y="1411"/>
                  </a:lnTo>
                  <a:lnTo>
                    <a:pt x="130" y="1397"/>
                  </a:lnTo>
                  <a:lnTo>
                    <a:pt x="142" y="1386"/>
                  </a:lnTo>
                  <a:lnTo>
                    <a:pt x="162" y="1370"/>
                  </a:lnTo>
                  <a:lnTo>
                    <a:pt x="169" y="1366"/>
                  </a:lnTo>
                  <a:lnTo>
                    <a:pt x="2995" y="0"/>
                  </a:lnTo>
                  <a:lnTo>
                    <a:pt x="6728" y="2298"/>
                  </a:lnTo>
                  <a:lnTo>
                    <a:pt x="10462" y="0"/>
                  </a:lnTo>
                  <a:lnTo>
                    <a:pt x="13288" y="1366"/>
                  </a:lnTo>
                  <a:lnTo>
                    <a:pt x="13288" y="1366"/>
                  </a:lnTo>
                  <a:lnTo>
                    <a:pt x="13296" y="1370"/>
                  </a:lnTo>
                  <a:lnTo>
                    <a:pt x="13314" y="1386"/>
                  </a:lnTo>
                  <a:lnTo>
                    <a:pt x="13327" y="1397"/>
                  </a:lnTo>
                  <a:lnTo>
                    <a:pt x="13341" y="1411"/>
                  </a:lnTo>
                  <a:lnTo>
                    <a:pt x="13357" y="1427"/>
                  </a:lnTo>
                  <a:lnTo>
                    <a:pt x="13373" y="1447"/>
                  </a:lnTo>
                  <a:lnTo>
                    <a:pt x="13388" y="1469"/>
                  </a:lnTo>
                  <a:lnTo>
                    <a:pt x="13404" y="1493"/>
                  </a:lnTo>
                  <a:lnTo>
                    <a:pt x="13418" y="1520"/>
                  </a:lnTo>
                  <a:lnTo>
                    <a:pt x="13425" y="1535"/>
                  </a:lnTo>
                  <a:lnTo>
                    <a:pt x="13431" y="1550"/>
                  </a:lnTo>
                  <a:lnTo>
                    <a:pt x="13436" y="1566"/>
                  </a:lnTo>
                  <a:lnTo>
                    <a:pt x="13441" y="1583"/>
                  </a:lnTo>
                  <a:lnTo>
                    <a:pt x="13446" y="1600"/>
                  </a:lnTo>
                  <a:lnTo>
                    <a:pt x="13450" y="1618"/>
                  </a:lnTo>
                  <a:lnTo>
                    <a:pt x="13453" y="1637"/>
                  </a:lnTo>
                  <a:lnTo>
                    <a:pt x="13456" y="1656"/>
                  </a:lnTo>
                  <a:lnTo>
                    <a:pt x="13457" y="1676"/>
                  </a:lnTo>
                  <a:lnTo>
                    <a:pt x="13457" y="1697"/>
                  </a:lnTo>
                  <a:lnTo>
                    <a:pt x="13457" y="1697"/>
                  </a:lnTo>
                  <a:lnTo>
                    <a:pt x="13457" y="2199"/>
                  </a:lnTo>
                  <a:lnTo>
                    <a:pt x="13457" y="2199"/>
                  </a:lnTo>
                  <a:lnTo>
                    <a:pt x="13458" y="2209"/>
                  </a:lnTo>
                  <a:lnTo>
                    <a:pt x="13456" y="2235"/>
                  </a:lnTo>
                  <a:lnTo>
                    <a:pt x="13455" y="2251"/>
                  </a:lnTo>
                  <a:lnTo>
                    <a:pt x="13452" y="2272"/>
                  </a:lnTo>
                  <a:lnTo>
                    <a:pt x="13446" y="2294"/>
                  </a:lnTo>
                  <a:lnTo>
                    <a:pt x="13439" y="2319"/>
                  </a:lnTo>
                  <a:lnTo>
                    <a:pt x="13431" y="2344"/>
                  </a:lnTo>
                  <a:lnTo>
                    <a:pt x="13418" y="2370"/>
                  </a:lnTo>
                  <a:lnTo>
                    <a:pt x="13411" y="2384"/>
                  </a:lnTo>
                  <a:lnTo>
                    <a:pt x="13404" y="2397"/>
                  </a:lnTo>
                  <a:lnTo>
                    <a:pt x="13396" y="2410"/>
                  </a:lnTo>
                  <a:lnTo>
                    <a:pt x="13386" y="2423"/>
                  </a:lnTo>
                  <a:lnTo>
                    <a:pt x="13376" y="2436"/>
                  </a:lnTo>
                  <a:lnTo>
                    <a:pt x="13364" y="2449"/>
                  </a:lnTo>
                  <a:lnTo>
                    <a:pt x="13352" y="2462"/>
                  </a:lnTo>
                  <a:lnTo>
                    <a:pt x="13338" y="2473"/>
                  </a:lnTo>
                  <a:lnTo>
                    <a:pt x="13324" y="2485"/>
                  </a:lnTo>
                  <a:lnTo>
                    <a:pt x="13308" y="2496"/>
                  </a:lnTo>
                  <a:lnTo>
                    <a:pt x="13292" y="2508"/>
                  </a:lnTo>
                  <a:lnTo>
                    <a:pt x="13274" y="2518"/>
                  </a:lnTo>
                  <a:lnTo>
                    <a:pt x="13274" y="2518"/>
                  </a:lnTo>
                  <a:lnTo>
                    <a:pt x="13240" y="2535"/>
                  </a:lnTo>
                  <a:lnTo>
                    <a:pt x="13176" y="2566"/>
                  </a:lnTo>
                  <a:lnTo>
                    <a:pt x="12968" y="2666"/>
                  </a:lnTo>
                  <a:lnTo>
                    <a:pt x="12287" y="2990"/>
                  </a:lnTo>
                  <a:lnTo>
                    <a:pt x="11357" y="3430"/>
                  </a:lnTo>
                  <a:lnTo>
                    <a:pt x="10308" y="3925"/>
                  </a:lnTo>
                  <a:lnTo>
                    <a:pt x="8366" y="4841"/>
                  </a:lnTo>
                  <a:lnTo>
                    <a:pt x="7490" y="5253"/>
                  </a:lnTo>
                  <a:lnTo>
                    <a:pt x="7490" y="5253"/>
                  </a:lnTo>
                  <a:lnTo>
                    <a:pt x="7475" y="5260"/>
                  </a:lnTo>
                  <a:lnTo>
                    <a:pt x="7431" y="5275"/>
                  </a:lnTo>
                  <a:lnTo>
                    <a:pt x="7399" y="5286"/>
                  </a:lnTo>
                  <a:lnTo>
                    <a:pt x="7360" y="5298"/>
                  </a:lnTo>
                  <a:lnTo>
                    <a:pt x="7317" y="5311"/>
                  </a:lnTo>
                  <a:lnTo>
                    <a:pt x="7268" y="5324"/>
                  </a:lnTo>
                  <a:lnTo>
                    <a:pt x="7214" y="5337"/>
                  </a:lnTo>
                  <a:lnTo>
                    <a:pt x="7156" y="5350"/>
                  </a:lnTo>
                  <a:lnTo>
                    <a:pt x="7092" y="5362"/>
                  </a:lnTo>
                  <a:lnTo>
                    <a:pt x="7026" y="5372"/>
                  </a:lnTo>
                  <a:lnTo>
                    <a:pt x="6956" y="5381"/>
                  </a:lnTo>
                  <a:lnTo>
                    <a:pt x="6920" y="5386"/>
                  </a:lnTo>
                  <a:lnTo>
                    <a:pt x="6882" y="5389"/>
                  </a:lnTo>
                  <a:lnTo>
                    <a:pt x="6845" y="5391"/>
                  </a:lnTo>
                  <a:lnTo>
                    <a:pt x="6806" y="5393"/>
                  </a:lnTo>
                  <a:lnTo>
                    <a:pt x="6768" y="5394"/>
                  </a:lnTo>
                  <a:lnTo>
                    <a:pt x="6728" y="5395"/>
                  </a:lnTo>
                  <a:lnTo>
                    <a:pt x="6728" y="5395"/>
                  </a:lnTo>
                  <a:lnTo>
                    <a:pt x="6728" y="5395"/>
                  </a:lnTo>
                  <a:lnTo>
                    <a:pt x="6689" y="5394"/>
                  </a:lnTo>
                  <a:lnTo>
                    <a:pt x="6650" y="5393"/>
                  </a:lnTo>
                  <a:lnTo>
                    <a:pt x="6612" y="5391"/>
                  </a:lnTo>
                  <a:lnTo>
                    <a:pt x="6574" y="5389"/>
                  </a:lnTo>
                  <a:lnTo>
                    <a:pt x="6537" y="5386"/>
                  </a:lnTo>
                  <a:lnTo>
                    <a:pt x="6501" y="5381"/>
                  </a:lnTo>
                  <a:lnTo>
                    <a:pt x="6431" y="5372"/>
                  </a:lnTo>
                  <a:lnTo>
                    <a:pt x="6364" y="5362"/>
                  </a:lnTo>
                  <a:lnTo>
                    <a:pt x="6301" y="5350"/>
                  </a:lnTo>
                  <a:lnTo>
                    <a:pt x="6243" y="5337"/>
                  </a:lnTo>
                  <a:lnTo>
                    <a:pt x="6189" y="5324"/>
                  </a:lnTo>
                  <a:lnTo>
                    <a:pt x="6140" y="5311"/>
                  </a:lnTo>
                  <a:lnTo>
                    <a:pt x="6096" y="5298"/>
                  </a:lnTo>
                  <a:lnTo>
                    <a:pt x="6058" y="5286"/>
                  </a:lnTo>
                  <a:lnTo>
                    <a:pt x="6027" y="5275"/>
                  </a:lnTo>
                  <a:lnTo>
                    <a:pt x="5982" y="5260"/>
                  </a:lnTo>
                  <a:lnTo>
                    <a:pt x="5966" y="5253"/>
                  </a:lnTo>
                  <a:lnTo>
                    <a:pt x="5966" y="5253"/>
                  </a:lnTo>
                  <a:lnTo>
                    <a:pt x="5091" y="4841"/>
                  </a:lnTo>
                  <a:lnTo>
                    <a:pt x="3149" y="3925"/>
                  </a:lnTo>
                  <a:lnTo>
                    <a:pt x="2100" y="3430"/>
                  </a:lnTo>
                  <a:lnTo>
                    <a:pt x="1170" y="2990"/>
                  </a:lnTo>
                  <a:lnTo>
                    <a:pt x="488" y="2666"/>
                  </a:lnTo>
                  <a:lnTo>
                    <a:pt x="281" y="2566"/>
                  </a:lnTo>
                  <a:lnTo>
                    <a:pt x="217" y="2535"/>
                  </a:lnTo>
                  <a:lnTo>
                    <a:pt x="183" y="2517"/>
                  </a:lnTo>
                  <a:lnTo>
                    <a:pt x="183" y="2517"/>
                  </a:lnTo>
                  <a:lnTo>
                    <a:pt x="165" y="2508"/>
                  </a:lnTo>
                  <a:lnTo>
                    <a:pt x="148" y="2496"/>
                  </a:lnTo>
                  <a:lnTo>
                    <a:pt x="133" y="2485"/>
                  </a:lnTo>
                  <a:lnTo>
                    <a:pt x="118" y="2473"/>
                  </a:lnTo>
                  <a:lnTo>
                    <a:pt x="105" y="2461"/>
                  </a:lnTo>
                  <a:lnTo>
                    <a:pt x="93" y="2449"/>
                  </a:lnTo>
                  <a:lnTo>
                    <a:pt x="82" y="2436"/>
                  </a:lnTo>
                  <a:lnTo>
                    <a:pt x="72" y="2423"/>
                  </a:lnTo>
                  <a:lnTo>
                    <a:pt x="62" y="2410"/>
                  </a:lnTo>
                  <a:lnTo>
                    <a:pt x="53" y="2397"/>
                  </a:lnTo>
                  <a:lnTo>
                    <a:pt x="46" y="2384"/>
                  </a:lnTo>
                  <a:lnTo>
                    <a:pt x="38" y="2370"/>
                  </a:lnTo>
                  <a:lnTo>
                    <a:pt x="27" y="2344"/>
                  </a:lnTo>
                  <a:lnTo>
                    <a:pt x="17" y="2319"/>
                  </a:lnTo>
                  <a:lnTo>
                    <a:pt x="10" y="2295"/>
                  </a:lnTo>
                  <a:lnTo>
                    <a:pt x="6" y="2272"/>
                  </a:lnTo>
                  <a:lnTo>
                    <a:pt x="3" y="2252"/>
                  </a:lnTo>
                  <a:lnTo>
                    <a:pt x="1" y="2235"/>
                  </a:lnTo>
                  <a:lnTo>
                    <a:pt x="0" y="2209"/>
                  </a:lnTo>
                  <a:lnTo>
                    <a:pt x="0" y="2199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2" name="Freeform 124"/>
            <p:cNvSpPr>
              <a:spLocks/>
            </p:cNvSpPr>
            <p:nvPr/>
          </p:nvSpPr>
          <p:spPr bwMode="auto">
            <a:xfrm flipH="1">
              <a:off x="800917" y="4744180"/>
              <a:ext cx="2480843" cy="772661"/>
            </a:xfrm>
            <a:custGeom>
              <a:avLst/>
              <a:gdLst>
                <a:gd name="T0" fmla="*/ 0 w 13458"/>
                <a:gd name="T1" fmla="*/ 1697 h 5395"/>
                <a:gd name="T2" fmla="*/ 2 w 13458"/>
                <a:gd name="T3" fmla="*/ 1656 h 5395"/>
                <a:gd name="T4" fmla="*/ 11 w 13458"/>
                <a:gd name="T5" fmla="*/ 1600 h 5395"/>
                <a:gd name="T6" fmla="*/ 26 w 13458"/>
                <a:gd name="T7" fmla="*/ 1550 h 5395"/>
                <a:gd name="T8" fmla="*/ 53 w 13458"/>
                <a:gd name="T9" fmla="*/ 1493 h 5395"/>
                <a:gd name="T10" fmla="*/ 101 w 13458"/>
                <a:gd name="T11" fmla="*/ 1427 h 5395"/>
                <a:gd name="T12" fmla="*/ 142 w 13458"/>
                <a:gd name="T13" fmla="*/ 1386 h 5395"/>
                <a:gd name="T14" fmla="*/ 2995 w 13458"/>
                <a:gd name="T15" fmla="*/ 0 h 5395"/>
                <a:gd name="T16" fmla="*/ 13288 w 13458"/>
                <a:gd name="T17" fmla="*/ 1366 h 5395"/>
                <a:gd name="T18" fmla="*/ 13314 w 13458"/>
                <a:gd name="T19" fmla="*/ 1386 h 5395"/>
                <a:gd name="T20" fmla="*/ 13357 w 13458"/>
                <a:gd name="T21" fmla="*/ 1427 h 5395"/>
                <a:gd name="T22" fmla="*/ 13404 w 13458"/>
                <a:gd name="T23" fmla="*/ 1493 h 5395"/>
                <a:gd name="T24" fmla="*/ 13431 w 13458"/>
                <a:gd name="T25" fmla="*/ 1550 h 5395"/>
                <a:gd name="T26" fmla="*/ 13446 w 13458"/>
                <a:gd name="T27" fmla="*/ 1600 h 5395"/>
                <a:gd name="T28" fmla="*/ 13456 w 13458"/>
                <a:gd name="T29" fmla="*/ 1656 h 5395"/>
                <a:gd name="T30" fmla="*/ 13457 w 13458"/>
                <a:gd name="T31" fmla="*/ 1697 h 5395"/>
                <a:gd name="T32" fmla="*/ 13458 w 13458"/>
                <a:gd name="T33" fmla="*/ 2209 h 5395"/>
                <a:gd name="T34" fmla="*/ 13452 w 13458"/>
                <a:gd name="T35" fmla="*/ 2272 h 5395"/>
                <a:gd name="T36" fmla="*/ 13431 w 13458"/>
                <a:gd name="T37" fmla="*/ 2344 h 5395"/>
                <a:gd name="T38" fmla="*/ 13404 w 13458"/>
                <a:gd name="T39" fmla="*/ 2397 h 5395"/>
                <a:gd name="T40" fmla="*/ 13376 w 13458"/>
                <a:gd name="T41" fmla="*/ 2436 h 5395"/>
                <a:gd name="T42" fmla="*/ 13338 w 13458"/>
                <a:gd name="T43" fmla="*/ 2473 h 5395"/>
                <a:gd name="T44" fmla="*/ 13292 w 13458"/>
                <a:gd name="T45" fmla="*/ 2508 h 5395"/>
                <a:gd name="T46" fmla="*/ 13240 w 13458"/>
                <a:gd name="T47" fmla="*/ 2535 h 5395"/>
                <a:gd name="T48" fmla="*/ 12287 w 13458"/>
                <a:gd name="T49" fmla="*/ 2990 h 5395"/>
                <a:gd name="T50" fmla="*/ 8366 w 13458"/>
                <a:gd name="T51" fmla="*/ 4841 h 5395"/>
                <a:gd name="T52" fmla="*/ 7475 w 13458"/>
                <a:gd name="T53" fmla="*/ 5260 h 5395"/>
                <a:gd name="T54" fmla="*/ 7360 w 13458"/>
                <a:gd name="T55" fmla="*/ 5298 h 5395"/>
                <a:gd name="T56" fmla="*/ 7214 w 13458"/>
                <a:gd name="T57" fmla="*/ 5337 h 5395"/>
                <a:gd name="T58" fmla="*/ 7026 w 13458"/>
                <a:gd name="T59" fmla="*/ 5372 h 5395"/>
                <a:gd name="T60" fmla="*/ 6882 w 13458"/>
                <a:gd name="T61" fmla="*/ 5389 h 5395"/>
                <a:gd name="T62" fmla="*/ 6768 w 13458"/>
                <a:gd name="T63" fmla="*/ 5394 h 5395"/>
                <a:gd name="T64" fmla="*/ 6728 w 13458"/>
                <a:gd name="T65" fmla="*/ 5395 h 5395"/>
                <a:gd name="T66" fmla="*/ 6612 w 13458"/>
                <a:gd name="T67" fmla="*/ 5391 h 5395"/>
                <a:gd name="T68" fmla="*/ 6501 w 13458"/>
                <a:gd name="T69" fmla="*/ 5381 h 5395"/>
                <a:gd name="T70" fmla="*/ 6301 w 13458"/>
                <a:gd name="T71" fmla="*/ 5350 h 5395"/>
                <a:gd name="T72" fmla="*/ 6140 w 13458"/>
                <a:gd name="T73" fmla="*/ 5311 h 5395"/>
                <a:gd name="T74" fmla="*/ 6027 w 13458"/>
                <a:gd name="T75" fmla="*/ 5275 h 5395"/>
                <a:gd name="T76" fmla="*/ 5966 w 13458"/>
                <a:gd name="T77" fmla="*/ 5253 h 5395"/>
                <a:gd name="T78" fmla="*/ 2100 w 13458"/>
                <a:gd name="T79" fmla="*/ 3430 h 5395"/>
                <a:gd name="T80" fmla="*/ 281 w 13458"/>
                <a:gd name="T81" fmla="*/ 2566 h 5395"/>
                <a:gd name="T82" fmla="*/ 183 w 13458"/>
                <a:gd name="T83" fmla="*/ 2517 h 5395"/>
                <a:gd name="T84" fmla="*/ 133 w 13458"/>
                <a:gd name="T85" fmla="*/ 2485 h 5395"/>
                <a:gd name="T86" fmla="*/ 93 w 13458"/>
                <a:gd name="T87" fmla="*/ 2449 h 5395"/>
                <a:gd name="T88" fmla="*/ 62 w 13458"/>
                <a:gd name="T89" fmla="*/ 2410 h 5395"/>
                <a:gd name="T90" fmla="*/ 38 w 13458"/>
                <a:gd name="T91" fmla="*/ 2370 h 5395"/>
                <a:gd name="T92" fmla="*/ 10 w 13458"/>
                <a:gd name="T93" fmla="*/ 2295 h 5395"/>
                <a:gd name="T94" fmla="*/ 1 w 13458"/>
                <a:gd name="T95" fmla="*/ 2235 h 5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458" h="5395">
                  <a:moveTo>
                    <a:pt x="0" y="2199"/>
                  </a:moveTo>
                  <a:lnTo>
                    <a:pt x="0" y="2199"/>
                  </a:lnTo>
                  <a:lnTo>
                    <a:pt x="0" y="1697"/>
                  </a:lnTo>
                  <a:lnTo>
                    <a:pt x="0" y="1697"/>
                  </a:lnTo>
                  <a:lnTo>
                    <a:pt x="0" y="1676"/>
                  </a:lnTo>
                  <a:lnTo>
                    <a:pt x="2" y="1656"/>
                  </a:lnTo>
                  <a:lnTo>
                    <a:pt x="4" y="1637"/>
                  </a:lnTo>
                  <a:lnTo>
                    <a:pt x="7" y="1618"/>
                  </a:lnTo>
                  <a:lnTo>
                    <a:pt x="11" y="1600"/>
                  </a:lnTo>
                  <a:lnTo>
                    <a:pt x="15" y="1583"/>
                  </a:lnTo>
                  <a:lnTo>
                    <a:pt x="21" y="1566"/>
                  </a:lnTo>
                  <a:lnTo>
                    <a:pt x="26" y="1550"/>
                  </a:lnTo>
                  <a:lnTo>
                    <a:pt x="32" y="1535"/>
                  </a:lnTo>
                  <a:lnTo>
                    <a:pt x="39" y="1520"/>
                  </a:lnTo>
                  <a:lnTo>
                    <a:pt x="53" y="1493"/>
                  </a:lnTo>
                  <a:lnTo>
                    <a:pt x="68" y="1469"/>
                  </a:lnTo>
                  <a:lnTo>
                    <a:pt x="84" y="1447"/>
                  </a:lnTo>
                  <a:lnTo>
                    <a:pt x="101" y="1427"/>
                  </a:lnTo>
                  <a:lnTo>
                    <a:pt x="115" y="1411"/>
                  </a:lnTo>
                  <a:lnTo>
                    <a:pt x="130" y="1397"/>
                  </a:lnTo>
                  <a:lnTo>
                    <a:pt x="142" y="1386"/>
                  </a:lnTo>
                  <a:lnTo>
                    <a:pt x="162" y="1370"/>
                  </a:lnTo>
                  <a:lnTo>
                    <a:pt x="169" y="1366"/>
                  </a:lnTo>
                  <a:lnTo>
                    <a:pt x="2995" y="0"/>
                  </a:lnTo>
                  <a:lnTo>
                    <a:pt x="6728" y="2298"/>
                  </a:lnTo>
                  <a:lnTo>
                    <a:pt x="10462" y="0"/>
                  </a:lnTo>
                  <a:lnTo>
                    <a:pt x="13288" y="1366"/>
                  </a:lnTo>
                  <a:lnTo>
                    <a:pt x="13288" y="1366"/>
                  </a:lnTo>
                  <a:lnTo>
                    <a:pt x="13296" y="1370"/>
                  </a:lnTo>
                  <a:lnTo>
                    <a:pt x="13314" y="1386"/>
                  </a:lnTo>
                  <a:lnTo>
                    <a:pt x="13327" y="1397"/>
                  </a:lnTo>
                  <a:lnTo>
                    <a:pt x="13341" y="1411"/>
                  </a:lnTo>
                  <a:lnTo>
                    <a:pt x="13357" y="1427"/>
                  </a:lnTo>
                  <a:lnTo>
                    <a:pt x="13373" y="1447"/>
                  </a:lnTo>
                  <a:lnTo>
                    <a:pt x="13388" y="1469"/>
                  </a:lnTo>
                  <a:lnTo>
                    <a:pt x="13404" y="1493"/>
                  </a:lnTo>
                  <a:lnTo>
                    <a:pt x="13418" y="1520"/>
                  </a:lnTo>
                  <a:lnTo>
                    <a:pt x="13425" y="1535"/>
                  </a:lnTo>
                  <a:lnTo>
                    <a:pt x="13431" y="1550"/>
                  </a:lnTo>
                  <a:lnTo>
                    <a:pt x="13436" y="1566"/>
                  </a:lnTo>
                  <a:lnTo>
                    <a:pt x="13441" y="1583"/>
                  </a:lnTo>
                  <a:lnTo>
                    <a:pt x="13446" y="1600"/>
                  </a:lnTo>
                  <a:lnTo>
                    <a:pt x="13450" y="1618"/>
                  </a:lnTo>
                  <a:lnTo>
                    <a:pt x="13453" y="1637"/>
                  </a:lnTo>
                  <a:lnTo>
                    <a:pt x="13456" y="1656"/>
                  </a:lnTo>
                  <a:lnTo>
                    <a:pt x="13457" y="1676"/>
                  </a:lnTo>
                  <a:lnTo>
                    <a:pt x="13457" y="1697"/>
                  </a:lnTo>
                  <a:lnTo>
                    <a:pt x="13457" y="1697"/>
                  </a:lnTo>
                  <a:lnTo>
                    <a:pt x="13457" y="2199"/>
                  </a:lnTo>
                  <a:lnTo>
                    <a:pt x="13457" y="2199"/>
                  </a:lnTo>
                  <a:lnTo>
                    <a:pt x="13458" y="2209"/>
                  </a:lnTo>
                  <a:lnTo>
                    <a:pt x="13456" y="2235"/>
                  </a:lnTo>
                  <a:lnTo>
                    <a:pt x="13455" y="2251"/>
                  </a:lnTo>
                  <a:lnTo>
                    <a:pt x="13452" y="2272"/>
                  </a:lnTo>
                  <a:lnTo>
                    <a:pt x="13446" y="2294"/>
                  </a:lnTo>
                  <a:lnTo>
                    <a:pt x="13439" y="2319"/>
                  </a:lnTo>
                  <a:lnTo>
                    <a:pt x="13431" y="2344"/>
                  </a:lnTo>
                  <a:lnTo>
                    <a:pt x="13418" y="2370"/>
                  </a:lnTo>
                  <a:lnTo>
                    <a:pt x="13411" y="2384"/>
                  </a:lnTo>
                  <a:lnTo>
                    <a:pt x="13404" y="2397"/>
                  </a:lnTo>
                  <a:lnTo>
                    <a:pt x="13396" y="2410"/>
                  </a:lnTo>
                  <a:lnTo>
                    <a:pt x="13386" y="2423"/>
                  </a:lnTo>
                  <a:lnTo>
                    <a:pt x="13376" y="2436"/>
                  </a:lnTo>
                  <a:lnTo>
                    <a:pt x="13364" y="2449"/>
                  </a:lnTo>
                  <a:lnTo>
                    <a:pt x="13352" y="2462"/>
                  </a:lnTo>
                  <a:lnTo>
                    <a:pt x="13338" y="2473"/>
                  </a:lnTo>
                  <a:lnTo>
                    <a:pt x="13324" y="2485"/>
                  </a:lnTo>
                  <a:lnTo>
                    <a:pt x="13308" y="2496"/>
                  </a:lnTo>
                  <a:lnTo>
                    <a:pt x="13292" y="2508"/>
                  </a:lnTo>
                  <a:lnTo>
                    <a:pt x="13274" y="2518"/>
                  </a:lnTo>
                  <a:lnTo>
                    <a:pt x="13274" y="2518"/>
                  </a:lnTo>
                  <a:lnTo>
                    <a:pt x="13240" y="2535"/>
                  </a:lnTo>
                  <a:lnTo>
                    <a:pt x="13176" y="2566"/>
                  </a:lnTo>
                  <a:lnTo>
                    <a:pt x="12968" y="2666"/>
                  </a:lnTo>
                  <a:lnTo>
                    <a:pt x="12287" y="2990"/>
                  </a:lnTo>
                  <a:lnTo>
                    <a:pt x="11357" y="3430"/>
                  </a:lnTo>
                  <a:lnTo>
                    <a:pt x="10308" y="3925"/>
                  </a:lnTo>
                  <a:lnTo>
                    <a:pt x="8366" y="4841"/>
                  </a:lnTo>
                  <a:lnTo>
                    <a:pt x="7490" y="5253"/>
                  </a:lnTo>
                  <a:lnTo>
                    <a:pt x="7490" y="5253"/>
                  </a:lnTo>
                  <a:lnTo>
                    <a:pt x="7475" y="5260"/>
                  </a:lnTo>
                  <a:lnTo>
                    <a:pt x="7431" y="5275"/>
                  </a:lnTo>
                  <a:lnTo>
                    <a:pt x="7399" y="5286"/>
                  </a:lnTo>
                  <a:lnTo>
                    <a:pt x="7360" y="5298"/>
                  </a:lnTo>
                  <a:lnTo>
                    <a:pt x="7317" y="5311"/>
                  </a:lnTo>
                  <a:lnTo>
                    <a:pt x="7268" y="5324"/>
                  </a:lnTo>
                  <a:lnTo>
                    <a:pt x="7214" y="5337"/>
                  </a:lnTo>
                  <a:lnTo>
                    <a:pt x="7156" y="5350"/>
                  </a:lnTo>
                  <a:lnTo>
                    <a:pt x="7092" y="5362"/>
                  </a:lnTo>
                  <a:lnTo>
                    <a:pt x="7026" y="5372"/>
                  </a:lnTo>
                  <a:lnTo>
                    <a:pt x="6956" y="5381"/>
                  </a:lnTo>
                  <a:lnTo>
                    <a:pt x="6920" y="5386"/>
                  </a:lnTo>
                  <a:lnTo>
                    <a:pt x="6882" y="5389"/>
                  </a:lnTo>
                  <a:lnTo>
                    <a:pt x="6845" y="5391"/>
                  </a:lnTo>
                  <a:lnTo>
                    <a:pt x="6806" y="5393"/>
                  </a:lnTo>
                  <a:lnTo>
                    <a:pt x="6768" y="5394"/>
                  </a:lnTo>
                  <a:lnTo>
                    <a:pt x="6728" y="5395"/>
                  </a:lnTo>
                  <a:lnTo>
                    <a:pt x="6728" y="5395"/>
                  </a:lnTo>
                  <a:lnTo>
                    <a:pt x="6728" y="5395"/>
                  </a:lnTo>
                  <a:lnTo>
                    <a:pt x="6689" y="5394"/>
                  </a:lnTo>
                  <a:lnTo>
                    <a:pt x="6650" y="5393"/>
                  </a:lnTo>
                  <a:lnTo>
                    <a:pt x="6612" y="5391"/>
                  </a:lnTo>
                  <a:lnTo>
                    <a:pt x="6574" y="5389"/>
                  </a:lnTo>
                  <a:lnTo>
                    <a:pt x="6537" y="5386"/>
                  </a:lnTo>
                  <a:lnTo>
                    <a:pt x="6501" y="5381"/>
                  </a:lnTo>
                  <a:lnTo>
                    <a:pt x="6431" y="5372"/>
                  </a:lnTo>
                  <a:lnTo>
                    <a:pt x="6364" y="5362"/>
                  </a:lnTo>
                  <a:lnTo>
                    <a:pt x="6301" y="5350"/>
                  </a:lnTo>
                  <a:lnTo>
                    <a:pt x="6243" y="5337"/>
                  </a:lnTo>
                  <a:lnTo>
                    <a:pt x="6189" y="5324"/>
                  </a:lnTo>
                  <a:lnTo>
                    <a:pt x="6140" y="5311"/>
                  </a:lnTo>
                  <a:lnTo>
                    <a:pt x="6096" y="5298"/>
                  </a:lnTo>
                  <a:lnTo>
                    <a:pt x="6058" y="5286"/>
                  </a:lnTo>
                  <a:lnTo>
                    <a:pt x="6027" y="5275"/>
                  </a:lnTo>
                  <a:lnTo>
                    <a:pt x="5982" y="5260"/>
                  </a:lnTo>
                  <a:lnTo>
                    <a:pt x="5966" y="5253"/>
                  </a:lnTo>
                  <a:lnTo>
                    <a:pt x="5966" y="5253"/>
                  </a:lnTo>
                  <a:lnTo>
                    <a:pt x="5091" y="4841"/>
                  </a:lnTo>
                  <a:lnTo>
                    <a:pt x="3149" y="3925"/>
                  </a:lnTo>
                  <a:lnTo>
                    <a:pt x="2100" y="3430"/>
                  </a:lnTo>
                  <a:lnTo>
                    <a:pt x="1170" y="2990"/>
                  </a:lnTo>
                  <a:lnTo>
                    <a:pt x="488" y="2666"/>
                  </a:lnTo>
                  <a:lnTo>
                    <a:pt x="281" y="2566"/>
                  </a:lnTo>
                  <a:lnTo>
                    <a:pt x="217" y="2535"/>
                  </a:lnTo>
                  <a:lnTo>
                    <a:pt x="183" y="2517"/>
                  </a:lnTo>
                  <a:lnTo>
                    <a:pt x="183" y="2517"/>
                  </a:lnTo>
                  <a:lnTo>
                    <a:pt x="165" y="2508"/>
                  </a:lnTo>
                  <a:lnTo>
                    <a:pt x="148" y="2496"/>
                  </a:lnTo>
                  <a:lnTo>
                    <a:pt x="133" y="2485"/>
                  </a:lnTo>
                  <a:lnTo>
                    <a:pt x="118" y="2473"/>
                  </a:lnTo>
                  <a:lnTo>
                    <a:pt x="105" y="2461"/>
                  </a:lnTo>
                  <a:lnTo>
                    <a:pt x="93" y="2449"/>
                  </a:lnTo>
                  <a:lnTo>
                    <a:pt x="82" y="2436"/>
                  </a:lnTo>
                  <a:lnTo>
                    <a:pt x="72" y="2423"/>
                  </a:lnTo>
                  <a:lnTo>
                    <a:pt x="62" y="2410"/>
                  </a:lnTo>
                  <a:lnTo>
                    <a:pt x="53" y="2397"/>
                  </a:lnTo>
                  <a:lnTo>
                    <a:pt x="46" y="2384"/>
                  </a:lnTo>
                  <a:lnTo>
                    <a:pt x="38" y="2370"/>
                  </a:lnTo>
                  <a:lnTo>
                    <a:pt x="27" y="2344"/>
                  </a:lnTo>
                  <a:lnTo>
                    <a:pt x="17" y="2319"/>
                  </a:lnTo>
                  <a:lnTo>
                    <a:pt x="10" y="2295"/>
                  </a:lnTo>
                  <a:lnTo>
                    <a:pt x="6" y="2272"/>
                  </a:lnTo>
                  <a:lnTo>
                    <a:pt x="3" y="2252"/>
                  </a:lnTo>
                  <a:lnTo>
                    <a:pt x="1" y="2235"/>
                  </a:lnTo>
                  <a:lnTo>
                    <a:pt x="0" y="2209"/>
                  </a:lnTo>
                  <a:lnTo>
                    <a:pt x="0" y="219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3" name="Freeform 125"/>
            <p:cNvSpPr>
              <a:spLocks/>
            </p:cNvSpPr>
            <p:nvPr/>
          </p:nvSpPr>
          <p:spPr bwMode="auto">
            <a:xfrm flipH="1">
              <a:off x="1373716" y="5042151"/>
              <a:ext cx="223186" cy="74815"/>
            </a:xfrm>
            <a:custGeom>
              <a:avLst/>
              <a:gdLst>
                <a:gd name="T0" fmla="*/ 0 w 1212"/>
                <a:gd name="T1" fmla="*/ 523 h 523"/>
                <a:gd name="T2" fmla="*/ 0 w 1212"/>
                <a:gd name="T3" fmla="*/ 523 h 523"/>
                <a:gd name="T4" fmla="*/ 71 w 1212"/>
                <a:gd name="T5" fmla="*/ 501 h 523"/>
                <a:gd name="T6" fmla="*/ 142 w 1212"/>
                <a:gd name="T7" fmla="*/ 477 h 523"/>
                <a:gd name="T8" fmla="*/ 213 w 1212"/>
                <a:gd name="T9" fmla="*/ 453 h 523"/>
                <a:gd name="T10" fmla="*/ 287 w 1212"/>
                <a:gd name="T11" fmla="*/ 427 h 523"/>
                <a:gd name="T12" fmla="*/ 361 w 1212"/>
                <a:gd name="T13" fmla="*/ 400 h 523"/>
                <a:gd name="T14" fmla="*/ 436 w 1212"/>
                <a:gd name="T15" fmla="*/ 371 h 523"/>
                <a:gd name="T16" fmla="*/ 512 w 1212"/>
                <a:gd name="T17" fmla="*/ 340 h 523"/>
                <a:gd name="T18" fmla="*/ 589 w 1212"/>
                <a:gd name="T19" fmla="*/ 309 h 523"/>
                <a:gd name="T20" fmla="*/ 666 w 1212"/>
                <a:gd name="T21" fmla="*/ 276 h 523"/>
                <a:gd name="T22" fmla="*/ 743 w 1212"/>
                <a:gd name="T23" fmla="*/ 241 h 523"/>
                <a:gd name="T24" fmla="*/ 821 w 1212"/>
                <a:gd name="T25" fmla="*/ 205 h 523"/>
                <a:gd name="T26" fmla="*/ 899 w 1212"/>
                <a:gd name="T27" fmla="*/ 167 h 523"/>
                <a:gd name="T28" fmla="*/ 978 w 1212"/>
                <a:gd name="T29" fmla="*/ 128 h 523"/>
                <a:gd name="T30" fmla="*/ 1056 w 1212"/>
                <a:gd name="T31" fmla="*/ 87 h 523"/>
                <a:gd name="T32" fmla="*/ 1134 w 1212"/>
                <a:gd name="T33" fmla="*/ 44 h 523"/>
                <a:gd name="T34" fmla="*/ 1212 w 1212"/>
                <a:gd name="T35" fmla="*/ 0 h 523"/>
                <a:gd name="T36" fmla="*/ 1212 w 1212"/>
                <a:gd name="T37" fmla="*/ 0 h 523"/>
                <a:gd name="T38" fmla="*/ 1153 w 1212"/>
                <a:gd name="T39" fmla="*/ 38 h 523"/>
                <a:gd name="T40" fmla="*/ 1092 w 1212"/>
                <a:gd name="T41" fmla="*/ 77 h 523"/>
                <a:gd name="T42" fmla="*/ 1028 w 1212"/>
                <a:gd name="T43" fmla="*/ 114 h 523"/>
                <a:gd name="T44" fmla="*/ 961 w 1212"/>
                <a:gd name="T45" fmla="*/ 150 h 523"/>
                <a:gd name="T46" fmla="*/ 891 w 1212"/>
                <a:gd name="T47" fmla="*/ 185 h 523"/>
                <a:gd name="T48" fmla="*/ 821 w 1212"/>
                <a:gd name="T49" fmla="*/ 220 h 523"/>
                <a:gd name="T50" fmla="*/ 747 w 1212"/>
                <a:gd name="T51" fmla="*/ 253 h 523"/>
                <a:gd name="T52" fmla="*/ 671 w 1212"/>
                <a:gd name="T53" fmla="*/ 285 h 523"/>
                <a:gd name="T54" fmla="*/ 593 w 1212"/>
                <a:gd name="T55" fmla="*/ 317 h 523"/>
                <a:gd name="T56" fmla="*/ 514 w 1212"/>
                <a:gd name="T57" fmla="*/ 348 h 523"/>
                <a:gd name="T58" fmla="*/ 432 w 1212"/>
                <a:gd name="T59" fmla="*/ 379 h 523"/>
                <a:gd name="T60" fmla="*/ 349 w 1212"/>
                <a:gd name="T61" fmla="*/ 408 h 523"/>
                <a:gd name="T62" fmla="*/ 264 w 1212"/>
                <a:gd name="T63" fmla="*/ 437 h 523"/>
                <a:gd name="T64" fmla="*/ 177 w 1212"/>
                <a:gd name="T65" fmla="*/ 466 h 523"/>
                <a:gd name="T66" fmla="*/ 90 w 1212"/>
                <a:gd name="T67" fmla="*/ 495 h 523"/>
                <a:gd name="T68" fmla="*/ 0 w 1212"/>
                <a:gd name="T69" fmla="*/ 523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12" h="523">
                  <a:moveTo>
                    <a:pt x="0" y="523"/>
                  </a:moveTo>
                  <a:lnTo>
                    <a:pt x="0" y="523"/>
                  </a:lnTo>
                  <a:lnTo>
                    <a:pt x="71" y="501"/>
                  </a:lnTo>
                  <a:lnTo>
                    <a:pt x="142" y="477"/>
                  </a:lnTo>
                  <a:lnTo>
                    <a:pt x="213" y="453"/>
                  </a:lnTo>
                  <a:lnTo>
                    <a:pt x="287" y="427"/>
                  </a:lnTo>
                  <a:lnTo>
                    <a:pt x="361" y="400"/>
                  </a:lnTo>
                  <a:lnTo>
                    <a:pt x="436" y="371"/>
                  </a:lnTo>
                  <a:lnTo>
                    <a:pt x="512" y="340"/>
                  </a:lnTo>
                  <a:lnTo>
                    <a:pt x="589" y="309"/>
                  </a:lnTo>
                  <a:lnTo>
                    <a:pt x="666" y="276"/>
                  </a:lnTo>
                  <a:lnTo>
                    <a:pt x="743" y="241"/>
                  </a:lnTo>
                  <a:lnTo>
                    <a:pt x="821" y="205"/>
                  </a:lnTo>
                  <a:lnTo>
                    <a:pt x="899" y="167"/>
                  </a:lnTo>
                  <a:lnTo>
                    <a:pt x="978" y="128"/>
                  </a:lnTo>
                  <a:lnTo>
                    <a:pt x="1056" y="87"/>
                  </a:lnTo>
                  <a:lnTo>
                    <a:pt x="1134" y="44"/>
                  </a:lnTo>
                  <a:lnTo>
                    <a:pt x="1212" y="0"/>
                  </a:lnTo>
                  <a:lnTo>
                    <a:pt x="1212" y="0"/>
                  </a:lnTo>
                  <a:lnTo>
                    <a:pt x="1153" y="38"/>
                  </a:lnTo>
                  <a:lnTo>
                    <a:pt x="1092" y="77"/>
                  </a:lnTo>
                  <a:lnTo>
                    <a:pt x="1028" y="114"/>
                  </a:lnTo>
                  <a:lnTo>
                    <a:pt x="961" y="150"/>
                  </a:lnTo>
                  <a:lnTo>
                    <a:pt x="891" y="185"/>
                  </a:lnTo>
                  <a:lnTo>
                    <a:pt x="821" y="220"/>
                  </a:lnTo>
                  <a:lnTo>
                    <a:pt x="747" y="253"/>
                  </a:lnTo>
                  <a:lnTo>
                    <a:pt x="671" y="285"/>
                  </a:lnTo>
                  <a:lnTo>
                    <a:pt x="593" y="317"/>
                  </a:lnTo>
                  <a:lnTo>
                    <a:pt x="514" y="348"/>
                  </a:lnTo>
                  <a:lnTo>
                    <a:pt x="432" y="379"/>
                  </a:lnTo>
                  <a:lnTo>
                    <a:pt x="349" y="408"/>
                  </a:lnTo>
                  <a:lnTo>
                    <a:pt x="264" y="437"/>
                  </a:lnTo>
                  <a:lnTo>
                    <a:pt x="177" y="466"/>
                  </a:lnTo>
                  <a:lnTo>
                    <a:pt x="90" y="495"/>
                  </a:lnTo>
                  <a:lnTo>
                    <a:pt x="0" y="523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4" name="Freeform 126"/>
            <p:cNvSpPr>
              <a:spLocks/>
            </p:cNvSpPr>
            <p:nvPr/>
          </p:nvSpPr>
          <p:spPr bwMode="auto">
            <a:xfrm flipH="1">
              <a:off x="1373716" y="5042151"/>
              <a:ext cx="223186" cy="74815"/>
            </a:xfrm>
            <a:custGeom>
              <a:avLst/>
              <a:gdLst>
                <a:gd name="T0" fmla="*/ 0 w 1212"/>
                <a:gd name="T1" fmla="*/ 523 h 523"/>
                <a:gd name="T2" fmla="*/ 0 w 1212"/>
                <a:gd name="T3" fmla="*/ 523 h 523"/>
                <a:gd name="T4" fmla="*/ 71 w 1212"/>
                <a:gd name="T5" fmla="*/ 501 h 523"/>
                <a:gd name="T6" fmla="*/ 142 w 1212"/>
                <a:gd name="T7" fmla="*/ 477 h 523"/>
                <a:gd name="T8" fmla="*/ 213 w 1212"/>
                <a:gd name="T9" fmla="*/ 453 h 523"/>
                <a:gd name="T10" fmla="*/ 287 w 1212"/>
                <a:gd name="T11" fmla="*/ 427 h 523"/>
                <a:gd name="T12" fmla="*/ 361 w 1212"/>
                <a:gd name="T13" fmla="*/ 400 h 523"/>
                <a:gd name="T14" fmla="*/ 436 w 1212"/>
                <a:gd name="T15" fmla="*/ 371 h 523"/>
                <a:gd name="T16" fmla="*/ 512 w 1212"/>
                <a:gd name="T17" fmla="*/ 340 h 523"/>
                <a:gd name="T18" fmla="*/ 589 w 1212"/>
                <a:gd name="T19" fmla="*/ 309 h 523"/>
                <a:gd name="T20" fmla="*/ 666 w 1212"/>
                <a:gd name="T21" fmla="*/ 276 h 523"/>
                <a:gd name="T22" fmla="*/ 743 w 1212"/>
                <a:gd name="T23" fmla="*/ 241 h 523"/>
                <a:gd name="T24" fmla="*/ 821 w 1212"/>
                <a:gd name="T25" fmla="*/ 205 h 523"/>
                <a:gd name="T26" fmla="*/ 899 w 1212"/>
                <a:gd name="T27" fmla="*/ 167 h 523"/>
                <a:gd name="T28" fmla="*/ 978 w 1212"/>
                <a:gd name="T29" fmla="*/ 128 h 523"/>
                <a:gd name="T30" fmla="*/ 1056 w 1212"/>
                <a:gd name="T31" fmla="*/ 87 h 523"/>
                <a:gd name="T32" fmla="*/ 1134 w 1212"/>
                <a:gd name="T33" fmla="*/ 44 h 523"/>
                <a:gd name="T34" fmla="*/ 1212 w 1212"/>
                <a:gd name="T35" fmla="*/ 0 h 523"/>
                <a:gd name="T36" fmla="*/ 1212 w 1212"/>
                <a:gd name="T37" fmla="*/ 0 h 523"/>
                <a:gd name="T38" fmla="*/ 1153 w 1212"/>
                <a:gd name="T39" fmla="*/ 38 h 523"/>
                <a:gd name="T40" fmla="*/ 1092 w 1212"/>
                <a:gd name="T41" fmla="*/ 77 h 523"/>
                <a:gd name="T42" fmla="*/ 1028 w 1212"/>
                <a:gd name="T43" fmla="*/ 114 h 523"/>
                <a:gd name="T44" fmla="*/ 961 w 1212"/>
                <a:gd name="T45" fmla="*/ 150 h 523"/>
                <a:gd name="T46" fmla="*/ 891 w 1212"/>
                <a:gd name="T47" fmla="*/ 185 h 523"/>
                <a:gd name="T48" fmla="*/ 821 w 1212"/>
                <a:gd name="T49" fmla="*/ 220 h 523"/>
                <a:gd name="T50" fmla="*/ 747 w 1212"/>
                <a:gd name="T51" fmla="*/ 253 h 523"/>
                <a:gd name="T52" fmla="*/ 671 w 1212"/>
                <a:gd name="T53" fmla="*/ 285 h 523"/>
                <a:gd name="T54" fmla="*/ 593 w 1212"/>
                <a:gd name="T55" fmla="*/ 317 h 523"/>
                <a:gd name="T56" fmla="*/ 514 w 1212"/>
                <a:gd name="T57" fmla="*/ 348 h 523"/>
                <a:gd name="T58" fmla="*/ 432 w 1212"/>
                <a:gd name="T59" fmla="*/ 379 h 523"/>
                <a:gd name="T60" fmla="*/ 349 w 1212"/>
                <a:gd name="T61" fmla="*/ 408 h 523"/>
                <a:gd name="T62" fmla="*/ 264 w 1212"/>
                <a:gd name="T63" fmla="*/ 437 h 523"/>
                <a:gd name="T64" fmla="*/ 177 w 1212"/>
                <a:gd name="T65" fmla="*/ 466 h 523"/>
                <a:gd name="T66" fmla="*/ 90 w 1212"/>
                <a:gd name="T67" fmla="*/ 495 h 523"/>
                <a:gd name="T68" fmla="*/ 0 w 1212"/>
                <a:gd name="T69" fmla="*/ 523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12" h="523">
                  <a:moveTo>
                    <a:pt x="0" y="523"/>
                  </a:moveTo>
                  <a:lnTo>
                    <a:pt x="0" y="523"/>
                  </a:lnTo>
                  <a:lnTo>
                    <a:pt x="71" y="501"/>
                  </a:lnTo>
                  <a:lnTo>
                    <a:pt x="142" y="477"/>
                  </a:lnTo>
                  <a:lnTo>
                    <a:pt x="213" y="453"/>
                  </a:lnTo>
                  <a:lnTo>
                    <a:pt x="287" y="427"/>
                  </a:lnTo>
                  <a:lnTo>
                    <a:pt x="361" y="400"/>
                  </a:lnTo>
                  <a:lnTo>
                    <a:pt x="436" y="371"/>
                  </a:lnTo>
                  <a:lnTo>
                    <a:pt x="512" y="340"/>
                  </a:lnTo>
                  <a:lnTo>
                    <a:pt x="589" y="309"/>
                  </a:lnTo>
                  <a:lnTo>
                    <a:pt x="666" y="276"/>
                  </a:lnTo>
                  <a:lnTo>
                    <a:pt x="743" y="241"/>
                  </a:lnTo>
                  <a:lnTo>
                    <a:pt x="821" y="205"/>
                  </a:lnTo>
                  <a:lnTo>
                    <a:pt x="899" y="167"/>
                  </a:lnTo>
                  <a:lnTo>
                    <a:pt x="978" y="128"/>
                  </a:lnTo>
                  <a:lnTo>
                    <a:pt x="1056" y="87"/>
                  </a:lnTo>
                  <a:lnTo>
                    <a:pt x="1134" y="44"/>
                  </a:lnTo>
                  <a:lnTo>
                    <a:pt x="1212" y="0"/>
                  </a:lnTo>
                  <a:lnTo>
                    <a:pt x="1212" y="0"/>
                  </a:lnTo>
                  <a:lnTo>
                    <a:pt x="1153" y="38"/>
                  </a:lnTo>
                  <a:lnTo>
                    <a:pt x="1092" y="77"/>
                  </a:lnTo>
                  <a:lnTo>
                    <a:pt x="1028" y="114"/>
                  </a:lnTo>
                  <a:lnTo>
                    <a:pt x="961" y="150"/>
                  </a:lnTo>
                  <a:lnTo>
                    <a:pt x="891" y="185"/>
                  </a:lnTo>
                  <a:lnTo>
                    <a:pt x="821" y="220"/>
                  </a:lnTo>
                  <a:lnTo>
                    <a:pt x="747" y="253"/>
                  </a:lnTo>
                  <a:lnTo>
                    <a:pt x="671" y="285"/>
                  </a:lnTo>
                  <a:lnTo>
                    <a:pt x="593" y="317"/>
                  </a:lnTo>
                  <a:lnTo>
                    <a:pt x="514" y="348"/>
                  </a:lnTo>
                  <a:lnTo>
                    <a:pt x="432" y="379"/>
                  </a:lnTo>
                  <a:lnTo>
                    <a:pt x="349" y="408"/>
                  </a:lnTo>
                  <a:lnTo>
                    <a:pt x="264" y="437"/>
                  </a:lnTo>
                  <a:lnTo>
                    <a:pt x="177" y="466"/>
                  </a:lnTo>
                  <a:lnTo>
                    <a:pt x="90" y="495"/>
                  </a:lnTo>
                  <a:lnTo>
                    <a:pt x="0" y="52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5" name="Freeform 127"/>
            <p:cNvSpPr>
              <a:spLocks/>
            </p:cNvSpPr>
            <p:nvPr/>
          </p:nvSpPr>
          <p:spPr bwMode="auto">
            <a:xfrm flipH="1">
              <a:off x="1598192" y="5116966"/>
              <a:ext cx="5160" cy="1290"/>
            </a:xfrm>
            <a:custGeom>
              <a:avLst/>
              <a:gdLst>
                <a:gd name="T0" fmla="*/ 16 w 31"/>
                <a:gd name="T1" fmla="*/ 5 h 9"/>
                <a:gd name="T2" fmla="*/ 16 w 31"/>
                <a:gd name="T3" fmla="*/ 5 h 9"/>
                <a:gd name="T4" fmla="*/ 0 w 31"/>
                <a:gd name="T5" fmla="*/ 9 h 9"/>
                <a:gd name="T6" fmla="*/ 0 w 31"/>
                <a:gd name="T7" fmla="*/ 9 h 9"/>
                <a:gd name="T8" fmla="*/ 31 w 31"/>
                <a:gd name="T9" fmla="*/ 0 h 9"/>
                <a:gd name="T10" fmla="*/ 31 w 31"/>
                <a:gd name="T11" fmla="*/ 0 h 9"/>
                <a:gd name="T12" fmla="*/ 16 w 31"/>
                <a:gd name="T1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9">
                  <a:moveTo>
                    <a:pt x="16" y="5"/>
                  </a:moveTo>
                  <a:lnTo>
                    <a:pt x="16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16" y="5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6" name="Freeform 128"/>
            <p:cNvSpPr>
              <a:spLocks/>
            </p:cNvSpPr>
            <p:nvPr/>
          </p:nvSpPr>
          <p:spPr bwMode="auto">
            <a:xfrm flipH="1">
              <a:off x="1598192" y="5116966"/>
              <a:ext cx="5160" cy="1290"/>
            </a:xfrm>
            <a:custGeom>
              <a:avLst/>
              <a:gdLst>
                <a:gd name="T0" fmla="*/ 16 w 31"/>
                <a:gd name="T1" fmla="*/ 5 h 9"/>
                <a:gd name="T2" fmla="*/ 16 w 31"/>
                <a:gd name="T3" fmla="*/ 5 h 9"/>
                <a:gd name="T4" fmla="*/ 0 w 31"/>
                <a:gd name="T5" fmla="*/ 9 h 9"/>
                <a:gd name="T6" fmla="*/ 0 w 31"/>
                <a:gd name="T7" fmla="*/ 9 h 9"/>
                <a:gd name="T8" fmla="*/ 31 w 31"/>
                <a:gd name="T9" fmla="*/ 0 h 9"/>
                <a:gd name="T10" fmla="*/ 31 w 31"/>
                <a:gd name="T11" fmla="*/ 0 h 9"/>
                <a:gd name="T12" fmla="*/ 16 w 31"/>
                <a:gd name="T1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9">
                  <a:moveTo>
                    <a:pt x="16" y="5"/>
                  </a:moveTo>
                  <a:lnTo>
                    <a:pt x="16" y="5"/>
                  </a:lnTo>
                  <a:lnTo>
                    <a:pt x="0" y="9"/>
                  </a:lnTo>
                  <a:lnTo>
                    <a:pt x="0" y="9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16" y="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7" name="Freeform 129"/>
            <p:cNvSpPr>
              <a:spLocks/>
            </p:cNvSpPr>
            <p:nvPr/>
          </p:nvSpPr>
          <p:spPr bwMode="auto">
            <a:xfrm flipH="1">
              <a:off x="2625103" y="5046021"/>
              <a:ext cx="77405" cy="32248"/>
            </a:xfrm>
            <a:custGeom>
              <a:avLst/>
              <a:gdLst>
                <a:gd name="T0" fmla="*/ 0 w 419"/>
                <a:gd name="T1" fmla="*/ 0 h 224"/>
                <a:gd name="T2" fmla="*/ 0 w 419"/>
                <a:gd name="T3" fmla="*/ 0 h 224"/>
                <a:gd name="T4" fmla="*/ 39 w 419"/>
                <a:gd name="T5" fmla="*/ 24 h 224"/>
                <a:gd name="T6" fmla="*/ 81 w 419"/>
                <a:gd name="T7" fmla="*/ 48 h 224"/>
                <a:gd name="T8" fmla="*/ 134 w 419"/>
                <a:gd name="T9" fmla="*/ 78 h 224"/>
                <a:gd name="T10" fmla="*/ 196 w 419"/>
                <a:gd name="T11" fmla="*/ 111 h 224"/>
                <a:gd name="T12" fmla="*/ 266 w 419"/>
                <a:gd name="T13" fmla="*/ 149 h 224"/>
                <a:gd name="T14" fmla="*/ 341 w 419"/>
                <a:gd name="T15" fmla="*/ 186 h 224"/>
                <a:gd name="T16" fmla="*/ 419 w 419"/>
                <a:gd name="T17" fmla="*/ 224 h 224"/>
                <a:gd name="T18" fmla="*/ 419 w 419"/>
                <a:gd name="T19" fmla="*/ 224 h 224"/>
                <a:gd name="T20" fmla="*/ 362 w 419"/>
                <a:gd name="T21" fmla="*/ 198 h 224"/>
                <a:gd name="T22" fmla="*/ 305 w 419"/>
                <a:gd name="T23" fmla="*/ 171 h 224"/>
                <a:gd name="T24" fmla="*/ 251 w 419"/>
                <a:gd name="T25" fmla="*/ 144 h 224"/>
                <a:gd name="T26" fmla="*/ 197 w 419"/>
                <a:gd name="T27" fmla="*/ 116 h 224"/>
                <a:gd name="T28" fmla="*/ 146 w 419"/>
                <a:gd name="T29" fmla="*/ 88 h 224"/>
                <a:gd name="T30" fmla="*/ 95 w 419"/>
                <a:gd name="T31" fmla="*/ 59 h 224"/>
                <a:gd name="T32" fmla="*/ 46 w 419"/>
                <a:gd name="T33" fmla="*/ 30 h 224"/>
                <a:gd name="T34" fmla="*/ 0 w 419"/>
                <a:gd name="T35" fmla="*/ 0 h 224"/>
                <a:gd name="T36" fmla="*/ 0 w 419"/>
                <a:gd name="T37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19" h="224">
                  <a:moveTo>
                    <a:pt x="0" y="0"/>
                  </a:moveTo>
                  <a:lnTo>
                    <a:pt x="0" y="0"/>
                  </a:lnTo>
                  <a:lnTo>
                    <a:pt x="39" y="24"/>
                  </a:lnTo>
                  <a:lnTo>
                    <a:pt x="81" y="48"/>
                  </a:lnTo>
                  <a:lnTo>
                    <a:pt x="134" y="78"/>
                  </a:lnTo>
                  <a:lnTo>
                    <a:pt x="196" y="111"/>
                  </a:lnTo>
                  <a:lnTo>
                    <a:pt x="266" y="149"/>
                  </a:lnTo>
                  <a:lnTo>
                    <a:pt x="341" y="186"/>
                  </a:lnTo>
                  <a:lnTo>
                    <a:pt x="419" y="224"/>
                  </a:lnTo>
                  <a:lnTo>
                    <a:pt x="419" y="224"/>
                  </a:lnTo>
                  <a:lnTo>
                    <a:pt x="362" y="198"/>
                  </a:lnTo>
                  <a:lnTo>
                    <a:pt x="305" y="171"/>
                  </a:lnTo>
                  <a:lnTo>
                    <a:pt x="251" y="144"/>
                  </a:lnTo>
                  <a:lnTo>
                    <a:pt x="197" y="116"/>
                  </a:lnTo>
                  <a:lnTo>
                    <a:pt x="146" y="88"/>
                  </a:lnTo>
                  <a:lnTo>
                    <a:pt x="95" y="59"/>
                  </a:lnTo>
                  <a:lnTo>
                    <a:pt x="46" y="3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8" name="Freeform 130"/>
            <p:cNvSpPr>
              <a:spLocks/>
            </p:cNvSpPr>
            <p:nvPr/>
          </p:nvSpPr>
          <p:spPr bwMode="auto">
            <a:xfrm flipH="1">
              <a:off x="1608512" y="5119546"/>
              <a:ext cx="3871" cy="1290"/>
            </a:xfrm>
            <a:custGeom>
              <a:avLst/>
              <a:gdLst>
                <a:gd name="T0" fmla="*/ 0 w 22"/>
                <a:gd name="T1" fmla="*/ 6 h 6"/>
                <a:gd name="T2" fmla="*/ 0 w 22"/>
                <a:gd name="T3" fmla="*/ 6 h 6"/>
                <a:gd name="T4" fmla="*/ 22 w 22"/>
                <a:gd name="T5" fmla="*/ 0 h 6"/>
                <a:gd name="T6" fmla="*/ 22 w 22"/>
                <a:gd name="T7" fmla="*/ 0 h 6"/>
                <a:gd name="T8" fmla="*/ 0 w 2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6">
                  <a:moveTo>
                    <a:pt x="0" y="6"/>
                  </a:moveTo>
                  <a:lnTo>
                    <a:pt x="0" y="6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9" name="Freeform 131"/>
            <p:cNvSpPr>
              <a:spLocks/>
            </p:cNvSpPr>
            <p:nvPr/>
          </p:nvSpPr>
          <p:spPr bwMode="auto">
            <a:xfrm flipH="1">
              <a:off x="1608512" y="5119546"/>
              <a:ext cx="3871" cy="1290"/>
            </a:xfrm>
            <a:custGeom>
              <a:avLst/>
              <a:gdLst>
                <a:gd name="T0" fmla="*/ 0 w 22"/>
                <a:gd name="T1" fmla="*/ 6 h 6"/>
                <a:gd name="T2" fmla="*/ 0 w 22"/>
                <a:gd name="T3" fmla="*/ 6 h 6"/>
                <a:gd name="T4" fmla="*/ 22 w 22"/>
                <a:gd name="T5" fmla="*/ 0 h 6"/>
                <a:gd name="T6" fmla="*/ 22 w 22"/>
                <a:gd name="T7" fmla="*/ 0 h 6"/>
                <a:gd name="T8" fmla="*/ 0 w 2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6">
                  <a:moveTo>
                    <a:pt x="0" y="6"/>
                  </a:moveTo>
                  <a:lnTo>
                    <a:pt x="0" y="6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0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0" name="Freeform 132"/>
            <p:cNvSpPr>
              <a:spLocks noEditPoints="1"/>
            </p:cNvSpPr>
            <p:nvPr/>
          </p:nvSpPr>
          <p:spPr bwMode="auto">
            <a:xfrm flipH="1">
              <a:off x="1283410" y="4699033"/>
              <a:ext cx="1517145" cy="464370"/>
            </a:xfrm>
            <a:custGeom>
              <a:avLst/>
              <a:gdLst>
                <a:gd name="T0" fmla="*/ 1176 w 8232"/>
                <a:gd name="T1" fmla="*/ 2741 h 3248"/>
                <a:gd name="T2" fmla="*/ 1483 w 8232"/>
                <a:gd name="T3" fmla="*/ 2851 h 3248"/>
                <a:gd name="T4" fmla="*/ 1725 w 8232"/>
                <a:gd name="T5" fmla="*/ 2929 h 3248"/>
                <a:gd name="T6" fmla="*/ 2122 w 8232"/>
                <a:gd name="T7" fmla="*/ 3035 h 3248"/>
                <a:gd name="T8" fmla="*/ 2516 w 8232"/>
                <a:gd name="T9" fmla="*/ 3115 h 3248"/>
                <a:gd name="T10" fmla="*/ 2893 w 8232"/>
                <a:gd name="T11" fmla="*/ 3172 h 3248"/>
                <a:gd name="T12" fmla="*/ 3241 w 8232"/>
                <a:gd name="T13" fmla="*/ 3209 h 3248"/>
                <a:gd name="T14" fmla="*/ 3682 w 8232"/>
                <a:gd name="T15" fmla="*/ 3240 h 3248"/>
                <a:gd name="T16" fmla="*/ 4052 w 8232"/>
                <a:gd name="T17" fmla="*/ 3248 h 3248"/>
                <a:gd name="T18" fmla="*/ 4116 w 8232"/>
                <a:gd name="T19" fmla="*/ 3247 h 3248"/>
                <a:gd name="T20" fmla="*/ 4298 w 8232"/>
                <a:gd name="T21" fmla="*/ 3247 h 3248"/>
                <a:gd name="T22" fmla="*/ 4679 w 8232"/>
                <a:gd name="T23" fmla="*/ 3233 h 3248"/>
                <a:gd name="T24" fmla="*/ 5094 w 8232"/>
                <a:gd name="T25" fmla="*/ 3200 h 3248"/>
                <a:gd name="T26" fmla="*/ 5449 w 8232"/>
                <a:gd name="T27" fmla="*/ 3157 h 3248"/>
                <a:gd name="T28" fmla="*/ 5140 w 8232"/>
                <a:gd name="T29" fmla="*/ 1445 h 3248"/>
                <a:gd name="T30" fmla="*/ 4858 w 8232"/>
                <a:gd name="T31" fmla="*/ 1476 h 3248"/>
                <a:gd name="T32" fmla="*/ 4567 w 8232"/>
                <a:gd name="T33" fmla="*/ 1496 h 3248"/>
                <a:gd name="T34" fmla="*/ 4268 w 8232"/>
                <a:gd name="T35" fmla="*/ 1507 h 3248"/>
                <a:gd name="T36" fmla="*/ 4022 w 8232"/>
                <a:gd name="T37" fmla="*/ 1508 h 3248"/>
                <a:gd name="T38" fmla="*/ 3647 w 8232"/>
                <a:gd name="T39" fmla="*/ 1495 h 3248"/>
                <a:gd name="T40" fmla="*/ 3286 w 8232"/>
                <a:gd name="T41" fmla="*/ 1467 h 3248"/>
                <a:gd name="T42" fmla="*/ 2936 w 8232"/>
                <a:gd name="T43" fmla="*/ 1424 h 3248"/>
                <a:gd name="T44" fmla="*/ 2604 w 8232"/>
                <a:gd name="T45" fmla="*/ 1366 h 3248"/>
                <a:gd name="T46" fmla="*/ 2288 w 8232"/>
                <a:gd name="T47" fmla="*/ 1295 h 3248"/>
                <a:gd name="T48" fmla="*/ 1990 w 8232"/>
                <a:gd name="T49" fmla="*/ 1212 h 3248"/>
                <a:gd name="T50" fmla="*/ 1715 w 8232"/>
                <a:gd name="T51" fmla="*/ 1117 h 3248"/>
                <a:gd name="T52" fmla="*/ 1522 w 8232"/>
                <a:gd name="T53" fmla="*/ 1039 h 3248"/>
                <a:gd name="T54" fmla="*/ 493 w 8232"/>
                <a:gd name="T55" fmla="*/ 0 h 3248"/>
                <a:gd name="T56" fmla="*/ 505 w 8232"/>
                <a:gd name="T57" fmla="*/ 82 h 3248"/>
                <a:gd name="T58" fmla="*/ 534 w 8232"/>
                <a:gd name="T59" fmla="*/ 189 h 3248"/>
                <a:gd name="T60" fmla="*/ 581 w 8232"/>
                <a:gd name="T61" fmla="*/ 294 h 3248"/>
                <a:gd name="T62" fmla="*/ 642 w 8232"/>
                <a:gd name="T63" fmla="*/ 396 h 3248"/>
                <a:gd name="T64" fmla="*/ 720 w 8232"/>
                <a:gd name="T65" fmla="*/ 496 h 3248"/>
                <a:gd name="T66" fmla="*/ 812 w 8232"/>
                <a:gd name="T67" fmla="*/ 592 h 3248"/>
                <a:gd name="T68" fmla="*/ 918 w 8232"/>
                <a:gd name="T69" fmla="*/ 685 h 3248"/>
                <a:gd name="T70" fmla="*/ 1039 w 8232"/>
                <a:gd name="T71" fmla="*/ 774 h 3248"/>
                <a:gd name="T72" fmla="*/ 533 w 8232"/>
                <a:gd name="T73" fmla="*/ 2426 h 3248"/>
                <a:gd name="T74" fmla="*/ 377 w 8232"/>
                <a:gd name="T75" fmla="*/ 2312 h 3248"/>
                <a:gd name="T76" fmla="*/ 246 w 8232"/>
                <a:gd name="T77" fmla="*/ 2188 h 3248"/>
                <a:gd name="T78" fmla="*/ 140 w 8232"/>
                <a:gd name="T79" fmla="*/ 2054 h 3248"/>
                <a:gd name="T80" fmla="*/ 63 w 8232"/>
                <a:gd name="T81" fmla="*/ 1907 h 3248"/>
                <a:gd name="T82" fmla="*/ 15 w 8232"/>
                <a:gd name="T83" fmla="*/ 1747 h 3248"/>
                <a:gd name="T84" fmla="*/ 0 w 8232"/>
                <a:gd name="T85" fmla="*/ 1573 h 3248"/>
                <a:gd name="T86" fmla="*/ 20 w 8232"/>
                <a:gd name="T87" fmla="*/ 1385 h 3248"/>
                <a:gd name="T88" fmla="*/ 77 w 8232"/>
                <a:gd name="T89" fmla="*/ 1180 h 3248"/>
                <a:gd name="T90" fmla="*/ 8156 w 8232"/>
                <a:gd name="T91" fmla="*/ 1180 h 3248"/>
                <a:gd name="T92" fmla="*/ 8211 w 8232"/>
                <a:gd name="T93" fmla="*/ 1379 h 3248"/>
                <a:gd name="T94" fmla="*/ 8232 w 8232"/>
                <a:gd name="T95" fmla="*/ 1562 h 3248"/>
                <a:gd name="T96" fmla="*/ 8221 w 8232"/>
                <a:gd name="T97" fmla="*/ 1732 h 3248"/>
                <a:gd name="T98" fmla="*/ 8178 w 8232"/>
                <a:gd name="T99" fmla="*/ 1888 h 3248"/>
                <a:gd name="T100" fmla="*/ 8108 w 8232"/>
                <a:gd name="T101" fmla="*/ 2032 h 3248"/>
                <a:gd name="T102" fmla="*/ 8009 w 8232"/>
                <a:gd name="T103" fmla="*/ 2164 h 3248"/>
                <a:gd name="T104" fmla="*/ 7887 w 8232"/>
                <a:gd name="T105" fmla="*/ 2286 h 3248"/>
                <a:gd name="T106" fmla="*/ 7742 w 8232"/>
                <a:gd name="T107" fmla="*/ 2399 h 3248"/>
                <a:gd name="T108" fmla="*/ 7309 w 8232"/>
                <a:gd name="T109" fmla="*/ 689 h 3248"/>
                <a:gd name="T110" fmla="*/ 7450 w 8232"/>
                <a:gd name="T111" fmla="*/ 563 h 3248"/>
                <a:gd name="T112" fmla="*/ 7531 w 8232"/>
                <a:gd name="T113" fmla="*/ 475 h 3248"/>
                <a:gd name="T114" fmla="*/ 7598 w 8232"/>
                <a:gd name="T115" fmla="*/ 385 h 3248"/>
                <a:gd name="T116" fmla="*/ 7653 w 8232"/>
                <a:gd name="T117" fmla="*/ 293 h 3248"/>
                <a:gd name="T118" fmla="*/ 7696 w 8232"/>
                <a:gd name="T119" fmla="*/ 198 h 3248"/>
                <a:gd name="T120" fmla="*/ 7724 w 8232"/>
                <a:gd name="T121" fmla="*/ 101 h 3248"/>
                <a:gd name="T122" fmla="*/ 7739 w 8232"/>
                <a:gd name="T123" fmla="*/ 3 h 3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32" h="3248">
                  <a:moveTo>
                    <a:pt x="1105" y="2713"/>
                  </a:moveTo>
                  <a:lnTo>
                    <a:pt x="1103" y="2713"/>
                  </a:lnTo>
                  <a:lnTo>
                    <a:pt x="1103" y="2713"/>
                  </a:lnTo>
                  <a:lnTo>
                    <a:pt x="1176" y="2741"/>
                  </a:lnTo>
                  <a:lnTo>
                    <a:pt x="1251" y="2770"/>
                  </a:lnTo>
                  <a:lnTo>
                    <a:pt x="1327" y="2798"/>
                  </a:lnTo>
                  <a:lnTo>
                    <a:pt x="1404" y="2825"/>
                  </a:lnTo>
                  <a:lnTo>
                    <a:pt x="1483" y="2851"/>
                  </a:lnTo>
                  <a:lnTo>
                    <a:pt x="1562" y="2877"/>
                  </a:lnTo>
                  <a:lnTo>
                    <a:pt x="1643" y="2903"/>
                  </a:lnTo>
                  <a:lnTo>
                    <a:pt x="1725" y="2929"/>
                  </a:lnTo>
                  <a:lnTo>
                    <a:pt x="1725" y="2929"/>
                  </a:lnTo>
                  <a:lnTo>
                    <a:pt x="1824" y="2958"/>
                  </a:lnTo>
                  <a:lnTo>
                    <a:pt x="1924" y="2985"/>
                  </a:lnTo>
                  <a:lnTo>
                    <a:pt x="2024" y="3011"/>
                  </a:lnTo>
                  <a:lnTo>
                    <a:pt x="2122" y="3035"/>
                  </a:lnTo>
                  <a:lnTo>
                    <a:pt x="2222" y="3057"/>
                  </a:lnTo>
                  <a:lnTo>
                    <a:pt x="2321" y="3078"/>
                  </a:lnTo>
                  <a:lnTo>
                    <a:pt x="2419" y="3097"/>
                  </a:lnTo>
                  <a:lnTo>
                    <a:pt x="2516" y="3115"/>
                  </a:lnTo>
                  <a:lnTo>
                    <a:pt x="2612" y="3131"/>
                  </a:lnTo>
                  <a:lnTo>
                    <a:pt x="2708" y="3146"/>
                  </a:lnTo>
                  <a:lnTo>
                    <a:pt x="2801" y="3159"/>
                  </a:lnTo>
                  <a:lnTo>
                    <a:pt x="2893" y="3172"/>
                  </a:lnTo>
                  <a:lnTo>
                    <a:pt x="2983" y="3183"/>
                  </a:lnTo>
                  <a:lnTo>
                    <a:pt x="3072" y="3193"/>
                  </a:lnTo>
                  <a:lnTo>
                    <a:pt x="3158" y="3202"/>
                  </a:lnTo>
                  <a:lnTo>
                    <a:pt x="3241" y="3209"/>
                  </a:lnTo>
                  <a:lnTo>
                    <a:pt x="3322" y="3217"/>
                  </a:lnTo>
                  <a:lnTo>
                    <a:pt x="3401" y="3223"/>
                  </a:lnTo>
                  <a:lnTo>
                    <a:pt x="3548" y="3232"/>
                  </a:lnTo>
                  <a:lnTo>
                    <a:pt x="3682" y="3240"/>
                  </a:lnTo>
                  <a:lnTo>
                    <a:pt x="3801" y="3244"/>
                  </a:lnTo>
                  <a:lnTo>
                    <a:pt x="3903" y="3246"/>
                  </a:lnTo>
                  <a:lnTo>
                    <a:pt x="3987" y="3247"/>
                  </a:lnTo>
                  <a:lnTo>
                    <a:pt x="4052" y="3248"/>
                  </a:lnTo>
                  <a:lnTo>
                    <a:pt x="4095" y="3247"/>
                  </a:lnTo>
                  <a:lnTo>
                    <a:pt x="4095" y="3247"/>
                  </a:lnTo>
                  <a:lnTo>
                    <a:pt x="4116" y="3247"/>
                  </a:lnTo>
                  <a:lnTo>
                    <a:pt x="4116" y="3247"/>
                  </a:lnTo>
                  <a:lnTo>
                    <a:pt x="4138" y="3247"/>
                  </a:lnTo>
                  <a:lnTo>
                    <a:pt x="4138" y="3247"/>
                  </a:lnTo>
                  <a:lnTo>
                    <a:pt x="4200" y="3248"/>
                  </a:lnTo>
                  <a:lnTo>
                    <a:pt x="4298" y="3247"/>
                  </a:lnTo>
                  <a:lnTo>
                    <a:pt x="4429" y="3244"/>
                  </a:lnTo>
                  <a:lnTo>
                    <a:pt x="4506" y="3242"/>
                  </a:lnTo>
                  <a:lnTo>
                    <a:pt x="4589" y="3237"/>
                  </a:lnTo>
                  <a:lnTo>
                    <a:pt x="4679" y="3233"/>
                  </a:lnTo>
                  <a:lnTo>
                    <a:pt x="4775" y="3227"/>
                  </a:lnTo>
                  <a:lnTo>
                    <a:pt x="4876" y="3220"/>
                  </a:lnTo>
                  <a:lnTo>
                    <a:pt x="4982" y="3210"/>
                  </a:lnTo>
                  <a:lnTo>
                    <a:pt x="5094" y="3200"/>
                  </a:lnTo>
                  <a:lnTo>
                    <a:pt x="5208" y="3187"/>
                  </a:lnTo>
                  <a:lnTo>
                    <a:pt x="5328" y="3174"/>
                  </a:lnTo>
                  <a:lnTo>
                    <a:pt x="5449" y="3157"/>
                  </a:lnTo>
                  <a:lnTo>
                    <a:pt x="5449" y="3157"/>
                  </a:lnTo>
                  <a:lnTo>
                    <a:pt x="5279" y="1427"/>
                  </a:lnTo>
                  <a:lnTo>
                    <a:pt x="5279" y="1427"/>
                  </a:lnTo>
                  <a:lnTo>
                    <a:pt x="5210" y="1436"/>
                  </a:lnTo>
                  <a:lnTo>
                    <a:pt x="5140" y="1445"/>
                  </a:lnTo>
                  <a:lnTo>
                    <a:pt x="5071" y="1454"/>
                  </a:lnTo>
                  <a:lnTo>
                    <a:pt x="5000" y="1462"/>
                  </a:lnTo>
                  <a:lnTo>
                    <a:pt x="4929" y="1469"/>
                  </a:lnTo>
                  <a:lnTo>
                    <a:pt x="4858" y="1476"/>
                  </a:lnTo>
                  <a:lnTo>
                    <a:pt x="4786" y="1482"/>
                  </a:lnTo>
                  <a:lnTo>
                    <a:pt x="4713" y="1487"/>
                  </a:lnTo>
                  <a:lnTo>
                    <a:pt x="4640" y="1492"/>
                  </a:lnTo>
                  <a:lnTo>
                    <a:pt x="4567" y="1496"/>
                  </a:lnTo>
                  <a:lnTo>
                    <a:pt x="4493" y="1501"/>
                  </a:lnTo>
                  <a:lnTo>
                    <a:pt x="4418" y="1503"/>
                  </a:lnTo>
                  <a:lnTo>
                    <a:pt x="4343" y="1506"/>
                  </a:lnTo>
                  <a:lnTo>
                    <a:pt x="4268" y="1507"/>
                  </a:lnTo>
                  <a:lnTo>
                    <a:pt x="4192" y="1508"/>
                  </a:lnTo>
                  <a:lnTo>
                    <a:pt x="4116" y="1509"/>
                  </a:lnTo>
                  <a:lnTo>
                    <a:pt x="4116" y="1509"/>
                  </a:lnTo>
                  <a:lnTo>
                    <a:pt x="4022" y="1508"/>
                  </a:lnTo>
                  <a:lnTo>
                    <a:pt x="3927" y="1507"/>
                  </a:lnTo>
                  <a:lnTo>
                    <a:pt x="3834" y="1504"/>
                  </a:lnTo>
                  <a:lnTo>
                    <a:pt x="3740" y="1501"/>
                  </a:lnTo>
                  <a:lnTo>
                    <a:pt x="3647" y="1495"/>
                  </a:lnTo>
                  <a:lnTo>
                    <a:pt x="3556" y="1490"/>
                  </a:lnTo>
                  <a:lnTo>
                    <a:pt x="3464" y="1484"/>
                  </a:lnTo>
                  <a:lnTo>
                    <a:pt x="3375" y="1476"/>
                  </a:lnTo>
                  <a:lnTo>
                    <a:pt x="3286" y="1467"/>
                  </a:lnTo>
                  <a:lnTo>
                    <a:pt x="3197" y="1458"/>
                  </a:lnTo>
                  <a:lnTo>
                    <a:pt x="3109" y="1447"/>
                  </a:lnTo>
                  <a:lnTo>
                    <a:pt x="3023" y="1436"/>
                  </a:lnTo>
                  <a:lnTo>
                    <a:pt x="2936" y="1424"/>
                  </a:lnTo>
                  <a:lnTo>
                    <a:pt x="2852" y="1411"/>
                  </a:lnTo>
                  <a:lnTo>
                    <a:pt x="2768" y="1397"/>
                  </a:lnTo>
                  <a:lnTo>
                    <a:pt x="2685" y="1382"/>
                  </a:lnTo>
                  <a:lnTo>
                    <a:pt x="2604" y="1366"/>
                  </a:lnTo>
                  <a:lnTo>
                    <a:pt x="2523" y="1350"/>
                  </a:lnTo>
                  <a:lnTo>
                    <a:pt x="2443" y="1333"/>
                  </a:lnTo>
                  <a:lnTo>
                    <a:pt x="2365" y="1315"/>
                  </a:lnTo>
                  <a:lnTo>
                    <a:pt x="2288" y="1295"/>
                  </a:lnTo>
                  <a:lnTo>
                    <a:pt x="2211" y="1277"/>
                  </a:lnTo>
                  <a:lnTo>
                    <a:pt x="2136" y="1256"/>
                  </a:lnTo>
                  <a:lnTo>
                    <a:pt x="2063" y="1235"/>
                  </a:lnTo>
                  <a:lnTo>
                    <a:pt x="1990" y="1212"/>
                  </a:lnTo>
                  <a:lnTo>
                    <a:pt x="1920" y="1190"/>
                  </a:lnTo>
                  <a:lnTo>
                    <a:pt x="1850" y="1166"/>
                  </a:lnTo>
                  <a:lnTo>
                    <a:pt x="1781" y="1142"/>
                  </a:lnTo>
                  <a:lnTo>
                    <a:pt x="1715" y="1117"/>
                  </a:lnTo>
                  <a:lnTo>
                    <a:pt x="1649" y="1092"/>
                  </a:lnTo>
                  <a:lnTo>
                    <a:pt x="1585" y="1065"/>
                  </a:lnTo>
                  <a:lnTo>
                    <a:pt x="1522" y="1039"/>
                  </a:lnTo>
                  <a:lnTo>
                    <a:pt x="1522" y="1039"/>
                  </a:lnTo>
                  <a:lnTo>
                    <a:pt x="1105" y="2713"/>
                  </a:lnTo>
                  <a:close/>
                  <a:moveTo>
                    <a:pt x="77" y="1180"/>
                  </a:moveTo>
                  <a:lnTo>
                    <a:pt x="77" y="1180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496" y="27"/>
                  </a:lnTo>
                  <a:lnTo>
                    <a:pt x="499" y="55"/>
                  </a:lnTo>
                  <a:lnTo>
                    <a:pt x="505" y="82"/>
                  </a:lnTo>
                  <a:lnTo>
                    <a:pt x="510" y="108"/>
                  </a:lnTo>
                  <a:lnTo>
                    <a:pt x="517" y="136"/>
                  </a:lnTo>
                  <a:lnTo>
                    <a:pt x="525" y="163"/>
                  </a:lnTo>
                  <a:lnTo>
                    <a:pt x="534" y="189"/>
                  </a:lnTo>
                  <a:lnTo>
                    <a:pt x="544" y="216"/>
                  </a:lnTo>
                  <a:lnTo>
                    <a:pt x="555" y="242"/>
                  </a:lnTo>
                  <a:lnTo>
                    <a:pt x="567" y="268"/>
                  </a:lnTo>
                  <a:lnTo>
                    <a:pt x="581" y="294"/>
                  </a:lnTo>
                  <a:lnTo>
                    <a:pt x="594" y="320"/>
                  </a:lnTo>
                  <a:lnTo>
                    <a:pt x="610" y="345"/>
                  </a:lnTo>
                  <a:lnTo>
                    <a:pt x="625" y="371"/>
                  </a:lnTo>
                  <a:lnTo>
                    <a:pt x="642" y="396"/>
                  </a:lnTo>
                  <a:lnTo>
                    <a:pt x="661" y="421"/>
                  </a:lnTo>
                  <a:lnTo>
                    <a:pt x="679" y="446"/>
                  </a:lnTo>
                  <a:lnTo>
                    <a:pt x="699" y="471"/>
                  </a:lnTo>
                  <a:lnTo>
                    <a:pt x="720" y="496"/>
                  </a:lnTo>
                  <a:lnTo>
                    <a:pt x="742" y="520"/>
                  </a:lnTo>
                  <a:lnTo>
                    <a:pt x="765" y="544"/>
                  </a:lnTo>
                  <a:lnTo>
                    <a:pt x="787" y="568"/>
                  </a:lnTo>
                  <a:lnTo>
                    <a:pt x="812" y="592"/>
                  </a:lnTo>
                  <a:lnTo>
                    <a:pt x="837" y="616"/>
                  </a:lnTo>
                  <a:lnTo>
                    <a:pt x="863" y="639"/>
                  </a:lnTo>
                  <a:lnTo>
                    <a:pt x="890" y="662"/>
                  </a:lnTo>
                  <a:lnTo>
                    <a:pt x="918" y="685"/>
                  </a:lnTo>
                  <a:lnTo>
                    <a:pt x="948" y="708"/>
                  </a:lnTo>
                  <a:lnTo>
                    <a:pt x="978" y="729"/>
                  </a:lnTo>
                  <a:lnTo>
                    <a:pt x="1008" y="752"/>
                  </a:lnTo>
                  <a:lnTo>
                    <a:pt x="1039" y="774"/>
                  </a:lnTo>
                  <a:lnTo>
                    <a:pt x="1071" y="796"/>
                  </a:lnTo>
                  <a:lnTo>
                    <a:pt x="1071" y="796"/>
                  </a:lnTo>
                  <a:lnTo>
                    <a:pt x="533" y="2426"/>
                  </a:lnTo>
                  <a:lnTo>
                    <a:pt x="533" y="2426"/>
                  </a:lnTo>
                  <a:lnTo>
                    <a:pt x="491" y="2399"/>
                  </a:lnTo>
                  <a:lnTo>
                    <a:pt x="452" y="2371"/>
                  </a:lnTo>
                  <a:lnTo>
                    <a:pt x="414" y="2341"/>
                  </a:lnTo>
                  <a:lnTo>
                    <a:pt x="377" y="2312"/>
                  </a:lnTo>
                  <a:lnTo>
                    <a:pt x="341" y="2282"/>
                  </a:lnTo>
                  <a:lnTo>
                    <a:pt x="308" y="2252"/>
                  </a:lnTo>
                  <a:lnTo>
                    <a:pt x="276" y="2221"/>
                  </a:lnTo>
                  <a:lnTo>
                    <a:pt x="246" y="2188"/>
                  </a:lnTo>
                  <a:lnTo>
                    <a:pt x="217" y="2156"/>
                  </a:lnTo>
                  <a:lnTo>
                    <a:pt x="190" y="2123"/>
                  </a:lnTo>
                  <a:lnTo>
                    <a:pt x="164" y="2088"/>
                  </a:lnTo>
                  <a:lnTo>
                    <a:pt x="140" y="2054"/>
                  </a:lnTo>
                  <a:lnTo>
                    <a:pt x="118" y="2018"/>
                  </a:lnTo>
                  <a:lnTo>
                    <a:pt x="97" y="1982"/>
                  </a:lnTo>
                  <a:lnTo>
                    <a:pt x="79" y="1944"/>
                  </a:lnTo>
                  <a:lnTo>
                    <a:pt x="63" y="1907"/>
                  </a:lnTo>
                  <a:lnTo>
                    <a:pt x="47" y="1868"/>
                  </a:lnTo>
                  <a:lnTo>
                    <a:pt x="35" y="1829"/>
                  </a:lnTo>
                  <a:lnTo>
                    <a:pt x="24" y="1788"/>
                  </a:lnTo>
                  <a:lnTo>
                    <a:pt x="15" y="1747"/>
                  </a:lnTo>
                  <a:lnTo>
                    <a:pt x="9" y="1706"/>
                  </a:lnTo>
                  <a:lnTo>
                    <a:pt x="4" y="1662"/>
                  </a:lnTo>
                  <a:lnTo>
                    <a:pt x="0" y="1618"/>
                  </a:lnTo>
                  <a:lnTo>
                    <a:pt x="0" y="1573"/>
                  </a:lnTo>
                  <a:lnTo>
                    <a:pt x="2" y="1528"/>
                  </a:lnTo>
                  <a:lnTo>
                    <a:pt x="6" y="1481"/>
                  </a:lnTo>
                  <a:lnTo>
                    <a:pt x="12" y="1433"/>
                  </a:lnTo>
                  <a:lnTo>
                    <a:pt x="20" y="1385"/>
                  </a:lnTo>
                  <a:lnTo>
                    <a:pt x="31" y="1335"/>
                  </a:lnTo>
                  <a:lnTo>
                    <a:pt x="44" y="1284"/>
                  </a:lnTo>
                  <a:lnTo>
                    <a:pt x="60" y="1232"/>
                  </a:lnTo>
                  <a:lnTo>
                    <a:pt x="77" y="1180"/>
                  </a:lnTo>
                  <a:close/>
                  <a:moveTo>
                    <a:pt x="7739" y="3"/>
                  </a:moveTo>
                  <a:lnTo>
                    <a:pt x="7739" y="3"/>
                  </a:lnTo>
                  <a:lnTo>
                    <a:pt x="8156" y="1180"/>
                  </a:lnTo>
                  <a:lnTo>
                    <a:pt x="8156" y="1180"/>
                  </a:lnTo>
                  <a:lnTo>
                    <a:pt x="8173" y="1231"/>
                  </a:lnTo>
                  <a:lnTo>
                    <a:pt x="8189" y="1281"/>
                  </a:lnTo>
                  <a:lnTo>
                    <a:pt x="8201" y="1330"/>
                  </a:lnTo>
                  <a:lnTo>
                    <a:pt x="8211" y="1379"/>
                  </a:lnTo>
                  <a:lnTo>
                    <a:pt x="8220" y="1426"/>
                  </a:lnTo>
                  <a:lnTo>
                    <a:pt x="8226" y="1472"/>
                  </a:lnTo>
                  <a:lnTo>
                    <a:pt x="8230" y="1517"/>
                  </a:lnTo>
                  <a:lnTo>
                    <a:pt x="8232" y="1562"/>
                  </a:lnTo>
                  <a:lnTo>
                    <a:pt x="8232" y="1606"/>
                  </a:lnTo>
                  <a:lnTo>
                    <a:pt x="8230" y="1648"/>
                  </a:lnTo>
                  <a:lnTo>
                    <a:pt x="8226" y="1690"/>
                  </a:lnTo>
                  <a:lnTo>
                    <a:pt x="8221" y="1732"/>
                  </a:lnTo>
                  <a:lnTo>
                    <a:pt x="8213" y="1772"/>
                  </a:lnTo>
                  <a:lnTo>
                    <a:pt x="8203" y="1811"/>
                  </a:lnTo>
                  <a:lnTo>
                    <a:pt x="8192" y="1850"/>
                  </a:lnTo>
                  <a:lnTo>
                    <a:pt x="8178" y="1888"/>
                  </a:lnTo>
                  <a:lnTo>
                    <a:pt x="8163" y="1925"/>
                  </a:lnTo>
                  <a:lnTo>
                    <a:pt x="8146" y="1961"/>
                  </a:lnTo>
                  <a:lnTo>
                    <a:pt x="8127" y="1997"/>
                  </a:lnTo>
                  <a:lnTo>
                    <a:pt x="8108" y="2032"/>
                  </a:lnTo>
                  <a:lnTo>
                    <a:pt x="8085" y="2065"/>
                  </a:lnTo>
                  <a:lnTo>
                    <a:pt x="8062" y="2099"/>
                  </a:lnTo>
                  <a:lnTo>
                    <a:pt x="8036" y="2132"/>
                  </a:lnTo>
                  <a:lnTo>
                    <a:pt x="8009" y="2164"/>
                  </a:lnTo>
                  <a:lnTo>
                    <a:pt x="7981" y="2196"/>
                  </a:lnTo>
                  <a:lnTo>
                    <a:pt x="7951" y="2226"/>
                  </a:lnTo>
                  <a:lnTo>
                    <a:pt x="7919" y="2256"/>
                  </a:lnTo>
                  <a:lnTo>
                    <a:pt x="7887" y="2286"/>
                  </a:lnTo>
                  <a:lnTo>
                    <a:pt x="7853" y="2314"/>
                  </a:lnTo>
                  <a:lnTo>
                    <a:pt x="7816" y="2343"/>
                  </a:lnTo>
                  <a:lnTo>
                    <a:pt x="7780" y="2371"/>
                  </a:lnTo>
                  <a:lnTo>
                    <a:pt x="7742" y="2399"/>
                  </a:lnTo>
                  <a:lnTo>
                    <a:pt x="7742" y="2399"/>
                  </a:lnTo>
                  <a:lnTo>
                    <a:pt x="7256" y="729"/>
                  </a:lnTo>
                  <a:lnTo>
                    <a:pt x="7256" y="729"/>
                  </a:lnTo>
                  <a:lnTo>
                    <a:pt x="7309" y="689"/>
                  </a:lnTo>
                  <a:lnTo>
                    <a:pt x="7359" y="648"/>
                  </a:lnTo>
                  <a:lnTo>
                    <a:pt x="7406" y="606"/>
                  </a:lnTo>
                  <a:lnTo>
                    <a:pt x="7429" y="585"/>
                  </a:lnTo>
                  <a:lnTo>
                    <a:pt x="7450" y="563"/>
                  </a:lnTo>
                  <a:lnTo>
                    <a:pt x="7471" y="541"/>
                  </a:lnTo>
                  <a:lnTo>
                    <a:pt x="7492" y="519"/>
                  </a:lnTo>
                  <a:lnTo>
                    <a:pt x="7512" y="497"/>
                  </a:lnTo>
                  <a:lnTo>
                    <a:pt x="7531" y="475"/>
                  </a:lnTo>
                  <a:lnTo>
                    <a:pt x="7548" y="453"/>
                  </a:lnTo>
                  <a:lnTo>
                    <a:pt x="7566" y="430"/>
                  </a:lnTo>
                  <a:lnTo>
                    <a:pt x="7582" y="408"/>
                  </a:lnTo>
                  <a:lnTo>
                    <a:pt x="7598" y="385"/>
                  </a:lnTo>
                  <a:lnTo>
                    <a:pt x="7614" y="362"/>
                  </a:lnTo>
                  <a:lnTo>
                    <a:pt x="7627" y="339"/>
                  </a:lnTo>
                  <a:lnTo>
                    <a:pt x="7641" y="316"/>
                  </a:lnTo>
                  <a:lnTo>
                    <a:pt x="7653" y="293"/>
                  </a:lnTo>
                  <a:lnTo>
                    <a:pt x="7666" y="269"/>
                  </a:lnTo>
                  <a:lnTo>
                    <a:pt x="7676" y="246"/>
                  </a:lnTo>
                  <a:lnTo>
                    <a:pt x="7686" y="222"/>
                  </a:lnTo>
                  <a:lnTo>
                    <a:pt x="7696" y="198"/>
                  </a:lnTo>
                  <a:lnTo>
                    <a:pt x="7704" y="174"/>
                  </a:lnTo>
                  <a:lnTo>
                    <a:pt x="7711" y="150"/>
                  </a:lnTo>
                  <a:lnTo>
                    <a:pt x="7719" y="126"/>
                  </a:lnTo>
                  <a:lnTo>
                    <a:pt x="7724" y="101"/>
                  </a:lnTo>
                  <a:lnTo>
                    <a:pt x="7729" y="77"/>
                  </a:lnTo>
                  <a:lnTo>
                    <a:pt x="7733" y="52"/>
                  </a:lnTo>
                  <a:lnTo>
                    <a:pt x="7736" y="28"/>
                  </a:lnTo>
                  <a:lnTo>
                    <a:pt x="7739" y="3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1" name="Freeform 133"/>
            <p:cNvSpPr>
              <a:spLocks/>
            </p:cNvSpPr>
            <p:nvPr/>
          </p:nvSpPr>
          <p:spPr bwMode="auto">
            <a:xfrm flipH="1">
              <a:off x="1795575" y="4847374"/>
              <a:ext cx="801146" cy="316030"/>
            </a:xfrm>
            <a:custGeom>
              <a:avLst/>
              <a:gdLst>
                <a:gd name="T0" fmla="*/ 0 w 4346"/>
                <a:gd name="T1" fmla="*/ 1674 h 2209"/>
                <a:gd name="T2" fmla="*/ 73 w 4346"/>
                <a:gd name="T3" fmla="*/ 1702 h 2209"/>
                <a:gd name="T4" fmla="*/ 224 w 4346"/>
                <a:gd name="T5" fmla="*/ 1759 h 2209"/>
                <a:gd name="T6" fmla="*/ 380 w 4346"/>
                <a:gd name="T7" fmla="*/ 1812 h 2209"/>
                <a:gd name="T8" fmla="*/ 540 w 4346"/>
                <a:gd name="T9" fmla="*/ 1864 h 2209"/>
                <a:gd name="T10" fmla="*/ 622 w 4346"/>
                <a:gd name="T11" fmla="*/ 1890 h 2209"/>
                <a:gd name="T12" fmla="*/ 821 w 4346"/>
                <a:gd name="T13" fmla="*/ 1946 h 2209"/>
                <a:gd name="T14" fmla="*/ 1019 w 4346"/>
                <a:gd name="T15" fmla="*/ 1996 h 2209"/>
                <a:gd name="T16" fmla="*/ 1218 w 4346"/>
                <a:gd name="T17" fmla="*/ 2039 h 2209"/>
                <a:gd name="T18" fmla="*/ 1413 w 4346"/>
                <a:gd name="T19" fmla="*/ 2076 h 2209"/>
                <a:gd name="T20" fmla="*/ 1605 w 4346"/>
                <a:gd name="T21" fmla="*/ 2107 h 2209"/>
                <a:gd name="T22" fmla="*/ 1790 w 4346"/>
                <a:gd name="T23" fmla="*/ 2133 h 2209"/>
                <a:gd name="T24" fmla="*/ 1969 w 4346"/>
                <a:gd name="T25" fmla="*/ 2154 h 2209"/>
                <a:gd name="T26" fmla="*/ 2138 w 4346"/>
                <a:gd name="T27" fmla="*/ 2170 h 2209"/>
                <a:gd name="T28" fmla="*/ 2298 w 4346"/>
                <a:gd name="T29" fmla="*/ 2184 h 2209"/>
                <a:gd name="T30" fmla="*/ 2579 w 4346"/>
                <a:gd name="T31" fmla="*/ 2201 h 2209"/>
                <a:gd name="T32" fmla="*/ 2800 w 4346"/>
                <a:gd name="T33" fmla="*/ 2207 h 2209"/>
                <a:gd name="T34" fmla="*/ 2949 w 4346"/>
                <a:gd name="T35" fmla="*/ 2209 h 2209"/>
                <a:gd name="T36" fmla="*/ 2992 w 4346"/>
                <a:gd name="T37" fmla="*/ 2208 h 2209"/>
                <a:gd name="T38" fmla="*/ 3013 w 4346"/>
                <a:gd name="T39" fmla="*/ 2208 h 2209"/>
                <a:gd name="T40" fmla="*/ 3035 w 4346"/>
                <a:gd name="T41" fmla="*/ 2208 h 2209"/>
                <a:gd name="T42" fmla="*/ 3195 w 4346"/>
                <a:gd name="T43" fmla="*/ 2208 h 2209"/>
                <a:gd name="T44" fmla="*/ 3403 w 4346"/>
                <a:gd name="T45" fmla="*/ 2203 h 2209"/>
                <a:gd name="T46" fmla="*/ 3576 w 4346"/>
                <a:gd name="T47" fmla="*/ 2194 h 2209"/>
                <a:gd name="T48" fmla="*/ 3773 w 4346"/>
                <a:gd name="T49" fmla="*/ 2181 h 2209"/>
                <a:gd name="T50" fmla="*/ 3991 w 4346"/>
                <a:gd name="T51" fmla="*/ 2161 h 2209"/>
                <a:gd name="T52" fmla="*/ 4225 w 4346"/>
                <a:gd name="T53" fmla="*/ 2135 h 2209"/>
                <a:gd name="T54" fmla="*/ 4346 w 4346"/>
                <a:gd name="T55" fmla="*/ 2118 h 2209"/>
                <a:gd name="T56" fmla="*/ 4176 w 4346"/>
                <a:gd name="T57" fmla="*/ 388 h 2209"/>
                <a:gd name="T58" fmla="*/ 4037 w 4346"/>
                <a:gd name="T59" fmla="*/ 406 h 2209"/>
                <a:gd name="T60" fmla="*/ 3897 w 4346"/>
                <a:gd name="T61" fmla="*/ 423 h 2209"/>
                <a:gd name="T62" fmla="*/ 3755 w 4346"/>
                <a:gd name="T63" fmla="*/ 437 h 2209"/>
                <a:gd name="T64" fmla="*/ 3610 w 4346"/>
                <a:gd name="T65" fmla="*/ 448 h 2209"/>
                <a:gd name="T66" fmla="*/ 3464 w 4346"/>
                <a:gd name="T67" fmla="*/ 457 h 2209"/>
                <a:gd name="T68" fmla="*/ 3315 w 4346"/>
                <a:gd name="T69" fmla="*/ 464 h 2209"/>
                <a:gd name="T70" fmla="*/ 3165 w 4346"/>
                <a:gd name="T71" fmla="*/ 468 h 2209"/>
                <a:gd name="T72" fmla="*/ 3013 w 4346"/>
                <a:gd name="T73" fmla="*/ 470 h 2209"/>
                <a:gd name="T74" fmla="*/ 2919 w 4346"/>
                <a:gd name="T75" fmla="*/ 469 h 2209"/>
                <a:gd name="T76" fmla="*/ 2731 w 4346"/>
                <a:gd name="T77" fmla="*/ 465 h 2209"/>
                <a:gd name="T78" fmla="*/ 2544 w 4346"/>
                <a:gd name="T79" fmla="*/ 456 h 2209"/>
                <a:gd name="T80" fmla="*/ 2361 w 4346"/>
                <a:gd name="T81" fmla="*/ 445 h 2209"/>
                <a:gd name="T82" fmla="*/ 2183 w 4346"/>
                <a:gd name="T83" fmla="*/ 428 h 2209"/>
                <a:gd name="T84" fmla="*/ 2006 w 4346"/>
                <a:gd name="T85" fmla="*/ 408 h 2209"/>
                <a:gd name="T86" fmla="*/ 1833 w 4346"/>
                <a:gd name="T87" fmla="*/ 385 h 2209"/>
                <a:gd name="T88" fmla="*/ 1665 w 4346"/>
                <a:gd name="T89" fmla="*/ 358 h 2209"/>
                <a:gd name="T90" fmla="*/ 1501 w 4346"/>
                <a:gd name="T91" fmla="*/ 327 h 2209"/>
                <a:gd name="T92" fmla="*/ 1340 w 4346"/>
                <a:gd name="T93" fmla="*/ 294 h 2209"/>
                <a:gd name="T94" fmla="*/ 1185 w 4346"/>
                <a:gd name="T95" fmla="*/ 256 h 2209"/>
                <a:gd name="T96" fmla="*/ 1033 w 4346"/>
                <a:gd name="T97" fmla="*/ 217 h 2209"/>
                <a:gd name="T98" fmla="*/ 887 w 4346"/>
                <a:gd name="T99" fmla="*/ 173 h 2209"/>
                <a:gd name="T100" fmla="*/ 747 w 4346"/>
                <a:gd name="T101" fmla="*/ 127 h 2209"/>
                <a:gd name="T102" fmla="*/ 612 w 4346"/>
                <a:gd name="T103" fmla="*/ 78 h 2209"/>
                <a:gd name="T104" fmla="*/ 482 w 4346"/>
                <a:gd name="T105" fmla="*/ 26 h 2209"/>
                <a:gd name="T106" fmla="*/ 419 w 4346"/>
                <a:gd name="T107" fmla="*/ 0 h 2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46" h="2209">
                  <a:moveTo>
                    <a:pt x="2" y="1674"/>
                  </a:moveTo>
                  <a:lnTo>
                    <a:pt x="0" y="1674"/>
                  </a:lnTo>
                  <a:lnTo>
                    <a:pt x="0" y="1674"/>
                  </a:lnTo>
                  <a:lnTo>
                    <a:pt x="73" y="1702"/>
                  </a:lnTo>
                  <a:lnTo>
                    <a:pt x="148" y="1731"/>
                  </a:lnTo>
                  <a:lnTo>
                    <a:pt x="224" y="1759"/>
                  </a:lnTo>
                  <a:lnTo>
                    <a:pt x="301" y="1786"/>
                  </a:lnTo>
                  <a:lnTo>
                    <a:pt x="380" y="1812"/>
                  </a:lnTo>
                  <a:lnTo>
                    <a:pt x="459" y="1838"/>
                  </a:lnTo>
                  <a:lnTo>
                    <a:pt x="540" y="1864"/>
                  </a:lnTo>
                  <a:lnTo>
                    <a:pt x="622" y="1890"/>
                  </a:lnTo>
                  <a:lnTo>
                    <a:pt x="622" y="1890"/>
                  </a:lnTo>
                  <a:lnTo>
                    <a:pt x="721" y="1919"/>
                  </a:lnTo>
                  <a:lnTo>
                    <a:pt x="821" y="1946"/>
                  </a:lnTo>
                  <a:lnTo>
                    <a:pt x="921" y="1972"/>
                  </a:lnTo>
                  <a:lnTo>
                    <a:pt x="1019" y="1996"/>
                  </a:lnTo>
                  <a:lnTo>
                    <a:pt x="1119" y="2018"/>
                  </a:lnTo>
                  <a:lnTo>
                    <a:pt x="1218" y="2039"/>
                  </a:lnTo>
                  <a:lnTo>
                    <a:pt x="1316" y="2058"/>
                  </a:lnTo>
                  <a:lnTo>
                    <a:pt x="1413" y="2076"/>
                  </a:lnTo>
                  <a:lnTo>
                    <a:pt x="1509" y="2092"/>
                  </a:lnTo>
                  <a:lnTo>
                    <a:pt x="1605" y="2107"/>
                  </a:lnTo>
                  <a:lnTo>
                    <a:pt x="1698" y="2120"/>
                  </a:lnTo>
                  <a:lnTo>
                    <a:pt x="1790" y="2133"/>
                  </a:lnTo>
                  <a:lnTo>
                    <a:pt x="1880" y="2144"/>
                  </a:lnTo>
                  <a:lnTo>
                    <a:pt x="1969" y="2154"/>
                  </a:lnTo>
                  <a:lnTo>
                    <a:pt x="2055" y="2163"/>
                  </a:lnTo>
                  <a:lnTo>
                    <a:pt x="2138" y="2170"/>
                  </a:lnTo>
                  <a:lnTo>
                    <a:pt x="2219" y="2178"/>
                  </a:lnTo>
                  <a:lnTo>
                    <a:pt x="2298" y="2184"/>
                  </a:lnTo>
                  <a:lnTo>
                    <a:pt x="2445" y="2193"/>
                  </a:lnTo>
                  <a:lnTo>
                    <a:pt x="2579" y="2201"/>
                  </a:lnTo>
                  <a:lnTo>
                    <a:pt x="2698" y="2205"/>
                  </a:lnTo>
                  <a:lnTo>
                    <a:pt x="2800" y="2207"/>
                  </a:lnTo>
                  <a:lnTo>
                    <a:pt x="2884" y="2208"/>
                  </a:lnTo>
                  <a:lnTo>
                    <a:pt x="2949" y="2209"/>
                  </a:lnTo>
                  <a:lnTo>
                    <a:pt x="2992" y="2208"/>
                  </a:lnTo>
                  <a:lnTo>
                    <a:pt x="2992" y="2208"/>
                  </a:lnTo>
                  <a:lnTo>
                    <a:pt x="3013" y="2208"/>
                  </a:lnTo>
                  <a:lnTo>
                    <a:pt x="3013" y="2208"/>
                  </a:lnTo>
                  <a:lnTo>
                    <a:pt x="3035" y="2208"/>
                  </a:lnTo>
                  <a:lnTo>
                    <a:pt x="3035" y="2208"/>
                  </a:lnTo>
                  <a:lnTo>
                    <a:pt x="3097" y="2209"/>
                  </a:lnTo>
                  <a:lnTo>
                    <a:pt x="3195" y="2208"/>
                  </a:lnTo>
                  <a:lnTo>
                    <a:pt x="3326" y="2205"/>
                  </a:lnTo>
                  <a:lnTo>
                    <a:pt x="3403" y="2203"/>
                  </a:lnTo>
                  <a:lnTo>
                    <a:pt x="3486" y="2198"/>
                  </a:lnTo>
                  <a:lnTo>
                    <a:pt x="3576" y="2194"/>
                  </a:lnTo>
                  <a:lnTo>
                    <a:pt x="3672" y="2188"/>
                  </a:lnTo>
                  <a:lnTo>
                    <a:pt x="3773" y="2181"/>
                  </a:lnTo>
                  <a:lnTo>
                    <a:pt x="3879" y="2171"/>
                  </a:lnTo>
                  <a:lnTo>
                    <a:pt x="3991" y="2161"/>
                  </a:lnTo>
                  <a:lnTo>
                    <a:pt x="4105" y="2148"/>
                  </a:lnTo>
                  <a:lnTo>
                    <a:pt x="4225" y="2135"/>
                  </a:lnTo>
                  <a:lnTo>
                    <a:pt x="4346" y="2118"/>
                  </a:lnTo>
                  <a:lnTo>
                    <a:pt x="4346" y="2118"/>
                  </a:lnTo>
                  <a:lnTo>
                    <a:pt x="4176" y="388"/>
                  </a:lnTo>
                  <a:lnTo>
                    <a:pt x="4176" y="388"/>
                  </a:lnTo>
                  <a:lnTo>
                    <a:pt x="4107" y="397"/>
                  </a:lnTo>
                  <a:lnTo>
                    <a:pt x="4037" y="406"/>
                  </a:lnTo>
                  <a:lnTo>
                    <a:pt x="3968" y="415"/>
                  </a:lnTo>
                  <a:lnTo>
                    <a:pt x="3897" y="423"/>
                  </a:lnTo>
                  <a:lnTo>
                    <a:pt x="3826" y="430"/>
                  </a:lnTo>
                  <a:lnTo>
                    <a:pt x="3755" y="437"/>
                  </a:lnTo>
                  <a:lnTo>
                    <a:pt x="3683" y="443"/>
                  </a:lnTo>
                  <a:lnTo>
                    <a:pt x="3610" y="448"/>
                  </a:lnTo>
                  <a:lnTo>
                    <a:pt x="3537" y="453"/>
                  </a:lnTo>
                  <a:lnTo>
                    <a:pt x="3464" y="457"/>
                  </a:lnTo>
                  <a:lnTo>
                    <a:pt x="3390" y="462"/>
                  </a:lnTo>
                  <a:lnTo>
                    <a:pt x="3315" y="464"/>
                  </a:lnTo>
                  <a:lnTo>
                    <a:pt x="3240" y="467"/>
                  </a:lnTo>
                  <a:lnTo>
                    <a:pt x="3165" y="468"/>
                  </a:lnTo>
                  <a:lnTo>
                    <a:pt x="3089" y="469"/>
                  </a:lnTo>
                  <a:lnTo>
                    <a:pt x="3013" y="470"/>
                  </a:lnTo>
                  <a:lnTo>
                    <a:pt x="3013" y="470"/>
                  </a:lnTo>
                  <a:lnTo>
                    <a:pt x="2919" y="469"/>
                  </a:lnTo>
                  <a:lnTo>
                    <a:pt x="2824" y="468"/>
                  </a:lnTo>
                  <a:lnTo>
                    <a:pt x="2731" y="465"/>
                  </a:lnTo>
                  <a:lnTo>
                    <a:pt x="2637" y="462"/>
                  </a:lnTo>
                  <a:lnTo>
                    <a:pt x="2544" y="456"/>
                  </a:lnTo>
                  <a:lnTo>
                    <a:pt x="2453" y="451"/>
                  </a:lnTo>
                  <a:lnTo>
                    <a:pt x="2361" y="445"/>
                  </a:lnTo>
                  <a:lnTo>
                    <a:pt x="2272" y="437"/>
                  </a:lnTo>
                  <a:lnTo>
                    <a:pt x="2183" y="428"/>
                  </a:lnTo>
                  <a:lnTo>
                    <a:pt x="2094" y="419"/>
                  </a:lnTo>
                  <a:lnTo>
                    <a:pt x="2006" y="408"/>
                  </a:lnTo>
                  <a:lnTo>
                    <a:pt x="1920" y="397"/>
                  </a:lnTo>
                  <a:lnTo>
                    <a:pt x="1833" y="385"/>
                  </a:lnTo>
                  <a:lnTo>
                    <a:pt x="1749" y="372"/>
                  </a:lnTo>
                  <a:lnTo>
                    <a:pt x="1665" y="358"/>
                  </a:lnTo>
                  <a:lnTo>
                    <a:pt x="1582" y="343"/>
                  </a:lnTo>
                  <a:lnTo>
                    <a:pt x="1501" y="327"/>
                  </a:lnTo>
                  <a:lnTo>
                    <a:pt x="1420" y="311"/>
                  </a:lnTo>
                  <a:lnTo>
                    <a:pt x="1340" y="294"/>
                  </a:lnTo>
                  <a:lnTo>
                    <a:pt x="1262" y="276"/>
                  </a:lnTo>
                  <a:lnTo>
                    <a:pt x="1185" y="256"/>
                  </a:lnTo>
                  <a:lnTo>
                    <a:pt x="1108" y="238"/>
                  </a:lnTo>
                  <a:lnTo>
                    <a:pt x="1033" y="217"/>
                  </a:lnTo>
                  <a:lnTo>
                    <a:pt x="960" y="196"/>
                  </a:lnTo>
                  <a:lnTo>
                    <a:pt x="887" y="173"/>
                  </a:lnTo>
                  <a:lnTo>
                    <a:pt x="817" y="151"/>
                  </a:lnTo>
                  <a:lnTo>
                    <a:pt x="747" y="127"/>
                  </a:lnTo>
                  <a:lnTo>
                    <a:pt x="678" y="103"/>
                  </a:lnTo>
                  <a:lnTo>
                    <a:pt x="612" y="78"/>
                  </a:lnTo>
                  <a:lnTo>
                    <a:pt x="546" y="53"/>
                  </a:lnTo>
                  <a:lnTo>
                    <a:pt x="482" y="26"/>
                  </a:lnTo>
                  <a:lnTo>
                    <a:pt x="419" y="0"/>
                  </a:lnTo>
                  <a:lnTo>
                    <a:pt x="419" y="0"/>
                  </a:lnTo>
                  <a:lnTo>
                    <a:pt x="2" y="167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2" name="Freeform 134"/>
            <p:cNvSpPr>
              <a:spLocks/>
            </p:cNvSpPr>
            <p:nvPr/>
          </p:nvSpPr>
          <p:spPr bwMode="auto">
            <a:xfrm flipH="1">
              <a:off x="2603172" y="4699033"/>
              <a:ext cx="197384" cy="346988"/>
            </a:xfrm>
            <a:custGeom>
              <a:avLst/>
              <a:gdLst>
                <a:gd name="T0" fmla="*/ 77 w 1071"/>
                <a:gd name="T1" fmla="*/ 1180 h 2426"/>
                <a:gd name="T2" fmla="*/ 493 w 1071"/>
                <a:gd name="T3" fmla="*/ 0 h 2426"/>
                <a:gd name="T4" fmla="*/ 499 w 1071"/>
                <a:gd name="T5" fmla="*/ 55 h 2426"/>
                <a:gd name="T6" fmla="*/ 510 w 1071"/>
                <a:gd name="T7" fmla="*/ 108 h 2426"/>
                <a:gd name="T8" fmla="*/ 525 w 1071"/>
                <a:gd name="T9" fmla="*/ 163 h 2426"/>
                <a:gd name="T10" fmla="*/ 544 w 1071"/>
                <a:gd name="T11" fmla="*/ 216 h 2426"/>
                <a:gd name="T12" fmla="*/ 567 w 1071"/>
                <a:gd name="T13" fmla="*/ 268 h 2426"/>
                <a:gd name="T14" fmla="*/ 594 w 1071"/>
                <a:gd name="T15" fmla="*/ 320 h 2426"/>
                <a:gd name="T16" fmla="*/ 625 w 1071"/>
                <a:gd name="T17" fmla="*/ 371 h 2426"/>
                <a:gd name="T18" fmla="*/ 661 w 1071"/>
                <a:gd name="T19" fmla="*/ 421 h 2426"/>
                <a:gd name="T20" fmla="*/ 699 w 1071"/>
                <a:gd name="T21" fmla="*/ 471 h 2426"/>
                <a:gd name="T22" fmla="*/ 742 w 1071"/>
                <a:gd name="T23" fmla="*/ 520 h 2426"/>
                <a:gd name="T24" fmla="*/ 787 w 1071"/>
                <a:gd name="T25" fmla="*/ 568 h 2426"/>
                <a:gd name="T26" fmla="*/ 837 w 1071"/>
                <a:gd name="T27" fmla="*/ 616 h 2426"/>
                <a:gd name="T28" fmla="*/ 890 w 1071"/>
                <a:gd name="T29" fmla="*/ 662 h 2426"/>
                <a:gd name="T30" fmla="*/ 948 w 1071"/>
                <a:gd name="T31" fmla="*/ 708 h 2426"/>
                <a:gd name="T32" fmla="*/ 1008 w 1071"/>
                <a:gd name="T33" fmla="*/ 752 h 2426"/>
                <a:gd name="T34" fmla="*/ 1071 w 1071"/>
                <a:gd name="T35" fmla="*/ 796 h 2426"/>
                <a:gd name="T36" fmla="*/ 533 w 1071"/>
                <a:gd name="T37" fmla="*/ 2426 h 2426"/>
                <a:gd name="T38" fmla="*/ 491 w 1071"/>
                <a:gd name="T39" fmla="*/ 2399 h 2426"/>
                <a:gd name="T40" fmla="*/ 414 w 1071"/>
                <a:gd name="T41" fmla="*/ 2341 h 2426"/>
                <a:gd name="T42" fmla="*/ 341 w 1071"/>
                <a:gd name="T43" fmla="*/ 2282 h 2426"/>
                <a:gd name="T44" fmla="*/ 276 w 1071"/>
                <a:gd name="T45" fmla="*/ 2221 h 2426"/>
                <a:gd name="T46" fmla="*/ 217 w 1071"/>
                <a:gd name="T47" fmla="*/ 2156 h 2426"/>
                <a:gd name="T48" fmla="*/ 164 w 1071"/>
                <a:gd name="T49" fmla="*/ 2088 h 2426"/>
                <a:gd name="T50" fmla="*/ 118 w 1071"/>
                <a:gd name="T51" fmla="*/ 2018 h 2426"/>
                <a:gd name="T52" fmla="*/ 79 w 1071"/>
                <a:gd name="T53" fmla="*/ 1944 h 2426"/>
                <a:gd name="T54" fmla="*/ 47 w 1071"/>
                <a:gd name="T55" fmla="*/ 1868 h 2426"/>
                <a:gd name="T56" fmla="*/ 24 w 1071"/>
                <a:gd name="T57" fmla="*/ 1788 h 2426"/>
                <a:gd name="T58" fmla="*/ 9 w 1071"/>
                <a:gd name="T59" fmla="*/ 1706 h 2426"/>
                <a:gd name="T60" fmla="*/ 0 w 1071"/>
                <a:gd name="T61" fmla="*/ 1618 h 2426"/>
                <a:gd name="T62" fmla="*/ 2 w 1071"/>
                <a:gd name="T63" fmla="*/ 1528 h 2426"/>
                <a:gd name="T64" fmla="*/ 12 w 1071"/>
                <a:gd name="T65" fmla="*/ 1433 h 2426"/>
                <a:gd name="T66" fmla="*/ 31 w 1071"/>
                <a:gd name="T67" fmla="*/ 1335 h 2426"/>
                <a:gd name="T68" fmla="*/ 60 w 1071"/>
                <a:gd name="T69" fmla="*/ 1232 h 2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71" h="2426">
                  <a:moveTo>
                    <a:pt x="77" y="1180"/>
                  </a:moveTo>
                  <a:lnTo>
                    <a:pt x="77" y="1180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496" y="27"/>
                  </a:lnTo>
                  <a:lnTo>
                    <a:pt x="499" y="55"/>
                  </a:lnTo>
                  <a:lnTo>
                    <a:pt x="505" y="82"/>
                  </a:lnTo>
                  <a:lnTo>
                    <a:pt x="510" y="108"/>
                  </a:lnTo>
                  <a:lnTo>
                    <a:pt x="517" y="136"/>
                  </a:lnTo>
                  <a:lnTo>
                    <a:pt x="525" y="163"/>
                  </a:lnTo>
                  <a:lnTo>
                    <a:pt x="534" y="189"/>
                  </a:lnTo>
                  <a:lnTo>
                    <a:pt x="544" y="216"/>
                  </a:lnTo>
                  <a:lnTo>
                    <a:pt x="555" y="242"/>
                  </a:lnTo>
                  <a:lnTo>
                    <a:pt x="567" y="268"/>
                  </a:lnTo>
                  <a:lnTo>
                    <a:pt x="581" y="294"/>
                  </a:lnTo>
                  <a:lnTo>
                    <a:pt x="594" y="320"/>
                  </a:lnTo>
                  <a:lnTo>
                    <a:pt x="610" y="345"/>
                  </a:lnTo>
                  <a:lnTo>
                    <a:pt x="625" y="371"/>
                  </a:lnTo>
                  <a:lnTo>
                    <a:pt x="642" y="396"/>
                  </a:lnTo>
                  <a:lnTo>
                    <a:pt x="661" y="421"/>
                  </a:lnTo>
                  <a:lnTo>
                    <a:pt x="679" y="446"/>
                  </a:lnTo>
                  <a:lnTo>
                    <a:pt x="699" y="471"/>
                  </a:lnTo>
                  <a:lnTo>
                    <a:pt x="720" y="496"/>
                  </a:lnTo>
                  <a:lnTo>
                    <a:pt x="742" y="520"/>
                  </a:lnTo>
                  <a:lnTo>
                    <a:pt x="765" y="544"/>
                  </a:lnTo>
                  <a:lnTo>
                    <a:pt x="787" y="568"/>
                  </a:lnTo>
                  <a:lnTo>
                    <a:pt x="812" y="592"/>
                  </a:lnTo>
                  <a:lnTo>
                    <a:pt x="837" y="616"/>
                  </a:lnTo>
                  <a:lnTo>
                    <a:pt x="863" y="639"/>
                  </a:lnTo>
                  <a:lnTo>
                    <a:pt x="890" y="662"/>
                  </a:lnTo>
                  <a:lnTo>
                    <a:pt x="918" y="685"/>
                  </a:lnTo>
                  <a:lnTo>
                    <a:pt x="948" y="708"/>
                  </a:lnTo>
                  <a:lnTo>
                    <a:pt x="978" y="729"/>
                  </a:lnTo>
                  <a:lnTo>
                    <a:pt x="1008" y="752"/>
                  </a:lnTo>
                  <a:lnTo>
                    <a:pt x="1039" y="774"/>
                  </a:lnTo>
                  <a:lnTo>
                    <a:pt x="1071" y="796"/>
                  </a:lnTo>
                  <a:lnTo>
                    <a:pt x="1071" y="796"/>
                  </a:lnTo>
                  <a:lnTo>
                    <a:pt x="533" y="2426"/>
                  </a:lnTo>
                  <a:lnTo>
                    <a:pt x="533" y="2426"/>
                  </a:lnTo>
                  <a:lnTo>
                    <a:pt x="491" y="2399"/>
                  </a:lnTo>
                  <a:lnTo>
                    <a:pt x="452" y="2371"/>
                  </a:lnTo>
                  <a:lnTo>
                    <a:pt x="414" y="2341"/>
                  </a:lnTo>
                  <a:lnTo>
                    <a:pt x="377" y="2312"/>
                  </a:lnTo>
                  <a:lnTo>
                    <a:pt x="341" y="2282"/>
                  </a:lnTo>
                  <a:lnTo>
                    <a:pt x="308" y="2252"/>
                  </a:lnTo>
                  <a:lnTo>
                    <a:pt x="276" y="2221"/>
                  </a:lnTo>
                  <a:lnTo>
                    <a:pt x="246" y="2188"/>
                  </a:lnTo>
                  <a:lnTo>
                    <a:pt x="217" y="2156"/>
                  </a:lnTo>
                  <a:lnTo>
                    <a:pt x="190" y="2123"/>
                  </a:lnTo>
                  <a:lnTo>
                    <a:pt x="164" y="2088"/>
                  </a:lnTo>
                  <a:lnTo>
                    <a:pt x="140" y="2054"/>
                  </a:lnTo>
                  <a:lnTo>
                    <a:pt x="118" y="2018"/>
                  </a:lnTo>
                  <a:lnTo>
                    <a:pt x="97" y="1982"/>
                  </a:lnTo>
                  <a:lnTo>
                    <a:pt x="79" y="1944"/>
                  </a:lnTo>
                  <a:lnTo>
                    <a:pt x="63" y="1907"/>
                  </a:lnTo>
                  <a:lnTo>
                    <a:pt x="47" y="1868"/>
                  </a:lnTo>
                  <a:lnTo>
                    <a:pt x="35" y="1829"/>
                  </a:lnTo>
                  <a:lnTo>
                    <a:pt x="24" y="1788"/>
                  </a:lnTo>
                  <a:lnTo>
                    <a:pt x="15" y="1747"/>
                  </a:lnTo>
                  <a:lnTo>
                    <a:pt x="9" y="1706"/>
                  </a:lnTo>
                  <a:lnTo>
                    <a:pt x="4" y="1662"/>
                  </a:lnTo>
                  <a:lnTo>
                    <a:pt x="0" y="1618"/>
                  </a:lnTo>
                  <a:lnTo>
                    <a:pt x="0" y="1573"/>
                  </a:lnTo>
                  <a:lnTo>
                    <a:pt x="2" y="1528"/>
                  </a:lnTo>
                  <a:lnTo>
                    <a:pt x="6" y="1481"/>
                  </a:lnTo>
                  <a:lnTo>
                    <a:pt x="12" y="1433"/>
                  </a:lnTo>
                  <a:lnTo>
                    <a:pt x="20" y="1385"/>
                  </a:lnTo>
                  <a:lnTo>
                    <a:pt x="31" y="1335"/>
                  </a:lnTo>
                  <a:lnTo>
                    <a:pt x="44" y="1284"/>
                  </a:lnTo>
                  <a:lnTo>
                    <a:pt x="60" y="1232"/>
                  </a:lnTo>
                  <a:lnTo>
                    <a:pt x="77" y="118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3" name="Freeform 135"/>
            <p:cNvSpPr>
              <a:spLocks/>
            </p:cNvSpPr>
            <p:nvPr/>
          </p:nvSpPr>
          <p:spPr bwMode="auto">
            <a:xfrm flipH="1">
              <a:off x="1283409" y="4699033"/>
              <a:ext cx="179323" cy="343118"/>
            </a:xfrm>
            <a:custGeom>
              <a:avLst/>
              <a:gdLst>
                <a:gd name="T0" fmla="*/ 483 w 976"/>
                <a:gd name="T1" fmla="*/ 0 h 2396"/>
                <a:gd name="T2" fmla="*/ 900 w 976"/>
                <a:gd name="T3" fmla="*/ 1177 h 2396"/>
                <a:gd name="T4" fmla="*/ 933 w 976"/>
                <a:gd name="T5" fmla="*/ 1278 h 2396"/>
                <a:gd name="T6" fmla="*/ 955 w 976"/>
                <a:gd name="T7" fmla="*/ 1376 h 2396"/>
                <a:gd name="T8" fmla="*/ 970 w 976"/>
                <a:gd name="T9" fmla="*/ 1469 h 2396"/>
                <a:gd name="T10" fmla="*/ 976 w 976"/>
                <a:gd name="T11" fmla="*/ 1559 h 2396"/>
                <a:gd name="T12" fmla="*/ 974 w 976"/>
                <a:gd name="T13" fmla="*/ 1645 h 2396"/>
                <a:gd name="T14" fmla="*/ 965 w 976"/>
                <a:gd name="T15" fmla="*/ 1729 h 2396"/>
                <a:gd name="T16" fmla="*/ 947 w 976"/>
                <a:gd name="T17" fmla="*/ 1808 h 2396"/>
                <a:gd name="T18" fmla="*/ 922 w 976"/>
                <a:gd name="T19" fmla="*/ 1885 h 2396"/>
                <a:gd name="T20" fmla="*/ 890 w 976"/>
                <a:gd name="T21" fmla="*/ 1958 h 2396"/>
                <a:gd name="T22" fmla="*/ 852 w 976"/>
                <a:gd name="T23" fmla="*/ 2029 h 2396"/>
                <a:gd name="T24" fmla="*/ 806 w 976"/>
                <a:gd name="T25" fmla="*/ 2096 h 2396"/>
                <a:gd name="T26" fmla="*/ 753 w 976"/>
                <a:gd name="T27" fmla="*/ 2161 h 2396"/>
                <a:gd name="T28" fmla="*/ 695 w 976"/>
                <a:gd name="T29" fmla="*/ 2223 h 2396"/>
                <a:gd name="T30" fmla="*/ 631 w 976"/>
                <a:gd name="T31" fmla="*/ 2283 h 2396"/>
                <a:gd name="T32" fmla="*/ 560 w 976"/>
                <a:gd name="T33" fmla="*/ 2340 h 2396"/>
                <a:gd name="T34" fmla="*/ 486 w 976"/>
                <a:gd name="T35" fmla="*/ 2396 h 2396"/>
                <a:gd name="T36" fmla="*/ 0 w 976"/>
                <a:gd name="T37" fmla="*/ 726 h 2396"/>
                <a:gd name="T38" fmla="*/ 53 w 976"/>
                <a:gd name="T39" fmla="*/ 686 h 2396"/>
                <a:gd name="T40" fmla="*/ 150 w 976"/>
                <a:gd name="T41" fmla="*/ 603 h 2396"/>
                <a:gd name="T42" fmla="*/ 194 w 976"/>
                <a:gd name="T43" fmla="*/ 560 h 2396"/>
                <a:gd name="T44" fmla="*/ 236 w 976"/>
                <a:gd name="T45" fmla="*/ 516 h 2396"/>
                <a:gd name="T46" fmla="*/ 275 w 976"/>
                <a:gd name="T47" fmla="*/ 472 h 2396"/>
                <a:gd name="T48" fmla="*/ 310 w 976"/>
                <a:gd name="T49" fmla="*/ 427 h 2396"/>
                <a:gd name="T50" fmla="*/ 342 w 976"/>
                <a:gd name="T51" fmla="*/ 382 h 2396"/>
                <a:gd name="T52" fmla="*/ 371 w 976"/>
                <a:gd name="T53" fmla="*/ 336 h 2396"/>
                <a:gd name="T54" fmla="*/ 397 w 976"/>
                <a:gd name="T55" fmla="*/ 290 h 2396"/>
                <a:gd name="T56" fmla="*/ 420 w 976"/>
                <a:gd name="T57" fmla="*/ 243 h 2396"/>
                <a:gd name="T58" fmla="*/ 440 w 976"/>
                <a:gd name="T59" fmla="*/ 195 h 2396"/>
                <a:gd name="T60" fmla="*/ 455 w 976"/>
                <a:gd name="T61" fmla="*/ 147 h 2396"/>
                <a:gd name="T62" fmla="*/ 468 w 976"/>
                <a:gd name="T63" fmla="*/ 98 h 2396"/>
                <a:gd name="T64" fmla="*/ 477 w 976"/>
                <a:gd name="T65" fmla="*/ 49 h 2396"/>
                <a:gd name="T66" fmla="*/ 483 w 976"/>
                <a:gd name="T67" fmla="*/ 0 h 2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76" h="2396">
                  <a:moveTo>
                    <a:pt x="483" y="0"/>
                  </a:moveTo>
                  <a:lnTo>
                    <a:pt x="483" y="0"/>
                  </a:lnTo>
                  <a:lnTo>
                    <a:pt x="900" y="1177"/>
                  </a:lnTo>
                  <a:lnTo>
                    <a:pt x="900" y="1177"/>
                  </a:lnTo>
                  <a:lnTo>
                    <a:pt x="917" y="1228"/>
                  </a:lnTo>
                  <a:lnTo>
                    <a:pt x="933" y="1278"/>
                  </a:lnTo>
                  <a:lnTo>
                    <a:pt x="945" y="1327"/>
                  </a:lnTo>
                  <a:lnTo>
                    <a:pt x="955" y="1376"/>
                  </a:lnTo>
                  <a:lnTo>
                    <a:pt x="964" y="1423"/>
                  </a:lnTo>
                  <a:lnTo>
                    <a:pt x="970" y="1469"/>
                  </a:lnTo>
                  <a:lnTo>
                    <a:pt x="974" y="1514"/>
                  </a:lnTo>
                  <a:lnTo>
                    <a:pt x="976" y="1559"/>
                  </a:lnTo>
                  <a:lnTo>
                    <a:pt x="976" y="1603"/>
                  </a:lnTo>
                  <a:lnTo>
                    <a:pt x="974" y="1645"/>
                  </a:lnTo>
                  <a:lnTo>
                    <a:pt x="970" y="1687"/>
                  </a:lnTo>
                  <a:lnTo>
                    <a:pt x="965" y="1729"/>
                  </a:lnTo>
                  <a:lnTo>
                    <a:pt x="957" y="1769"/>
                  </a:lnTo>
                  <a:lnTo>
                    <a:pt x="947" y="1808"/>
                  </a:lnTo>
                  <a:lnTo>
                    <a:pt x="936" y="1847"/>
                  </a:lnTo>
                  <a:lnTo>
                    <a:pt x="922" y="1885"/>
                  </a:lnTo>
                  <a:lnTo>
                    <a:pt x="907" y="1922"/>
                  </a:lnTo>
                  <a:lnTo>
                    <a:pt x="890" y="1958"/>
                  </a:lnTo>
                  <a:lnTo>
                    <a:pt x="871" y="1994"/>
                  </a:lnTo>
                  <a:lnTo>
                    <a:pt x="852" y="2029"/>
                  </a:lnTo>
                  <a:lnTo>
                    <a:pt x="829" y="2062"/>
                  </a:lnTo>
                  <a:lnTo>
                    <a:pt x="806" y="2096"/>
                  </a:lnTo>
                  <a:lnTo>
                    <a:pt x="780" y="2129"/>
                  </a:lnTo>
                  <a:lnTo>
                    <a:pt x="753" y="2161"/>
                  </a:lnTo>
                  <a:lnTo>
                    <a:pt x="725" y="2193"/>
                  </a:lnTo>
                  <a:lnTo>
                    <a:pt x="695" y="2223"/>
                  </a:lnTo>
                  <a:lnTo>
                    <a:pt x="663" y="2253"/>
                  </a:lnTo>
                  <a:lnTo>
                    <a:pt x="631" y="2283"/>
                  </a:lnTo>
                  <a:lnTo>
                    <a:pt x="597" y="2311"/>
                  </a:lnTo>
                  <a:lnTo>
                    <a:pt x="560" y="2340"/>
                  </a:lnTo>
                  <a:lnTo>
                    <a:pt x="524" y="2368"/>
                  </a:lnTo>
                  <a:lnTo>
                    <a:pt x="486" y="2396"/>
                  </a:lnTo>
                  <a:lnTo>
                    <a:pt x="486" y="2396"/>
                  </a:lnTo>
                  <a:lnTo>
                    <a:pt x="0" y="726"/>
                  </a:lnTo>
                  <a:lnTo>
                    <a:pt x="0" y="726"/>
                  </a:lnTo>
                  <a:lnTo>
                    <a:pt x="53" y="686"/>
                  </a:lnTo>
                  <a:lnTo>
                    <a:pt x="103" y="645"/>
                  </a:lnTo>
                  <a:lnTo>
                    <a:pt x="150" y="603"/>
                  </a:lnTo>
                  <a:lnTo>
                    <a:pt x="173" y="582"/>
                  </a:lnTo>
                  <a:lnTo>
                    <a:pt x="194" y="560"/>
                  </a:lnTo>
                  <a:lnTo>
                    <a:pt x="215" y="538"/>
                  </a:lnTo>
                  <a:lnTo>
                    <a:pt x="236" y="516"/>
                  </a:lnTo>
                  <a:lnTo>
                    <a:pt x="256" y="494"/>
                  </a:lnTo>
                  <a:lnTo>
                    <a:pt x="275" y="472"/>
                  </a:lnTo>
                  <a:lnTo>
                    <a:pt x="292" y="450"/>
                  </a:lnTo>
                  <a:lnTo>
                    <a:pt x="310" y="427"/>
                  </a:lnTo>
                  <a:lnTo>
                    <a:pt x="326" y="405"/>
                  </a:lnTo>
                  <a:lnTo>
                    <a:pt x="342" y="382"/>
                  </a:lnTo>
                  <a:lnTo>
                    <a:pt x="358" y="359"/>
                  </a:lnTo>
                  <a:lnTo>
                    <a:pt x="371" y="336"/>
                  </a:lnTo>
                  <a:lnTo>
                    <a:pt x="385" y="313"/>
                  </a:lnTo>
                  <a:lnTo>
                    <a:pt x="397" y="290"/>
                  </a:lnTo>
                  <a:lnTo>
                    <a:pt x="410" y="266"/>
                  </a:lnTo>
                  <a:lnTo>
                    <a:pt x="420" y="243"/>
                  </a:lnTo>
                  <a:lnTo>
                    <a:pt x="430" y="219"/>
                  </a:lnTo>
                  <a:lnTo>
                    <a:pt x="440" y="195"/>
                  </a:lnTo>
                  <a:lnTo>
                    <a:pt x="448" y="171"/>
                  </a:lnTo>
                  <a:lnTo>
                    <a:pt x="455" y="147"/>
                  </a:lnTo>
                  <a:lnTo>
                    <a:pt x="463" y="123"/>
                  </a:lnTo>
                  <a:lnTo>
                    <a:pt x="468" y="98"/>
                  </a:lnTo>
                  <a:lnTo>
                    <a:pt x="473" y="74"/>
                  </a:lnTo>
                  <a:lnTo>
                    <a:pt x="477" y="49"/>
                  </a:lnTo>
                  <a:lnTo>
                    <a:pt x="480" y="25"/>
                  </a:lnTo>
                  <a:lnTo>
                    <a:pt x="48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4" name="Freeform 136"/>
            <p:cNvSpPr>
              <a:spLocks noEditPoints="1"/>
            </p:cNvSpPr>
            <p:nvPr/>
          </p:nvSpPr>
          <p:spPr bwMode="auto">
            <a:xfrm flipH="1">
              <a:off x="1469183" y="4273360"/>
              <a:ext cx="1145600" cy="401165"/>
            </a:xfrm>
            <a:custGeom>
              <a:avLst/>
              <a:gdLst>
                <a:gd name="T0" fmla="*/ 0 w 6217"/>
                <a:gd name="T1" fmla="*/ 1515 h 2799"/>
                <a:gd name="T2" fmla="*/ 18 w 6217"/>
                <a:gd name="T3" fmla="*/ 1614 h 2799"/>
                <a:gd name="T4" fmla="*/ 51 w 6217"/>
                <a:gd name="T5" fmla="*/ 1712 h 2799"/>
                <a:gd name="T6" fmla="*/ 102 w 6217"/>
                <a:gd name="T7" fmla="*/ 1806 h 2799"/>
                <a:gd name="T8" fmla="*/ 166 w 6217"/>
                <a:gd name="T9" fmla="*/ 1898 h 2799"/>
                <a:gd name="T10" fmla="*/ 246 w 6217"/>
                <a:gd name="T11" fmla="*/ 1988 h 2799"/>
                <a:gd name="T12" fmla="*/ 341 w 6217"/>
                <a:gd name="T13" fmla="*/ 2073 h 2799"/>
                <a:gd name="T14" fmla="*/ 449 w 6217"/>
                <a:gd name="T15" fmla="*/ 2156 h 2799"/>
                <a:gd name="T16" fmla="*/ 570 w 6217"/>
                <a:gd name="T17" fmla="*/ 2235 h 2799"/>
                <a:gd name="T18" fmla="*/ 1050 w 6217"/>
                <a:gd name="T19" fmla="*/ 578 h 2799"/>
                <a:gd name="T20" fmla="*/ 842 w 6217"/>
                <a:gd name="T21" fmla="*/ 439 h 2799"/>
                <a:gd name="T22" fmla="*/ 757 w 6217"/>
                <a:gd name="T23" fmla="*/ 365 h 2799"/>
                <a:gd name="T24" fmla="*/ 684 w 6217"/>
                <a:gd name="T25" fmla="*/ 288 h 2799"/>
                <a:gd name="T26" fmla="*/ 624 w 6217"/>
                <a:gd name="T27" fmla="*/ 209 h 2799"/>
                <a:gd name="T28" fmla="*/ 578 w 6217"/>
                <a:gd name="T29" fmla="*/ 127 h 2799"/>
                <a:gd name="T30" fmla="*/ 546 w 6217"/>
                <a:gd name="T31" fmla="*/ 42 h 2799"/>
                <a:gd name="T32" fmla="*/ 3108 w 6217"/>
                <a:gd name="T33" fmla="*/ 2799 h 2799"/>
                <a:gd name="T34" fmla="*/ 2870 w 6217"/>
                <a:gd name="T35" fmla="*/ 2795 h 2799"/>
                <a:gd name="T36" fmla="*/ 2559 w 6217"/>
                <a:gd name="T37" fmla="*/ 2779 h 2799"/>
                <a:gd name="T38" fmla="*/ 2259 w 6217"/>
                <a:gd name="T39" fmla="*/ 2748 h 2799"/>
                <a:gd name="T40" fmla="*/ 1971 w 6217"/>
                <a:gd name="T41" fmla="*/ 2707 h 2799"/>
                <a:gd name="T42" fmla="*/ 1697 w 6217"/>
                <a:gd name="T43" fmla="*/ 2653 h 2799"/>
                <a:gd name="T44" fmla="*/ 1437 w 6217"/>
                <a:gd name="T45" fmla="*/ 2590 h 2799"/>
                <a:gd name="T46" fmla="*/ 1193 w 6217"/>
                <a:gd name="T47" fmla="*/ 2516 h 2799"/>
                <a:gd name="T48" fmla="*/ 968 w 6217"/>
                <a:gd name="T49" fmla="*/ 2432 h 2799"/>
                <a:gd name="T50" fmla="*/ 1339 w 6217"/>
                <a:gd name="T51" fmla="*/ 716 h 2799"/>
                <a:gd name="T52" fmla="*/ 1474 w 6217"/>
                <a:gd name="T53" fmla="*/ 768 h 2799"/>
                <a:gd name="T54" fmla="*/ 1665 w 6217"/>
                <a:gd name="T55" fmla="*/ 829 h 2799"/>
                <a:gd name="T56" fmla="*/ 1871 w 6217"/>
                <a:gd name="T57" fmla="*/ 883 h 2799"/>
                <a:gd name="T58" fmla="*/ 2087 w 6217"/>
                <a:gd name="T59" fmla="*/ 928 h 2799"/>
                <a:gd name="T60" fmla="*/ 2315 w 6217"/>
                <a:gd name="T61" fmla="*/ 966 h 2799"/>
                <a:gd name="T62" fmla="*/ 2553 w 6217"/>
                <a:gd name="T63" fmla="*/ 994 h 2799"/>
                <a:gd name="T64" fmla="*/ 2799 w 6217"/>
                <a:gd name="T65" fmla="*/ 1011 h 2799"/>
                <a:gd name="T66" fmla="*/ 3052 w 6217"/>
                <a:gd name="T67" fmla="*/ 1020 h 2799"/>
                <a:gd name="T68" fmla="*/ 3329 w 6217"/>
                <a:gd name="T69" fmla="*/ 1016 h 2799"/>
                <a:gd name="T70" fmla="*/ 3737 w 6217"/>
                <a:gd name="T71" fmla="*/ 987 h 2799"/>
                <a:gd name="T72" fmla="*/ 4107 w 6217"/>
                <a:gd name="T73" fmla="*/ 2728 h 2799"/>
                <a:gd name="T74" fmla="*/ 3746 w 6217"/>
                <a:gd name="T75" fmla="*/ 2771 h 2799"/>
                <a:gd name="T76" fmla="*/ 3238 w 6217"/>
                <a:gd name="T77" fmla="*/ 2798 h 2799"/>
                <a:gd name="T78" fmla="*/ 5794 w 6217"/>
                <a:gd name="T79" fmla="*/ 2138 h 2799"/>
                <a:gd name="T80" fmla="*/ 5386 w 6217"/>
                <a:gd name="T81" fmla="*/ 442 h 2799"/>
                <a:gd name="T82" fmla="*/ 5509 w 6217"/>
                <a:gd name="T83" fmla="*/ 333 h 2799"/>
                <a:gd name="T84" fmla="*/ 5603 w 6217"/>
                <a:gd name="T85" fmla="*/ 217 h 2799"/>
                <a:gd name="T86" fmla="*/ 5668 w 6217"/>
                <a:gd name="T87" fmla="*/ 97 h 2799"/>
                <a:gd name="T88" fmla="*/ 6217 w 6217"/>
                <a:gd name="T89" fmla="*/ 1522 h 2799"/>
                <a:gd name="T90" fmla="*/ 6208 w 6217"/>
                <a:gd name="T91" fmla="*/ 1584 h 2799"/>
                <a:gd name="T92" fmla="*/ 6184 w 6217"/>
                <a:gd name="T93" fmla="*/ 1667 h 2799"/>
                <a:gd name="T94" fmla="*/ 6149 w 6217"/>
                <a:gd name="T95" fmla="*/ 1747 h 2799"/>
                <a:gd name="T96" fmla="*/ 6104 w 6217"/>
                <a:gd name="T97" fmla="*/ 1826 h 2799"/>
                <a:gd name="T98" fmla="*/ 5997 w 6217"/>
                <a:gd name="T99" fmla="*/ 1960 h 2799"/>
                <a:gd name="T100" fmla="*/ 5839 w 6217"/>
                <a:gd name="T101" fmla="*/ 2103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17" h="2799">
                  <a:moveTo>
                    <a:pt x="535" y="0"/>
                  </a:moveTo>
                  <a:lnTo>
                    <a:pt x="535" y="0"/>
                  </a:lnTo>
                  <a:lnTo>
                    <a:pt x="0" y="1515"/>
                  </a:lnTo>
                  <a:lnTo>
                    <a:pt x="0" y="1515"/>
                  </a:lnTo>
                  <a:lnTo>
                    <a:pt x="2" y="1540"/>
                  </a:lnTo>
                  <a:lnTo>
                    <a:pt x="6" y="1565"/>
                  </a:lnTo>
                  <a:lnTo>
                    <a:pt x="11" y="1590"/>
                  </a:lnTo>
                  <a:lnTo>
                    <a:pt x="18" y="1614"/>
                  </a:lnTo>
                  <a:lnTo>
                    <a:pt x="24" y="1639"/>
                  </a:lnTo>
                  <a:lnTo>
                    <a:pt x="32" y="1663"/>
                  </a:lnTo>
                  <a:lnTo>
                    <a:pt x="41" y="1688"/>
                  </a:lnTo>
                  <a:lnTo>
                    <a:pt x="51" y="1712"/>
                  </a:lnTo>
                  <a:lnTo>
                    <a:pt x="62" y="1736"/>
                  </a:lnTo>
                  <a:lnTo>
                    <a:pt x="75" y="1759"/>
                  </a:lnTo>
                  <a:lnTo>
                    <a:pt x="87" y="1782"/>
                  </a:lnTo>
                  <a:lnTo>
                    <a:pt x="102" y="1806"/>
                  </a:lnTo>
                  <a:lnTo>
                    <a:pt x="116" y="1829"/>
                  </a:lnTo>
                  <a:lnTo>
                    <a:pt x="132" y="1852"/>
                  </a:lnTo>
                  <a:lnTo>
                    <a:pt x="148" y="1875"/>
                  </a:lnTo>
                  <a:lnTo>
                    <a:pt x="166" y="1898"/>
                  </a:lnTo>
                  <a:lnTo>
                    <a:pt x="185" y="1921"/>
                  </a:lnTo>
                  <a:lnTo>
                    <a:pt x="205" y="1943"/>
                  </a:lnTo>
                  <a:lnTo>
                    <a:pt x="225" y="1966"/>
                  </a:lnTo>
                  <a:lnTo>
                    <a:pt x="246" y="1988"/>
                  </a:lnTo>
                  <a:lnTo>
                    <a:pt x="269" y="2010"/>
                  </a:lnTo>
                  <a:lnTo>
                    <a:pt x="292" y="2031"/>
                  </a:lnTo>
                  <a:lnTo>
                    <a:pt x="316" y="2052"/>
                  </a:lnTo>
                  <a:lnTo>
                    <a:pt x="341" y="2073"/>
                  </a:lnTo>
                  <a:lnTo>
                    <a:pt x="367" y="2095"/>
                  </a:lnTo>
                  <a:lnTo>
                    <a:pt x="393" y="2115"/>
                  </a:lnTo>
                  <a:lnTo>
                    <a:pt x="421" y="2136"/>
                  </a:lnTo>
                  <a:lnTo>
                    <a:pt x="449" y="2156"/>
                  </a:lnTo>
                  <a:lnTo>
                    <a:pt x="478" y="2176"/>
                  </a:lnTo>
                  <a:lnTo>
                    <a:pt x="507" y="2196"/>
                  </a:lnTo>
                  <a:lnTo>
                    <a:pt x="570" y="2235"/>
                  </a:lnTo>
                  <a:lnTo>
                    <a:pt x="570" y="2235"/>
                  </a:lnTo>
                  <a:lnTo>
                    <a:pt x="863" y="1349"/>
                  </a:lnTo>
                  <a:lnTo>
                    <a:pt x="1109" y="610"/>
                  </a:lnTo>
                  <a:lnTo>
                    <a:pt x="1109" y="610"/>
                  </a:lnTo>
                  <a:lnTo>
                    <a:pt x="1050" y="578"/>
                  </a:lnTo>
                  <a:lnTo>
                    <a:pt x="994" y="545"/>
                  </a:lnTo>
                  <a:lnTo>
                    <a:pt x="941" y="510"/>
                  </a:lnTo>
                  <a:lnTo>
                    <a:pt x="890" y="476"/>
                  </a:lnTo>
                  <a:lnTo>
                    <a:pt x="842" y="439"/>
                  </a:lnTo>
                  <a:lnTo>
                    <a:pt x="820" y="422"/>
                  </a:lnTo>
                  <a:lnTo>
                    <a:pt x="798" y="403"/>
                  </a:lnTo>
                  <a:lnTo>
                    <a:pt x="776" y="384"/>
                  </a:lnTo>
                  <a:lnTo>
                    <a:pt x="757" y="365"/>
                  </a:lnTo>
                  <a:lnTo>
                    <a:pt x="737" y="347"/>
                  </a:lnTo>
                  <a:lnTo>
                    <a:pt x="718" y="328"/>
                  </a:lnTo>
                  <a:lnTo>
                    <a:pt x="701" y="308"/>
                  </a:lnTo>
                  <a:lnTo>
                    <a:pt x="684" y="288"/>
                  </a:lnTo>
                  <a:lnTo>
                    <a:pt x="667" y="269"/>
                  </a:lnTo>
                  <a:lnTo>
                    <a:pt x="652" y="250"/>
                  </a:lnTo>
                  <a:lnTo>
                    <a:pt x="637" y="229"/>
                  </a:lnTo>
                  <a:lnTo>
                    <a:pt x="624" y="209"/>
                  </a:lnTo>
                  <a:lnTo>
                    <a:pt x="611" y="188"/>
                  </a:lnTo>
                  <a:lnTo>
                    <a:pt x="599" y="168"/>
                  </a:lnTo>
                  <a:lnTo>
                    <a:pt x="587" y="148"/>
                  </a:lnTo>
                  <a:lnTo>
                    <a:pt x="578" y="127"/>
                  </a:lnTo>
                  <a:lnTo>
                    <a:pt x="569" y="106"/>
                  </a:lnTo>
                  <a:lnTo>
                    <a:pt x="560" y="85"/>
                  </a:lnTo>
                  <a:lnTo>
                    <a:pt x="553" y="64"/>
                  </a:lnTo>
                  <a:lnTo>
                    <a:pt x="546" y="42"/>
                  </a:lnTo>
                  <a:lnTo>
                    <a:pt x="540" y="22"/>
                  </a:lnTo>
                  <a:lnTo>
                    <a:pt x="535" y="0"/>
                  </a:lnTo>
                  <a:lnTo>
                    <a:pt x="535" y="0"/>
                  </a:lnTo>
                  <a:close/>
                  <a:moveTo>
                    <a:pt x="3108" y="2799"/>
                  </a:moveTo>
                  <a:lnTo>
                    <a:pt x="3108" y="2799"/>
                  </a:lnTo>
                  <a:lnTo>
                    <a:pt x="3028" y="2798"/>
                  </a:lnTo>
                  <a:lnTo>
                    <a:pt x="2949" y="2797"/>
                  </a:lnTo>
                  <a:lnTo>
                    <a:pt x="2870" y="2795"/>
                  </a:lnTo>
                  <a:lnTo>
                    <a:pt x="2791" y="2792"/>
                  </a:lnTo>
                  <a:lnTo>
                    <a:pt x="2713" y="2788"/>
                  </a:lnTo>
                  <a:lnTo>
                    <a:pt x="2636" y="2784"/>
                  </a:lnTo>
                  <a:lnTo>
                    <a:pt x="2559" y="2779"/>
                  </a:lnTo>
                  <a:lnTo>
                    <a:pt x="2484" y="2772"/>
                  </a:lnTo>
                  <a:lnTo>
                    <a:pt x="2408" y="2765"/>
                  </a:lnTo>
                  <a:lnTo>
                    <a:pt x="2334" y="2758"/>
                  </a:lnTo>
                  <a:lnTo>
                    <a:pt x="2259" y="2748"/>
                  </a:lnTo>
                  <a:lnTo>
                    <a:pt x="2186" y="2739"/>
                  </a:lnTo>
                  <a:lnTo>
                    <a:pt x="2113" y="2730"/>
                  </a:lnTo>
                  <a:lnTo>
                    <a:pt x="2042" y="2718"/>
                  </a:lnTo>
                  <a:lnTo>
                    <a:pt x="1971" y="2707"/>
                  </a:lnTo>
                  <a:lnTo>
                    <a:pt x="1901" y="2694"/>
                  </a:lnTo>
                  <a:lnTo>
                    <a:pt x="1832" y="2682"/>
                  </a:lnTo>
                  <a:lnTo>
                    <a:pt x="1764" y="2668"/>
                  </a:lnTo>
                  <a:lnTo>
                    <a:pt x="1697" y="2653"/>
                  </a:lnTo>
                  <a:lnTo>
                    <a:pt x="1630" y="2639"/>
                  </a:lnTo>
                  <a:lnTo>
                    <a:pt x="1564" y="2623"/>
                  </a:lnTo>
                  <a:lnTo>
                    <a:pt x="1500" y="2607"/>
                  </a:lnTo>
                  <a:lnTo>
                    <a:pt x="1437" y="2590"/>
                  </a:lnTo>
                  <a:lnTo>
                    <a:pt x="1374" y="2572"/>
                  </a:lnTo>
                  <a:lnTo>
                    <a:pt x="1313" y="2553"/>
                  </a:lnTo>
                  <a:lnTo>
                    <a:pt x="1253" y="2535"/>
                  </a:lnTo>
                  <a:lnTo>
                    <a:pt x="1193" y="2516"/>
                  </a:lnTo>
                  <a:lnTo>
                    <a:pt x="1135" y="2495"/>
                  </a:lnTo>
                  <a:lnTo>
                    <a:pt x="1078" y="2475"/>
                  </a:lnTo>
                  <a:lnTo>
                    <a:pt x="1022" y="2453"/>
                  </a:lnTo>
                  <a:lnTo>
                    <a:pt x="968" y="2432"/>
                  </a:lnTo>
                  <a:lnTo>
                    <a:pt x="914" y="2410"/>
                  </a:lnTo>
                  <a:lnTo>
                    <a:pt x="914" y="2410"/>
                  </a:lnTo>
                  <a:lnTo>
                    <a:pt x="1144" y="1489"/>
                  </a:lnTo>
                  <a:lnTo>
                    <a:pt x="1339" y="716"/>
                  </a:lnTo>
                  <a:lnTo>
                    <a:pt x="1339" y="716"/>
                  </a:lnTo>
                  <a:lnTo>
                    <a:pt x="1384" y="733"/>
                  </a:lnTo>
                  <a:lnTo>
                    <a:pt x="1428" y="751"/>
                  </a:lnTo>
                  <a:lnTo>
                    <a:pt x="1474" y="768"/>
                  </a:lnTo>
                  <a:lnTo>
                    <a:pt x="1521" y="783"/>
                  </a:lnTo>
                  <a:lnTo>
                    <a:pt x="1568" y="799"/>
                  </a:lnTo>
                  <a:lnTo>
                    <a:pt x="1616" y="814"/>
                  </a:lnTo>
                  <a:lnTo>
                    <a:pt x="1665" y="829"/>
                  </a:lnTo>
                  <a:lnTo>
                    <a:pt x="1716" y="843"/>
                  </a:lnTo>
                  <a:lnTo>
                    <a:pt x="1766" y="857"/>
                  </a:lnTo>
                  <a:lnTo>
                    <a:pt x="1818" y="870"/>
                  </a:lnTo>
                  <a:lnTo>
                    <a:pt x="1871" y="883"/>
                  </a:lnTo>
                  <a:lnTo>
                    <a:pt x="1924" y="895"/>
                  </a:lnTo>
                  <a:lnTo>
                    <a:pt x="1978" y="906"/>
                  </a:lnTo>
                  <a:lnTo>
                    <a:pt x="2032" y="918"/>
                  </a:lnTo>
                  <a:lnTo>
                    <a:pt x="2087" y="928"/>
                  </a:lnTo>
                  <a:lnTo>
                    <a:pt x="2144" y="938"/>
                  </a:lnTo>
                  <a:lnTo>
                    <a:pt x="2201" y="948"/>
                  </a:lnTo>
                  <a:lnTo>
                    <a:pt x="2258" y="957"/>
                  </a:lnTo>
                  <a:lnTo>
                    <a:pt x="2315" y="966"/>
                  </a:lnTo>
                  <a:lnTo>
                    <a:pt x="2374" y="973"/>
                  </a:lnTo>
                  <a:lnTo>
                    <a:pt x="2433" y="980"/>
                  </a:lnTo>
                  <a:lnTo>
                    <a:pt x="2493" y="987"/>
                  </a:lnTo>
                  <a:lnTo>
                    <a:pt x="2553" y="994"/>
                  </a:lnTo>
                  <a:lnTo>
                    <a:pt x="2613" y="999"/>
                  </a:lnTo>
                  <a:lnTo>
                    <a:pt x="2675" y="1004"/>
                  </a:lnTo>
                  <a:lnTo>
                    <a:pt x="2736" y="1008"/>
                  </a:lnTo>
                  <a:lnTo>
                    <a:pt x="2799" y="1011"/>
                  </a:lnTo>
                  <a:lnTo>
                    <a:pt x="2861" y="1014"/>
                  </a:lnTo>
                  <a:lnTo>
                    <a:pt x="2924" y="1017"/>
                  </a:lnTo>
                  <a:lnTo>
                    <a:pt x="2988" y="1019"/>
                  </a:lnTo>
                  <a:lnTo>
                    <a:pt x="3052" y="1020"/>
                  </a:lnTo>
                  <a:lnTo>
                    <a:pt x="3117" y="1020"/>
                  </a:lnTo>
                  <a:lnTo>
                    <a:pt x="3117" y="1020"/>
                  </a:lnTo>
                  <a:lnTo>
                    <a:pt x="3223" y="1019"/>
                  </a:lnTo>
                  <a:lnTo>
                    <a:pt x="3329" y="1016"/>
                  </a:lnTo>
                  <a:lnTo>
                    <a:pt x="3433" y="1011"/>
                  </a:lnTo>
                  <a:lnTo>
                    <a:pt x="3536" y="1005"/>
                  </a:lnTo>
                  <a:lnTo>
                    <a:pt x="3638" y="997"/>
                  </a:lnTo>
                  <a:lnTo>
                    <a:pt x="3737" y="987"/>
                  </a:lnTo>
                  <a:lnTo>
                    <a:pt x="3836" y="976"/>
                  </a:lnTo>
                  <a:lnTo>
                    <a:pt x="3934" y="963"/>
                  </a:lnTo>
                  <a:lnTo>
                    <a:pt x="3934" y="963"/>
                  </a:lnTo>
                  <a:lnTo>
                    <a:pt x="4107" y="2728"/>
                  </a:lnTo>
                  <a:lnTo>
                    <a:pt x="4107" y="2728"/>
                  </a:lnTo>
                  <a:lnTo>
                    <a:pt x="3989" y="2745"/>
                  </a:lnTo>
                  <a:lnTo>
                    <a:pt x="3868" y="2759"/>
                  </a:lnTo>
                  <a:lnTo>
                    <a:pt x="3746" y="2771"/>
                  </a:lnTo>
                  <a:lnTo>
                    <a:pt x="3621" y="2781"/>
                  </a:lnTo>
                  <a:lnTo>
                    <a:pt x="3495" y="2789"/>
                  </a:lnTo>
                  <a:lnTo>
                    <a:pt x="3368" y="2794"/>
                  </a:lnTo>
                  <a:lnTo>
                    <a:pt x="3238" y="2798"/>
                  </a:lnTo>
                  <a:lnTo>
                    <a:pt x="3108" y="2799"/>
                  </a:lnTo>
                  <a:lnTo>
                    <a:pt x="3108" y="2799"/>
                  </a:lnTo>
                  <a:close/>
                  <a:moveTo>
                    <a:pt x="5794" y="2138"/>
                  </a:moveTo>
                  <a:lnTo>
                    <a:pt x="5794" y="2138"/>
                  </a:lnTo>
                  <a:lnTo>
                    <a:pt x="5315" y="495"/>
                  </a:lnTo>
                  <a:lnTo>
                    <a:pt x="5315" y="495"/>
                  </a:lnTo>
                  <a:lnTo>
                    <a:pt x="5352" y="469"/>
                  </a:lnTo>
                  <a:lnTo>
                    <a:pt x="5386" y="442"/>
                  </a:lnTo>
                  <a:lnTo>
                    <a:pt x="5419" y="415"/>
                  </a:lnTo>
                  <a:lnTo>
                    <a:pt x="5451" y="388"/>
                  </a:lnTo>
                  <a:lnTo>
                    <a:pt x="5481" y="361"/>
                  </a:lnTo>
                  <a:lnTo>
                    <a:pt x="5509" y="333"/>
                  </a:lnTo>
                  <a:lnTo>
                    <a:pt x="5535" y="305"/>
                  </a:lnTo>
                  <a:lnTo>
                    <a:pt x="5560" y="276"/>
                  </a:lnTo>
                  <a:lnTo>
                    <a:pt x="5583" y="247"/>
                  </a:lnTo>
                  <a:lnTo>
                    <a:pt x="5603" y="217"/>
                  </a:lnTo>
                  <a:lnTo>
                    <a:pt x="5622" y="188"/>
                  </a:lnTo>
                  <a:lnTo>
                    <a:pt x="5640" y="158"/>
                  </a:lnTo>
                  <a:lnTo>
                    <a:pt x="5654" y="128"/>
                  </a:lnTo>
                  <a:lnTo>
                    <a:pt x="5668" y="97"/>
                  </a:lnTo>
                  <a:lnTo>
                    <a:pt x="5679" y="65"/>
                  </a:lnTo>
                  <a:lnTo>
                    <a:pt x="5689" y="34"/>
                  </a:lnTo>
                  <a:lnTo>
                    <a:pt x="5689" y="34"/>
                  </a:lnTo>
                  <a:lnTo>
                    <a:pt x="6217" y="1522"/>
                  </a:lnTo>
                  <a:lnTo>
                    <a:pt x="6217" y="1522"/>
                  </a:lnTo>
                  <a:lnTo>
                    <a:pt x="6215" y="1543"/>
                  </a:lnTo>
                  <a:lnTo>
                    <a:pt x="6211" y="1564"/>
                  </a:lnTo>
                  <a:lnTo>
                    <a:pt x="6208" y="1584"/>
                  </a:lnTo>
                  <a:lnTo>
                    <a:pt x="6202" y="1605"/>
                  </a:lnTo>
                  <a:lnTo>
                    <a:pt x="6197" y="1625"/>
                  </a:lnTo>
                  <a:lnTo>
                    <a:pt x="6191" y="1646"/>
                  </a:lnTo>
                  <a:lnTo>
                    <a:pt x="6184" y="1667"/>
                  </a:lnTo>
                  <a:lnTo>
                    <a:pt x="6176" y="1687"/>
                  </a:lnTo>
                  <a:lnTo>
                    <a:pt x="6168" y="1707"/>
                  </a:lnTo>
                  <a:lnTo>
                    <a:pt x="6159" y="1727"/>
                  </a:lnTo>
                  <a:lnTo>
                    <a:pt x="6149" y="1747"/>
                  </a:lnTo>
                  <a:lnTo>
                    <a:pt x="6139" y="1767"/>
                  </a:lnTo>
                  <a:lnTo>
                    <a:pt x="6127" y="1787"/>
                  </a:lnTo>
                  <a:lnTo>
                    <a:pt x="6116" y="1806"/>
                  </a:lnTo>
                  <a:lnTo>
                    <a:pt x="6104" y="1826"/>
                  </a:lnTo>
                  <a:lnTo>
                    <a:pt x="6090" y="1845"/>
                  </a:lnTo>
                  <a:lnTo>
                    <a:pt x="6062" y="1883"/>
                  </a:lnTo>
                  <a:lnTo>
                    <a:pt x="6031" y="1922"/>
                  </a:lnTo>
                  <a:lnTo>
                    <a:pt x="5997" y="1960"/>
                  </a:lnTo>
                  <a:lnTo>
                    <a:pt x="5961" y="1996"/>
                  </a:lnTo>
                  <a:lnTo>
                    <a:pt x="5923" y="2032"/>
                  </a:lnTo>
                  <a:lnTo>
                    <a:pt x="5882" y="2068"/>
                  </a:lnTo>
                  <a:lnTo>
                    <a:pt x="5839" y="2103"/>
                  </a:lnTo>
                  <a:lnTo>
                    <a:pt x="5794" y="2138"/>
                  </a:lnTo>
                  <a:lnTo>
                    <a:pt x="5794" y="2138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5" name="Freeform 137"/>
            <p:cNvSpPr>
              <a:spLocks noEditPoints="1"/>
            </p:cNvSpPr>
            <p:nvPr/>
          </p:nvSpPr>
          <p:spPr bwMode="auto">
            <a:xfrm flipH="1">
              <a:off x="1660116" y="3860587"/>
              <a:ext cx="762443" cy="319899"/>
            </a:xfrm>
            <a:custGeom>
              <a:avLst/>
              <a:gdLst>
                <a:gd name="T0" fmla="*/ 2010 w 4137"/>
                <a:gd name="T1" fmla="*/ 425 h 2224"/>
                <a:gd name="T2" fmla="*/ 1821 w 4137"/>
                <a:gd name="T3" fmla="*/ 418 h 2224"/>
                <a:gd name="T4" fmla="*/ 1638 w 4137"/>
                <a:gd name="T5" fmla="*/ 401 h 2224"/>
                <a:gd name="T6" fmla="*/ 1462 w 4137"/>
                <a:gd name="T7" fmla="*/ 377 h 2224"/>
                <a:gd name="T8" fmla="*/ 1296 w 4137"/>
                <a:gd name="T9" fmla="*/ 346 h 2224"/>
                <a:gd name="T10" fmla="*/ 1139 w 4137"/>
                <a:gd name="T11" fmla="*/ 307 h 2224"/>
                <a:gd name="T12" fmla="*/ 992 w 4137"/>
                <a:gd name="T13" fmla="*/ 261 h 2224"/>
                <a:gd name="T14" fmla="*/ 859 w 4137"/>
                <a:gd name="T15" fmla="*/ 210 h 2224"/>
                <a:gd name="T16" fmla="*/ 738 w 4137"/>
                <a:gd name="T17" fmla="*/ 153 h 2224"/>
                <a:gd name="T18" fmla="*/ 632 w 4137"/>
                <a:gd name="T19" fmla="*/ 91 h 2224"/>
                <a:gd name="T20" fmla="*/ 540 w 4137"/>
                <a:gd name="T21" fmla="*/ 24 h 2224"/>
                <a:gd name="T22" fmla="*/ 0 w 4137"/>
                <a:gd name="T23" fmla="*/ 1445 h 2224"/>
                <a:gd name="T24" fmla="*/ 15 w 4137"/>
                <a:gd name="T25" fmla="*/ 1486 h 2224"/>
                <a:gd name="T26" fmla="*/ 45 w 4137"/>
                <a:gd name="T27" fmla="*/ 1546 h 2224"/>
                <a:gd name="T28" fmla="*/ 85 w 4137"/>
                <a:gd name="T29" fmla="*/ 1605 h 2224"/>
                <a:gd name="T30" fmla="*/ 134 w 4137"/>
                <a:gd name="T31" fmla="*/ 1662 h 2224"/>
                <a:gd name="T32" fmla="*/ 190 w 4137"/>
                <a:gd name="T33" fmla="*/ 1716 h 2224"/>
                <a:gd name="T34" fmla="*/ 255 w 4137"/>
                <a:gd name="T35" fmla="*/ 1769 h 2224"/>
                <a:gd name="T36" fmla="*/ 328 w 4137"/>
                <a:gd name="T37" fmla="*/ 1820 h 2224"/>
                <a:gd name="T38" fmla="*/ 408 w 4137"/>
                <a:gd name="T39" fmla="*/ 1869 h 2224"/>
                <a:gd name="T40" fmla="*/ 558 w 4137"/>
                <a:gd name="T41" fmla="*/ 1944 h 2224"/>
                <a:gd name="T42" fmla="*/ 761 w 4137"/>
                <a:gd name="T43" fmla="*/ 2024 h 2224"/>
                <a:gd name="T44" fmla="*/ 987 w 4137"/>
                <a:gd name="T45" fmla="*/ 2093 h 2224"/>
                <a:gd name="T46" fmla="*/ 1235 w 4137"/>
                <a:gd name="T47" fmla="*/ 2148 h 2224"/>
                <a:gd name="T48" fmla="*/ 1501 w 4137"/>
                <a:gd name="T49" fmla="*/ 2190 h 2224"/>
                <a:gd name="T50" fmla="*/ 1781 w 4137"/>
                <a:gd name="T51" fmla="*/ 2215 h 2224"/>
                <a:gd name="T52" fmla="*/ 2075 w 4137"/>
                <a:gd name="T53" fmla="*/ 2224 h 2224"/>
                <a:gd name="T54" fmla="*/ 2244 w 4137"/>
                <a:gd name="T55" fmla="*/ 2221 h 2224"/>
                <a:gd name="T56" fmla="*/ 2492 w 4137"/>
                <a:gd name="T57" fmla="*/ 2206 h 2224"/>
                <a:gd name="T58" fmla="*/ 2730 w 4137"/>
                <a:gd name="T59" fmla="*/ 2179 h 2224"/>
                <a:gd name="T60" fmla="*/ 2555 w 4137"/>
                <a:gd name="T61" fmla="*/ 396 h 2224"/>
                <a:gd name="T62" fmla="*/ 2379 w 4137"/>
                <a:gd name="T63" fmla="*/ 414 h 2224"/>
                <a:gd name="T64" fmla="*/ 2198 w 4137"/>
                <a:gd name="T65" fmla="*/ 423 h 2224"/>
                <a:gd name="T66" fmla="*/ 2075 w 4137"/>
                <a:gd name="T67" fmla="*/ 425 h 2224"/>
                <a:gd name="T68" fmla="*/ 3348 w 4137"/>
                <a:gd name="T69" fmla="*/ 184 h 2224"/>
                <a:gd name="T70" fmla="*/ 3425 w 4137"/>
                <a:gd name="T71" fmla="*/ 145 h 2224"/>
                <a:gd name="T72" fmla="*/ 3529 w 4137"/>
                <a:gd name="T73" fmla="*/ 83 h 2224"/>
                <a:gd name="T74" fmla="*/ 3617 w 4137"/>
                <a:gd name="T75" fmla="*/ 16 h 2224"/>
                <a:gd name="T76" fmla="*/ 4137 w 4137"/>
                <a:gd name="T77" fmla="*/ 1475 h 2224"/>
                <a:gd name="T78" fmla="*/ 4104 w 4137"/>
                <a:gd name="T79" fmla="*/ 1545 h 2224"/>
                <a:gd name="T80" fmla="*/ 4057 w 4137"/>
                <a:gd name="T81" fmla="*/ 1612 h 2224"/>
                <a:gd name="T82" fmla="*/ 4000 w 4137"/>
                <a:gd name="T83" fmla="*/ 1677 h 2224"/>
                <a:gd name="T84" fmla="*/ 3931 w 4137"/>
                <a:gd name="T85" fmla="*/ 1740 h 2224"/>
                <a:gd name="T86" fmla="*/ 3851 w 4137"/>
                <a:gd name="T87" fmla="*/ 1799 h 2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137" h="2224">
                  <a:moveTo>
                    <a:pt x="2075" y="425"/>
                  </a:moveTo>
                  <a:lnTo>
                    <a:pt x="2075" y="425"/>
                  </a:lnTo>
                  <a:lnTo>
                    <a:pt x="2010" y="425"/>
                  </a:lnTo>
                  <a:lnTo>
                    <a:pt x="1946" y="423"/>
                  </a:lnTo>
                  <a:lnTo>
                    <a:pt x="1883" y="421"/>
                  </a:lnTo>
                  <a:lnTo>
                    <a:pt x="1821" y="418"/>
                  </a:lnTo>
                  <a:lnTo>
                    <a:pt x="1759" y="413"/>
                  </a:lnTo>
                  <a:lnTo>
                    <a:pt x="1698" y="407"/>
                  </a:lnTo>
                  <a:lnTo>
                    <a:pt x="1638" y="401"/>
                  </a:lnTo>
                  <a:lnTo>
                    <a:pt x="1579" y="394"/>
                  </a:lnTo>
                  <a:lnTo>
                    <a:pt x="1519" y="387"/>
                  </a:lnTo>
                  <a:lnTo>
                    <a:pt x="1462" y="377"/>
                  </a:lnTo>
                  <a:lnTo>
                    <a:pt x="1406" y="368"/>
                  </a:lnTo>
                  <a:lnTo>
                    <a:pt x="1350" y="357"/>
                  </a:lnTo>
                  <a:lnTo>
                    <a:pt x="1296" y="346"/>
                  </a:lnTo>
                  <a:lnTo>
                    <a:pt x="1242" y="333"/>
                  </a:lnTo>
                  <a:lnTo>
                    <a:pt x="1190" y="321"/>
                  </a:lnTo>
                  <a:lnTo>
                    <a:pt x="1139" y="307"/>
                  </a:lnTo>
                  <a:lnTo>
                    <a:pt x="1089" y="293"/>
                  </a:lnTo>
                  <a:lnTo>
                    <a:pt x="1040" y="277"/>
                  </a:lnTo>
                  <a:lnTo>
                    <a:pt x="992" y="261"/>
                  </a:lnTo>
                  <a:lnTo>
                    <a:pt x="947" y="245"/>
                  </a:lnTo>
                  <a:lnTo>
                    <a:pt x="902" y="228"/>
                  </a:lnTo>
                  <a:lnTo>
                    <a:pt x="859" y="210"/>
                  </a:lnTo>
                  <a:lnTo>
                    <a:pt x="817" y="192"/>
                  </a:lnTo>
                  <a:lnTo>
                    <a:pt x="777" y="173"/>
                  </a:lnTo>
                  <a:lnTo>
                    <a:pt x="738" y="153"/>
                  </a:lnTo>
                  <a:lnTo>
                    <a:pt x="700" y="133"/>
                  </a:lnTo>
                  <a:lnTo>
                    <a:pt x="665" y="112"/>
                  </a:lnTo>
                  <a:lnTo>
                    <a:pt x="632" y="91"/>
                  </a:lnTo>
                  <a:lnTo>
                    <a:pt x="599" y="69"/>
                  </a:lnTo>
                  <a:lnTo>
                    <a:pt x="568" y="47"/>
                  </a:lnTo>
                  <a:lnTo>
                    <a:pt x="540" y="24"/>
                  </a:lnTo>
                  <a:lnTo>
                    <a:pt x="513" y="0"/>
                  </a:lnTo>
                  <a:lnTo>
                    <a:pt x="513" y="0"/>
                  </a:lnTo>
                  <a:lnTo>
                    <a:pt x="0" y="1445"/>
                  </a:lnTo>
                  <a:lnTo>
                    <a:pt x="0" y="1445"/>
                  </a:lnTo>
                  <a:lnTo>
                    <a:pt x="7" y="1465"/>
                  </a:lnTo>
                  <a:lnTo>
                    <a:pt x="15" y="1486"/>
                  </a:lnTo>
                  <a:lnTo>
                    <a:pt x="24" y="1506"/>
                  </a:lnTo>
                  <a:lnTo>
                    <a:pt x="34" y="1526"/>
                  </a:lnTo>
                  <a:lnTo>
                    <a:pt x="45" y="1546"/>
                  </a:lnTo>
                  <a:lnTo>
                    <a:pt x="58" y="1566"/>
                  </a:lnTo>
                  <a:lnTo>
                    <a:pt x="70" y="1585"/>
                  </a:lnTo>
                  <a:lnTo>
                    <a:pt x="85" y="1605"/>
                  </a:lnTo>
                  <a:lnTo>
                    <a:pt x="100" y="1623"/>
                  </a:lnTo>
                  <a:lnTo>
                    <a:pt x="116" y="1643"/>
                  </a:lnTo>
                  <a:lnTo>
                    <a:pt x="134" y="1662"/>
                  </a:lnTo>
                  <a:lnTo>
                    <a:pt x="151" y="1680"/>
                  </a:lnTo>
                  <a:lnTo>
                    <a:pt x="170" y="1698"/>
                  </a:lnTo>
                  <a:lnTo>
                    <a:pt x="190" y="1716"/>
                  </a:lnTo>
                  <a:lnTo>
                    <a:pt x="211" y="1735"/>
                  </a:lnTo>
                  <a:lnTo>
                    <a:pt x="232" y="1752"/>
                  </a:lnTo>
                  <a:lnTo>
                    <a:pt x="255" y="1769"/>
                  </a:lnTo>
                  <a:lnTo>
                    <a:pt x="278" y="1787"/>
                  </a:lnTo>
                  <a:lnTo>
                    <a:pt x="303" y="1804"/>
                  </a:lnTo>
                  <a:lnTo>
                    <a:pt x="328" y="1820"/>
                  </a:lnTo>
                  <a:lnTo>
                    <a:pt x="354" y="1837"/>
                  </a:lnTo>
                  <a:lnTo>
                    <a:pt x="380" y="1853"/>
                  </a:lnTo>
                  <a:lnTo>
                    <a:pt x="408" y="1869"/>
                  </a:lnTo>
                  <a:lnTo>
                    <a:pt x="436" y="1885"/>
                  </a:lnTo>
                  <a:lnTo>
                    <a:pt x="495" y="1915"/>
                  </a:lnTo>
                  <a:lnTo>
                    <a:pt x="558" y="1944"/>
                  </a:lnTo>
                  <a:lnTo>
                    <a:pt x="622" y="1972"/>
                  </a:lnTo>
                  <a:lnTo>
                    <a:pt x="691" y="1999"/>
                  </a:lnTo>
                  <a:lnTo>
                    <a:pt x="761" y="2024"/>
                  </a:lnTo>
                  <a:lnTo>
                    <a:pt x="834" y="2049"/>
                  </a:lnTo>
                  <a:lnTo>
                    <a:pt x="909" y="2072"/>
                  </a:lnTo>
                  <a:lnTo>
                    <a:pt x="987" y="2093"/>
                  </a:lnTo>
                  <a:lnTo>
                    <a:pt x="1068" y="2113"/>
                  </a:lnTo>
                  <a:lnTo>
                    <a:pt x="1150" y="2132"/>
                  </a:lnTo>
                  <a:lnTo>
                    <a:pt x="1235" y="2148"/>
                  </a:lnTo>
                  <a:lnTo>
                    <a:pt x="1322" y="2164"/>
                  </a:lnTo>
                  <a:lnTo>
                    <a:pt x="1410" y="2178"/>
                  </a:lnTo>
                  <a:lnTo>
                    <a:pt x="1501" y="2190"/>
                  </a:lnTo>
                  <a:lnTo>
                    <a:pt x="1592" y="2201"/>
                  </a:lnTo>
                  <a:lnTo>
                    <a:pt x="1686" y="2209"/>
                  </a:lnTo>
                  <a:lnTo>
                    <a:pt x="1781" y="2215"/>
                  </a:lnTo>
                  <a:lnTo>
                    <a:pt x="1877" y="2220"/>
                  </a:lnTo>
                  <a:lnTo>
                    <a:pt x="1975" y="2223"/>
                  </a:lnTo>
                  <a:lnTo>
                    <a:pt x="2075" y="2224"/>
                  </a:lnTo>
                  <a:lnTo>
                    <a:pt x="2075" y="2224"/>
                  </a:lnTo>
                  <a:lnTo>
                    <a:pt x="2160" y="2223"/>
                  </a:lnTo>
                  <a:lnTo>
                    <a:pt x="2244" y="2221"/>
                  </a:lnTo>
                  <a:lnTo>
                    <a:pt x="2327" y="2217"/>
                  </a:lnTo>
                  <a:lnTo>
                    <a:pt x="2410" y="2213"/>
                  </a:lnTo>
                  <a:lnTo>
                    <a:pt x="2492" y="2206"/>
                  </a:lnTo>
                  <a:lnTo>
                    <a:pt x="2572" y="2198"/>
                  </a:lnTo>
                  <a:lnTo>
                    <a:pt x="2652" y="2189"/>
                  </a:lnTo>
                  <a:lnTo>
                    <a:pt x="2730" y="2179"/>
                  </a:lnTo>
                  <a:lnTo>
                    <a:pt x="2730" y="2179"/>
                  </a:lnTo>
                  <a:lnTo>
                    <a:pt x="2555" y="396"/>
                  </a:lnTo>
                  <a:lnTo>
                    <a:pt x="2555" y="396"/>
                  </a:lnTo>
                  <a:lnTo>
                    <a:pt x="2497" y="402"/>
                  </a:lnTo>
                  <a:lnTo>
                    <a:pt x="2439" y="408"/>
                  </a:lnTo>
                  <a:lnTo>
                    <a:pt x="2379" y="414"/>
                  </a:lnTo>
                  <a:lnTo>
                    <a:pt x="2320" y="418"/>
                  </a:lnTo>
                  <a:lnTo>
                    <a:pt x="2260" y="421"/>
                  </a:lnTo>
                  <a:lnTo>
                    <a:pt x="2198" y="423"/>
                  </a:lnTo>
                  <a:lnTo>
                    <a:pt x="2137" y="425"/>
                  </a:lnTo>
                  <a:lnTo>
                    <a:pt x="2075" y="425"/>
                  </a:lnTo>
                  <a:lnTo>
                    <a:pt x="2075" y="425"/>
                  </a:lnTo>
                  <a:close/>
                  <a:moveTo>
                    <a:pt x="3823" y="1819"/>
                  </a:moveTo>
                  <a:lnTo>
                    <a:pt x="3823" y="1819"/>
                  </a:lnTo>
                  <a:lnTo>
                    <a:pt x="3348" y="184"/>
                  </a:lnTo>
                  <a:lnTo>
                    <a:pt x="3348" y="184"/>
                  </a:lnTo>
                  <a:lnTo>
                    <a:pt x="3388" y="165"/>
                  </a:lnTo>
                  <a:lnTo>
                    <a:pt x="3425" y="145"/>
                  </a:lnTo>
                  <a:lnTo>
                    <a:pt x="3462" y="125"/>
                  </a:lnTo>
                  <a:lnTo>
                    <a:pt x="3496" y="104"/>
                  </a:lnTo>
                  <a:lnTo>
                    <a:pt x="3529" y="83"/>
                  </a:lnTo>
                  <a:lnTo>
                    <a:pt x="3560" y="61"/>
                  </a:lnTo>
                  <a:lnTo>
                    <a:pt x="3589" y="38"/>
                  </a:lnTo>
                  <a:lnTo>
                    <a:pt x="3617" y="16"/>
                  </a:lnTo>
                  <a:lnTo>
                    <a:pt x="3617" y="16"/>
                  </a:lnTo>
                  <a:lnTo>
                    <a:pt x="4137" y="1475"/>
                  </a:lnTo>
                  <a:lnTo>
                    <a:pt x="4137" y="1475"/>
                  </a:lnTo>
                  <a:lnTo>
                    <a:pt x="4128" y="1499"/>
                  </a:lnTo>
                  <a:lnTo>
                    <a:pt x="4117" y="1522"/>
                  </a:lnTo>
                  <a:lnTo>
                    <a:pt x="4104" y="1545"/>
                  </a:lnTo>
                  <a:lnTo>
                    <a:pt x="4089" y="1568"/>
                  </a:lnTo>
                  <a:lnTo>
                    <a:pt x="4074" y="1590"/>
                  </a:lnTo>
                  <a:lnTo>
                    <a:pt x="4057" y="1612"/>
                  </a:lnTo>
                  <a:lnTo>
                    <a:pt x="4040" y="1635"/>
                  </a:lnTo>
                  <a:lnTo>
                    <a:pt x="4021" y="1656"/>
                  </a:lnTo>
                  <a:lnTo>
                    <a:pt x="4000" y="1677"/>
                  </a:lnTo>
                  <a:lnTo>
                    <a:pt x="3978" y="1698"/>
                  </a:lnTo>
                  <a:lnTo>
                    <a:pt x="3955" y="1719"/>
                  </a:lnTo>
                  <a:lnTo>
                    <a:pt x="3931" y="1740"/>
                  </a:lnTo>
                  <a:lnTo>
                    <a:pt x="3905" y="1760"/>
                  </a:lnTo>
                  <a:lnTo>
                    <a:pt x="3879" y="1780"/>
                  </a:lnTo>
                  <a:lnTo>
                    <a:pt x="3851" y="1799"/>
                  </a:lnTo>
                  <a:lnTo>
                    <a:pt x="3823" y="1819"/>
                  </a:lnTo>
                  <a:lnTo>
                    <a:pt x="3823" y="1819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6" name="Freeform 138"/>
            <p:cNvSpPr>
              <a:spLocks/>
            </p:cNvSpPr>
            <p:nvPr/>
          </p:nvSpPr>
          <p:spPr bwMode="auto">
            <a:xfrm flipH="1">
              <a:off x="1596902" y="5116966"/>
              <a:ext cx="1290" cy="0"/>
            </a:xfrm>
            <a:custGeom>
              <a:avLst/>
              <a:gdLst>
                <a:gd name="T0" fmla="*/ 6 w 6"/>
                <a:gd name="T1" fmla="*/ 0 h 2"/>
                <a:gd name="T2" fmla="*/ 6 w 6"/>
                <a:gd name="T3" fmla="*/ 0 h 2"/>
                <a:gd name="T4" fmla="*/ 0 w 6"/>
                <a:gd name="T5" fmla="*/ 2 h 2"/>
                <a:gd name="T6" fmla="*/ 0 w 6"/>
                <a:gd name="T7" fmla="*/ 2 h 2"/>
                <a:gd name="T8" fmla="*/ 6 w 6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0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7" name="Freeform 139"/>
            <p:cNvSpPr>
              <a:spLocks/>
            </p:cNvSpPr>
            <p:nvPr/>
          </p:nvSpPr>
          <p:spPr bwMode="auto">
            <a:xfrm flipH="1">
              <a:off x="1596902" y="5116966"/>
              <a:ext cx="1290" cy="0"/>
            </a:xfrm>
            <a:custGeom>
              <a:avLst/>
              <a:gdLst>
                <a:gd name="T0" fmla="*/ 6 w 6"/>
                <a:gd name="T1" fmla="*/ 0 h 2"/>
                <a:gd name="T2" fmla="*/ 6 w 6"/>
                <a:gd name="T3" fmla="*/ 0 h 2"/>
                <a:gd name="T4" fmla="*/ 0 w 6"/>
                <a:gd name="T5" fmla="*/ 2 h 2"/>
                <a:gd name="T6" fmla="*/ 0 w 6"/>
                <a:gd name="T7" fmla="*/ 2 h 2"/>
                <a:gd name="T8" fmla="*/ 6 w 6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6" y="0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8" name="Freeform 140"/>
            <p:cNvSpPr>
              <a:spLocks/>
            </p:cNvSpPr>
            <p:nvPr/>
          </p:nvSpPr>
          <p:spPr bwMode="auto">
            <a:xfrm flipH="1">
              <a:off x="1373717" y="5042151"/>
              <a:ext cx="0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9" name="Freeform 141"/>
            <p:cNvSpPr>
              <a:spLocks/>
            </p:cNvSpPr>
            <p:nvPr/>
          </p:nvSpPr>
          <p:spPr bwMode="auto">
            <a:xfrm flipH="1">
              <a:off x="1373717" y="5042151"/>
              <a:ext cx="0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0" name="Freeform 142"/>
            <p:cNvSpPr>
              <a:spLocks/>
            </p:cNvSpPr>
            <p:nvPr/>
          </p:nvSpPr>
          <p:spPr bwMode="auto">
            <a:xfrm flipH="1">
              <a:off x="1612383" y="5120836"/>
              <a:ext cx="183193" cy="29668"/>
            </a:xfrm>
            <a:custGeom>
              <a:avLst/>
              <a:gdLst>
                <a:gd name="T0" fmla="*/ 997 w 997"/>
                <a:gd name="T1" fmla="*/ 0 h 210"/>
                <a:gd name="T2" fmla="*/ 997 w 997"/>
                <a:gd name="T3" fmla="*/ 0 h 210"/>
                <a:gd name="T4" fmla="*/ 891 w 997"/>
                <a:gd name="T5" fmla="*/ 30 h 210"/>
                <a:gd name="T6" fmla="*/ 789 w 997"/>
                <a:gd name="T7" fmla="*/ 58 h 210"/>
                <a:gd name="T8" fmla="*/ 692 w 997"/>
                <a:gd name="T9" fmla="*/ 82 h 210"/>
                <a:gd name="T10" fmla="*/ 598 w 997"/>
                <a:gd name="T11" fmla="*/ 105 h 210"/>
                <a:gd name="T12" fmla="*/ 511 w 997"/>
                <a:gd name="T13" fmla="*/ 124 h 210"/>
                <a:gd name="T14" fmla="*/ 428 w 997"/>
                <a:gd name="T15" fmla="*/ 141 h 210"/>
                <a:gd name="T16" fmla="*/ 353 w 997"/>
                <a:gd name="T17" fmla="*/ 156 h 210"/>
                <a:gd name="T18" fmla="*/ 283 w 997"/>
                <a:gd name="T19" fmla="*/ 169 h 210"/>
                <a:gd name="T20" fmla="*/ 220 w 997"/>
                <a:gd name="T21" fmla="*/ 180 h 210"/>
                <a:gd name="T22" fmla="*/ 163 w 997"/>
                <a:gd name="T23" fmla="*/ 188 h 210"/>
                <a:gd name="T24" fmla="*/ 75 w 997"/>
                <a:gd name="T25" fmla="*/ 201 h 210"/>
                <a:gd name="T26" fmla="*/ 19 w 997"/>
                <a:gd name="T27" fmla="*/ 208 h 210"/>
                <a:gd name="T28" fmla="*/ 0 w 997"/>
                <a:gd name="T29" fmla="*/ 210 h 210"/>
                <a:gd name="T30" fmla="*/ 0 w 997"/>
                <a:gd name="T31" fmla="*/ 210 h 210"/>
                <a:gd name="T32" fmla="*/ 120 w 997"/>
                <a:gd name="T33" fmla="*/ 193 h 210"/>
                <a:gd name="T34" fmla="*/ 242 w 997"/>
                <a:gd name="T35" fmla="*/ 173 h 210"/>
                <a:gd name="T36" fmla="*/ 366 w 997"/>
                <a:gd name="T37" fmla="*/ 150 h 210"/>
                <a:gd name="T38" fmla="*/ 491 w 997"/>
                <a:gd name="T39" fmla="*/ 126 h 210"/>
                <a:gd name="T40" fmla="*/ 618 w 997"/>
                <a:gd name="T41" fmla="*/ 98 h 210"/>
                <a:gd name="T42" fmla="*/ 681 w 997"/>
                <a:gd name="T43" fmla="*/ 83 h 210"/>
                <a:gd name="T44" fmla="*/ 745 w 997"/>
                <a:gd name="T45" fmla="*/ 69 h 210"/>
                <a:gd name="T46" fmla="*/ 808 w 997"/>
                <a:gd name="T47" fmla="*/ 52 h 210"/>
                <a:gd name="T48" fmla="*/ 871 w 997"/>
                <a:gd name="T49" fmla="*/ 35 h 210"/>
                <a:gd name="T50" fmla="*/ 934 w 997"/>
                <a:gd name="T51" fmla="*/ 19 h 210"/>
                <a:gd name="T52" fmla="*/ 997 w 997"/>
                <a:gd name="T5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97" h="210">
                  <a:moveTo>
                    <a:pt x="997" y="0"/>
                  </a:moveTo>
                  <a:lnTo>
                    <a:pt x="997" y="0"/>
                  </a:lnTo>
                  <a:lnTo>
                    <a:pt x="891" y="30"/>
                  </a:lnTo>
                  <a:lnTo>
                    <a:pt x="789" y="58"/>
                  </a:lnTo>
                  <a:lnTo>
                    <a:pt x="692" y="82"/>
                  </a:lnTo>
                  <a:lnTo>
                    <a:pt x="598" y="105"/>
                  </a:lnTo>
                  <a:lnTo>
                    <a:pt x="511" y="124"/>
                  </a:lnTo>
                  <a:lnTo>
                    <a:pt x="428" y="141"/>
                  </a:lnTo>
                  <a:lnTo>
                    <a:pt x="353" y="156"/>
                  </a:lnTo>
                  <a:lnTo>
                    <a:pt x="283" y="169"/>
                  </a:lnTo>
                  <a:lnTo>
                    <a:pt x="220" y="180"/>
                  </a:lnTo>
                  <a:lnTo>
                    <a:pt x="163" y="188"/>
                  </a:lnTo>
                  <a:lnTo>
                    <a:pt x="75" y="201"/>
                  </a:lnTo>
                  <a:lnTo>
                    <a:pt x="19" y="208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20" y="193"/>
                  </a:lnTo>
                  <a:lnTo>
                    <a:pt x="242" y="173"/>
                  </a:lnTo>
                  <a:lnTo>
                    <a:pt x="366" y="150"/>
                  </a:lnTo>
                  <a:lnTo>
                    <a:pt x="491" y="126"/>
                  </a:lnTo>
                  <a:lnTo>
                    <a:pt x="618" y="98"/>
                  </a:lnTo>
                  <a:lnTo>
                    <a:pt x="681" y="83"/>
                  </a:lnTo>
                  <a:lnTo>
                    <a:pt x="745" y="69"/>
                  </a:lnTo>
                  <a:lnTo>
                    <a:pt x="808" y="52"/>
                  </a:lnTo>
                  <a:lnTo>
                    <a:pt x="871" y="35"/>
                  </a:lnTo>
                  <a:lnTo>
                    <a:pt x="934" y="19"/>
                  </a:lnTo>
                  <a:lnTo>
                    <a:pt x="997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1" name="Freeform 143"/>
            <p:cNvSpPr>
              <a:spLocks/>
            </p:cNvSpPr>
            <p:nvPr/>
          </p:nvSpPr>
          <p:spPr bwMode="auto">
            <a:xfrm flipH="1">
              <a:off x="1612383" y="5120836"/>
              <a:ext cx="183193" cy="29668"/>
            </a:xfrm>
            <a:custGeom>
              <a:avLst/>
              <a:gdLst>
                <a:gd name="T0" fmla="*/ 997 w 997"/>
                <a:gd name="T1" fmla="*/ 0 h 210"/>
                <a:gd name="T2" fmla="*/ 997 w 997"/>
                <a:gd name="T3" fmla="*/ 0 h 210"/>
                <a:gd name="T4" fmla="*/ 891 w 997"/>
                <a:gd name="T5" fmla="*/ 30 h 210"/>
                <a:gd name="T6" fmla="*/ 789 w 997"/>
                <a:gd name="T7" fmla="*/ 58 h 210"/>
                <a:gd name="T8" fmla="*/ 692 w 997"/>
                <a:gd name="T9" fmla="*/ 82 h 210"/>
                <a:gd name="T10" fmla="*/ 598 w 997"/>
                <a:gd name="T11" fmla="*/ 105 h 210"/>
                <a:gd name="T12" fmla="*/ 511 w 997"/>
                <a:gd name="T13" fmla="*/ 124 h 210"/>
                <a:gd name="T14" fmla="*/ 428 w 997"/>
                <a:gd name="T15" fmla="*/ 141 h 210"/>
                <a:gd name="T16" fmla="*/ 353 w 997"/>
                <a:gd name="T17" fmla="*/ 156 h 210"/>
                <a:gd name="T18" fmla="*/ 283 w 997"/>
                <a:gd name="T19" fmla="*/ 169 h 210"/>
                <a:gd name="T20" fmla="*/ 220 w 997"/>
                <a:gd name="T21" fmla="*/ 180 h 210"/>
                <a:gd name="T22" fmla="*/ 163 w 997"/>
                <a:gd name="T23" fmla="*/ 188 h 210"/>
                <a:gd name="T24" fmla="*/ 75 w 997"/>
                <a:gd name="T25" fmla="*/ 201 h 210"/>
                <a:gd name="T26" fmla="*/ 19 w 997"/>
                <a:gd name="T27" fmla="*/ 208 h 210"/>
                <a:gd name="T28" fmla="*/ 0 w 997"/>
                <a:gd name="T29" fmla="*/ 210 h 210"/>
                <a:gd name="T30" fmla="*/ 0 w 997"/>
                <a:gd name="T31" fmla="*/ 210 h 210"/>
                <a:gd name="T32" fmla="*/ 120 w 997"/>
                <a:gd name="T33" fmla="*/ 193 h 210"/>
                <a:gd name="T34" fmla="*/ 242 w 997"/>
                <a:gd name="T35" fmla="*/ 173 h 210"/>
                <a:gd name="T36" fmla="*/ 366 w 997"/>
                <a:gd name="T37" fmla="*/ 150 h 210"/>
                <a:gd name="T38" fmla="*/ 491 w 997"/>
                <a:gd name="T39" fmla="*/ 126 h 210"/>
                <a:gd name="T40" fmla="*/ 618 w 997"/>
                <a:gd name="T41" fmla="*/ 98 h 210"/>
                <a:gd name="T42" fmla="*/ 681 w 997"/>
                <a:gd name="T43" fmla="*/ 83 h 210"/>
                <a:gd name="T44" fmla="*/ 745 w 997"/>
                <a:gd name="T45" fmla="*/ 69 h 210"/>
                <a:gd name="T46" fmla="*/ 808 w 997"/>
                <a:gd name="T47" fmla="*/ 52 h 210"/>
                <a:gd name="T48" fmla="*/ 871 w 997"/>
                <a:gd name="T49" fmla="*/ 35 h 210"/>
                <a:gd name="T50" fmla="*/ 934 w 997"/>
                <a:gd name="T51" fmla="*/ 19 h 210"/>
                <a:gd name="T52" fmla="*/ 997 w 997"/>
                <a:gd name="T5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97" h="210">
                  <a:moveTo>
                    <a:pt x="997" y="0"/>
                  </a:moveTo>
                  <a:lnTo>
                    <a:pt x="997" y="0"/>
                  </a:lnTo>
                  <a:lnTo>
                    <a:pt x="891" y="30"/>
                  </a:lnTo>
                  <a:lnTo>
                    <a:pt x="789" y="58"/>
                  </a:lnTo>
                  <a:lnTo>
                    <a:pt x="692" y="82"/>
                  </a:lnTo>
                  <a:lnTo>
                    <a:pt x="598" y="105"/>
                  </a:lnTo>
                  <a:lnTo>
                    <a:pt x="511" y="124"/>
                  </a:lnTo>
                  <a:lnTo>
                    <a:pt x="428" y="141"/>
                  </a:lnTo>
                  <a:lnTo>
                    <a:pt x="353" y="156"/>
                  </a:lnTo>
                  <a:lnTo>
                    <a:pt x="283" y="169"/>
                  </a:lnTo>
                  <a:lnTo>
                    <a:pt x="220" y="180"/>
                  </a:lnTo>
                  <a:lnTo>
                    <a:pt x="163" y="188"/>
                  </a:lnTo>
                  <a:lnTo>
                    <a:pt x="75" y="201"/>
                  </a:lnTo>
                  <a:lnTo>
                    <a:pt x="19" y="208"/>
                  </a:lnTo>
                  <a:lnTo>
                    <a:pt x="0" y="210"/>
                  </a:lnTo>
                  <a:lnTo>
                    <a:pt x="0" y="210"/>
                  </a:lnTo>
                  <a:lnTo>
                    <a:pt x="120" y="193"/>
                  </a:lnTo>
                  <a:lnTo>
                    <a:pt x="242" y="173"/>
                  </a:lnTo>
                  <a:lnTo>
                    <a:pt x="366" y="150"/>
                  </a:lnTo>
                  <a:lnTo>
                    <a:pt x="491" y="126"/>
                  </a:lnTo>
                  <a:lnTo>
                    <a:pt x="618" y="98"/>
                  </a:lnTo>
                  <a:lnTo>
                    <a:pt x="681" y="83"/>
                  </a:lnTo>
                  <a:lnTo>
                    <a:pt x="745" y="69"/>
                  </a:lnTo>
                  <a:lnTo>
                    <a:pt x="808" y="52"/>
                  </a:lnTo>
                  <a:lnTo>
                    <a:pt x="871" y="35"/>
                  </a:lnTo>
                  <a:lnTo>
                    <a:pt x="934" y="19"/>
                  </a:lnTo>
                  <a:lnTo>
                    <a:pt x="99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2" name="Freeform 144"/>
            <p:cNvSpPr>
              <a:spLocks/>
            </p:cNvSpPr>
            <p:nvPr/>
          </p:nvSpPr>
          <p:spPr bwMode="auto">
            <a:xfrm flipH="1">
              <a:off x="1603353" y="5118256"/>
              <a:ext cx="5160" cy="1290"/>
            </a:xfrm>
            <a:custGeom>
              <a:avLst/>
              <a:gdLst>
                <a:gd name="T0" fmla="*/ 24 w 24"/>
                <a:gd name="T1" fmla="*/ 0 h 8"/>
                <a:gd name="T2" fmla="*/ 24 w 24"/>
                <a:gd name="T3" fmla="*/ 0 h 8"/>
                <a:gd name="T4" fmla="*/ 0 w 24"/>
                <a:gd name="T5" fmla="*/ 8 h 8"/>
                <a:gd name="T6" fmla="*/ 0 w 24"/>
                <a:gd name="T7" fmla="*/ 8 h 8"/>
                <a:gd name="T8" fmla="*/ 24 w 2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4" y="0"/>
                  </a:moveTo>
                  <a:lnTo>
                    <a:pt x="24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3" name="Freeform 145"/>
            <p:cNvSpPr>
              <a:spLocks/>
            </p:cNvSpPr>
            <p:nvPr/>
          </p:nvSpPr>
          <p:spPr bwMode="auto">
            <a:xfrm flipH="1">
              <a:off x="1603353" y="5118256"/>
              <a:ext cx="5160" cy="1290"/>
            </a:xfrm>
            <a:custGeom>
              <a:avLst/>
              <a:gdLst>
                <a:gd name="T0" fmla="*/ 24 w 24"/>
                <a:gd name="T1" fmla="*/ 0 h 8"/>
                <a:gd name="T2" fmla="*/ 24 w 24"/>
                <a:gd name="T3" fmla="*/ 0 h 8"/>
                <a:gd name="T4" fmla="*/ 0 w 24"/>
                <a:gd name="T5" fmla="*/ 8 h 8"/>
                <a:gd name="T6" fmla="*/ 0 w 24"/>
                <a:gd name="T7" fmla="*/ 8 h 8"/>
                <a:gd name="T8" fmla="*/ 24 w 24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8">
                  <a:moveTo>
                    <a:pt x="24" y="0"/>
                  </a:moveTo>
                  <a:lnTo>
                    <a:pt x="24" y="0"/>
                  </a:lnTo>
                  <a:lnTo>
                    <a:pt x="0" y="8"/>
                  </a:lnTo>
                  <a:lnTo>
                    <a:pt x="0" y="8"/>
                  </a:lnTo>
                  <a:lnTo>
                    <a:pt x="2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4" name="Freeform 146"/>
            <p:cNvSpPr>
              <a:spLocks/>
            </p:cNvSpPr>
            <p:nvPr/>
          </p:nvSpPr>
          <p:spPr bwMode="auto">
            <a:xfrm flipH="1">
              <a:off x="1373717" y="4803516"/>
              <a:ext cx="454112" cy="346988"/>
            </a:xfrm>
            <a:custGeom>
              <a:avLst/>
              <a:gdLst>
                <a:gd name="T0" fmla="*/ 1977 w 2463"/>
                <a:gd name="T1" fmla="*/ 0 h 2428"/>
                <a:gd name="T2" fmla="*/ 2462 w 2463"/>
                <a:gd name="T3" fmla="*/ 1670 h 2428"/>
                <a:gd name="T4" fmla="*/ 2384 w 2463"/>
                <a:gd name="T5" fmla="*/ 1714 h 2428"/>
                <a:gd name="T6" fmla="*/ 2228 w 2463"/>
                <a:gd name="T7" fmla="*/ 1798 h 2428"/>
                <a:gd name="T8" fmla="*/ 2071 w 2463"/>
                <a:gd name="T9" fmla="*/ 1875 h 2428"/>
                <a:gd name="T10" fmla="*/ 1916 w 2463"/>
                <a:gd name="T11" fmla="*/ 1946 h 2428"/>
                <a:gd name="T12" fmla="*/ 1762 w 2463"/>
                <a:gd name="T13" fmla="*/ 2010 h 2428"/>
                <a:gd name="T14" fmla="*/ 1611 w 2463"/>
                <a:gd name="T15" fmla="*/ 2070 h 2428"/>
                <a:gd name="T16" fmla="*/ 1463 w 2463"/>
                <a:gd name="T17" fmla="*/ 2123 h 2428"/>
                <a:gd name="T18" fmla="*/ 1321 w 2463"/>
                <a:gd name="T19" fmla="*/ 2171 h 2428"/>
                <a:gd name="T20" fmla="*/ 1250 w 2463"/>
                <a:gd name="T21" fmla="*/ 2193 h 2428"/>
                <a:gd name="T22" fmla="*/ 1244 w 2463"/>
                <a:gd name="T23" fmla="*/ 2195 h 2428"/>
                <a:gd name="T24" fmla="*/ 1213 w 2463"/>
                <a:gd name="T25" fmla="*/ 2204 h 2428"/>
                <a:gd name="T26" fmla="*/ 1189 w 2463"/>
                <a:gd name="T27" fmla="*/ 2212 h 2428"/>
                <a:gd name="T28" fmla="*/ 1167 w 2463"/>
                <a:gd name="T29" fmla="*/ 2218 h 2428"/>
                <a:gd name="T30" fmla="*/ 1041 w 2463"/>
                <a:gd name="T31" fmla="*/ 2253 h 2428"/>
                <a:gd name="T32" fmla="*/ 915 w 2463"/>
                <a:gd name="T33" fmla="*/ 2287 h 2428"/>
                <a:gd name="T34" fmla="*/ 788 w 2463"/>
                <a:gd name="T35" fmla="*/ 2316 h 2428"/>
                <a:gd name="T36" fmla="*/ 536 w 2463"/>
                <a:gd name="T37" fmla="*/ 2368 h 2428"/>
                <a:gd name="T38" fmla="*/ 290 w 2463"/>
                <a:gd name="T39" fmla="*/ 2411 h 2428"/>
                <a:gd name="T40" fmla="*/ 170 w 2463"/>
                <a:gd name="T41" fmla="*/ 2428 h 2428"/>
                <a:gd name="T42" fmla="*/ 0 w 2463"/>
                <a:gd name="T43" fmla="*/ 698 h 2428"/>
                <a:gd name="T44" fmla="*/ 156 w 2463"/>
                <a:gd name="T45" fmla="*/ 674 h 2428"/>
                <a:gd name="T46" fmla="*/ 307 w 2463"/>
                <a:gd name="T47" fmla="*/ 647 h 2428"/>
                <a:gd name="T48" fmla="*/ 456 w 2463"/>
                <a:gd name="T49" fmla="*/ 616 h 2428"/>
                <a:gd name="T50" fmla="*/ 602 w 2463"/>
                <a:gd name="T51" fmla="*/ 583 h 2428"/>
                <a:gd name="T52" fmla="*/ 742 w 2463"/>
                <a:gd name="T53" fmla="*/ 548 h 2428"/>
                <a:gd name="T54" fmla="*/ 879 w 2463"/>
                <a:gd name="T55" fmla="*/ 509 h 2428"/>
                <a:gd name="T56" fmla="*/ 1011 w 2463"/>
                <a:gd name="T57" fmla="*/ 468 h 2428"/>
                <a:gd name="T58" fmla="*/ 1139 w 2463"/>
                <a:gd name="T59" fmla="*/ 426 h 2428"/>
                <a:gd name="T60" fmla="*/ 1262 w 2463"/>
                <a:gd name="T61" fmla="*/ 380 h 2428"/>
                <a:gd name="T62" fmla="*/ 1380 w 2463"/>
                <a:gd name="T63" fmla="*/ 332 h 2428"/>
                <a:gd name="T64" fmla="*/ 1494 w 2463"/>
                <a:gd name="T65" fmla="*/ 282 h 2428"/>
                <a:gd name="T66" fmla="*/ 1602 w 2463"/>
                <a:gd name="T67" fmla="*/ 230 h 2428"/>
                <a:gd name="T68" fmla="*/ 1704 w 2463"/>
                <a:gd name="T69" fmla="*/ 176 h 2428"/>
                <a:gd name="T70" fmla="*/ 1800 w 2463"/>
                <a:gd name="T71" fmla="*/ 119 h 2428"/>
                <a:gd name="T72" fmla="*/ 1892 w 2463"/>
                <a:gd name="T73" fmla="*/ 61 h 2428"/>
                <a:gd name="T74" fmla="*/ 1977 w 2463"/>
                <a:gd name="T75" fmla="*/ 0 h 2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463" h="2428">
                  <a:moveTo>
                    <a:pt x="1977" y="0"/>
                  </a:moveTo>
                  <a:lnTo>
                    <a:pt x="1977" y="0"/>
                  </a:lnTo>
                  <a:lnTo>
                    <a:pt x="2463" y="1670"/>
                  </a:lnTo>
                  <a:lnTo>
                    <a:pt x="2462" y="1670"/>
                  </a:lnTo>
                  <a:lnTo>
                    <a:pt x="2462" y="1670"/>
                  </a:lnTo>
                  <a:lnTo>
                    <a:pt x="2384" y="1714"/>
                  </a:lnTo>
                  <a:lnTo>
                    <a:pt x="2306" y="1757"/>
                  </a:lnTo>
                  <a:lnTo>
                    <a:pt x="2228" y="1798"/>
                  </a:lnTo>
                  <a:lnTo>
                    <a:pt x="2149" y="1837"/>
                  </a:lnTo>
                  <a:lnTo>
                    <a:pt x="2071" y="1875"/>
                  </a:lnTo>
                  <a:lnTo>
                    <a:pt x="1993" y="1911"/>
                  </a:lnTo>
                  <a:lnTo>
                    <a:pt x="1916" y="1946"/>
                  </a:lnTo>
                  <a:lnTo>
                    <a:pt x="1839" y="1979"/>
                  </a:lnTo>
                  <a:lnTo>
                    <a:pt x="1762" y="2010"/>
                  </a:lnTo>
                  <a:lnTo>
                    <a:pt x="1686" y="2041"/>
                  </a:lnTo>
                  <a:lnTo>
                    <a:pt x="1611" y="2070"/>
                  </a:lnTo>
                  <a:lnTo>
                    <a:pt x="1537" y="2097"/>
                  </a:lnTo>
                  <a:lnTo>
                    <a:pt x="1463" y="2123"/>
                  </a:lnTo>
                  <a:lnTo>
                    <a:pt x="1392" y="2147"/>
                  </a:lnTo>
                  <a:lnTo>
                    <a:pt x="1321" y="2171"/>
                  </a:lnTo>
                  <a:lnTo>
                    <a:pt x="1250" y="2193"/>
                  </a:lnTo>
                  <a:lnTo>
                    <a:pt x="1250" y="2193"/>
                  </a:lnTo>
                  <a:lnTo>
                    <a:pt x="1244" y="2195"/>
                  </a:lnTo>
                  <a:lnTo>
                    <a:pt x="1244" y="2195"/>
                  </a:lnTo>
                  <a:lnTo>
                    <a:pt x="1213" y="2204"/>
                  </a:lnTo>
                  <a:lnTo>
                    <a:pt x="1213" y="2204"/>
                  </a:lnTo>
                  <a:lnTo>
                    <a:pt x="1189" y="2212"/>
                  </a:lnTo>
                  <a:lnTo>
                    <a:pt x="1189" y="2212"/>
                  </a:lnTo>
                  <a:lnTo>
                    <a:pt x="1167" y="2218"/>
                  </a:lnTo>
                  <a:lnTo>
                    <a:pt x="1167" y="2218"/>
                  </a:lnTo>
                  <a:lnTo>
                    <a:pt x="1104" y="2237"/>
                  </a:lnTo>
                  <a:lnTo>
                    <a:pt x="1041" y="2253"/>
                  </a:lnTo>
                  <a:lnTo>
                    <a:pt x="978" y="2270"/>
                  </a:lnTo>
                  <a:lnTo>
                    <a:pt x="915" y="2287"/>
                  </a:lnTo>
                  <a:lnTo>
                    <a:pt x="851" y="2301"/>
                  </a:lnTo>
                  <a:lnTo>
                    <a:pt x="788" y="2316"/>
                  </a:lnTo>
                  <a:lnTo>
                    <a:pt x="661" y="2344"/>
                  </a:lnTo>
                  <a:lnTo>
                    <a:pt x="536" y="2368"/>
                  </a:lnTo>
                  <a:lnTo>
                    <a:pt x="412" y="2391"/>
                  </a:lnTo>
                  <a:lnTo>
                    <a:pt x="290" y="2411"/>
                  </a:lnTo>
                  <a:lnTo>
                    <a:pt x="170" y="2428"/>
                  </a:lnTo>
                  <a:lnTo>
                    <a:pt x="170" y="2428"/>
                  </a:lnTo>
                  <a:lnTo>
                    <a:pt x="0" y="698"/>
                  </a:lnTo>
                  <a:lnTo>
                    <a:pt x="0" y="698"/>
                  </a:lnTo>
                  <a:lnTo>
                    <a:pt x="78" y="686"/>
                  </a:lnTo>
                  <a:lnTo>
                    <a:pt x="156" y="674"/>
                  </a:lnTo>
                  <a:lnTo>
                    <a:pt x="233" y="660"/>
                  </a:lnTo>
                  <a:lnTo>
                    <a:pt x="307" y="647"/>
                  </a:lnTo>
                  <a:lnTo>
                    <a:pt x="382" y="631"/>
                  </a:lnTo>
                  <a:lnTo>
                    <a:pt x="456" y="616"/>
                  </a:lnTo>
                  <a:lnTo>
                    <a:pt x="529" y="600"/>
                  </a:lnTo>
                  <a:lnTo>
                    <a:pt x="602" y="583"/>
                  </a:lnTo>
                  <a:lnTo>
                    <a:pt x="672" y="565"/>
                  </a:lnTo>
                  <a:lnTo>
                    <a:pt x="742" y="548"/>
                  </a:lnTo>
                  <a:lnTo>
                    <a:pt x="811" y="529"/>
                  </a:lnTo>
                  <a:lnTo>
                    <a:pt x="879" y="509"/>
                  </a:lnTo>
                  <a:lnTo>
                    <a:pt x="946" y="489"/>
                  </a:lnTo>
                  <a:lnTo>
                    <a:pt x="1011" y="468"/>
                  </a:lnTo>
                  <a:lnTo>
                    <a:pt x="1076" y="447"/>
                  </a:lnTo>
                  <a:lnTo>
                    <a:pt x="1139" y="426"/>
                  </a:lnTo>
                  <a:lnTo>
                    <a:pt x="1201" y="403"/>
                  </a:lnTo>
                  <a:lnTo>
                    <a:pt x="1262" y="380"/>
                  </a:lnTo>
                  <a:lnTo>
                    <a:pt x="1322" y="356"/>
                  </a:lnTo>
                  <a:lnTo>
                    <a:pt x="1380" y="332"/>
                  </a:lnTo>
                  <a:lnTo>
                    <a:pt x="1437" y="307"/>
                  </a:lnTo>
                  <a:lnTo>
                    <a:pt x="1494" y="282"/>
                  </a:lnTo>
                  <a:lnTo>
                    <a:pt x="1548" y="256"/>
                  </a:lnTo>
                  <a:lnTo>
                    <a:pt x="1602" y="230"/>
                  </a:lnTo>
                  <a:lnTo>
                    <a:pt x="1654" y="203"/>
                  </a:lnTo>
                  <a:lnTo>
                    <a:pt x="1704" y="176"/>
                  </a:lnTo>
                  <a:lnTo>
                    <a:pt x="1754" y="147"/>
                  </a:lnTo>
                  <a:lnTo>
                    <a:pt x="1800" y="119"/>
                  </a:lnTo>
                  <a:lnTo>
                    <a:pt x="1847" y="90"/>
                  </a:lnTo>
                  <a:lnTo>
                    <a:pt x="1892" y="61"/>
                  </a:lnTo>
                  <a:lnTo>
                    <a:pt x="1935" y="31"/>
                  </a:lnTo>
                  <a:lnTo>
                    <a:pt x="1977" y="0"/>
                  </a:lnTo>
                  <a:lnTo>
                    <a:pt x="1977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5" name="Freeform 147"/>
            <p:cNvSpPr>
              <a:spLocks/>
            </p:cNvSpPr>
            <p:nvPr/>
          </p:nvSpPr>
          <p:spPr bwMode="auto">
            <a:xfrm flipH="1">
              <a:off x="1634315" y="4122440"/>
              <a:ext cx="285110" cy="288941"/>
            </a:xfrm>
            <a:custGeom>
              <a:avLst/>
              <a:gdLst>
                <a:gd name="T0" fmla="*/ 0 w 1543"/>
                <a:gd name="T1" fmla="*/ 360 h 2018"/>
                <a:gd name="T2" fmla="*/ 0 w 1543"/>
                <a:gd name="T3" fmla="*/ 360 h 2018"/>
                <a:gd name="T4" fmla="*/ 83 w 1543"/>
                <a:gd name="T5" fmla="*/ 347 h 2018"/>
                <a:gd name="T6" fmla="*/ 166 w 1543"/>
                <a:gd name="T7" fmla="*/ 334 h 2018"/>
                <a:gd name="T8" fmla="*/ 246 w 1543"/>
                <a:gd name="T9" fmla="*/ 318 h 2018"/>
                <a:gd name="T10" fmla="*/ 325 w 1543"/>
                <a:gd name="T11" fmla="*/ 300 h 2018"/>
                <a:gd name="T12" fmla="*/ 402 w 1543"/>
                <a:gd name="T13" fmla="*/ 282 h 2018"/>
                <a:gd name="T14" fmla="*/ 477 w 1543"/>
                <a:gd name="T15" fmla="*/ 262 h 2018"/>
                <a:gd name="T16" fmla="*/ 549 w 1543"/>
                <a:gd name="T17" fmla="*/ 241 h 2018"/>
                <a:gd name="T18" fmla="*/ 619 w 1543"/>
                <a:gd name="T19" fmla="*/ 219 h 2018"/>
                <a:gd name="T20" fmla="*/ 688 w 1543"/>
                <a:gd name="T21" fmla="*/ 195 h 2018"/>
                <a:gd name="T22" fmla="*/ 753 w 1543"/>
                <a:gd name="T23" fmla="*/ 171 h 2018"/>
                <a:gd name="T24" fmla="*/ 817 w 1543"/>
                <a:gd name="T25" fmla="*/ 145 h 2018"/>
                <a:gd name="T26" fmla="*/ 877 w 1543"/>
                <a:gd name="T27" fmla="*/ 118 h 2018"/>
                <a:gd name="T28" fmla="*/ 935 w 1543"/>
                <a:gd name="T29" fmla="*/ 90 h 2018"/>
                <a:gd name="T30" fmla="*/ 990 w 1543"/>
                <a:gd name="T31" fmla="*/ 61 h 2018"/>
                <a:gd name="T32" fmla="*/ 1043 w 1543"/>
                <a:gd name="T33" fmla="*/ 30 h 2018"/>
                <a:gd name="T34" fmla="*/ 1093 w 1543"/>
                <a:gd name="T35" fmla="*/ 0 h 2018"/>
                <a:gd name="T36" fmla="*/ 1093 w 1543"/>
                <a:gd name="T37" fmla="*/ 0 h 2018"/>
                <a:gd name="T38" fmla="*/ 1543 w 1543"/>
                <a:gd name="T39" fmla="*/ 1550 h 2018"/>
                <a:gd name="T40" fmla="*/ 1543 w 1543"/>
                <a:gd name="T41" fmla="*/ 1550 h 2018"/>
                <a:gd name="T42" fmla="*/ 1513 w 1543"/>
                <a:gd name="T43" fmla="*/ 1569 h 2018"/>
                <a:gd name="T44" fmla="*/ 1482 w 1543"/>
                <a:gd name="T45" fmla="*/ 1590 h 2018"/>
                <a:gd name="T46" fmla="*/ 1450 w 1543"/>
                <a:gd name="T47" fmla="*/ 1609 h 2018"/>
                <a:gd name="T48" fmla="*/ 1417 w 1543"/>
                <a:gd name="T49" fmla="*/ 1629 h 2018"/>
                <a:gd name="T50" fmla="*/ 1383 w 1543"/>
                <a:gd name="T51" fmla="*/ 1647 h 2018"/>
                <a:gd name="T52" fmla="*/ 1348 w 1543"/>
                <a:gd name="T53" fmla="*/ 1666 h 2018"/>
                <a:gd name="T54" fmla="*/ 1313 w 1543"/>
                <a:gd name="T55" fmla="*/ 1685 h 2018"/>
                <a:gd name="T56" fmla="*/ 1275 w 1543"/>
                <a:gd name="T57" fmla="*/ 1703 h 2018"/>
                <a:gd name="T58" fmla="*/ 1238 w 1543"/>
                <a:gd name="T59" fmla="*/ 1720 h 2018"/>
                <a:gd name="T60" fmla="*/ 1199 w 1543"/>
                <a:gd name="T61" fmla="*/ 1738 h 2018"/>
                <a:gd name="T62" fmla="*/ 1160 w 1543"/>
                <a:gd name="T63" fmla="*/ 1755 h 2018"/>
                <a:gd name="T64" fmla="*/ 1119 w 1543"/>
                <a:gd name="T65" fmla="*/ 1771 h 2018"/>
                <a:gd name="T66" fmla="*/ 1079 w 1543"/>
                <a:gd name="T67" fmla="*/ 1788 h 2018"/>
                <a:gd name="T68" fmla="*/ 1037 w 1543"/>
                <a:gd name="T69" fmla="*/ 1804 h 2018"/>
                <a:gd name="T70" fmla="*/ 995 w 1543"/>
                <a:gd name="T71" fmla="*/ 1819 h 2018"/>
                <a:gd name="T72" fmla="*/ 951 w 1543"/>
                <a:gd name="T73" fmla="*/ 1835 h 2018"/>
                <a:gd name="T74" fmla="*/ 861 w 1543"/>
                <a:gd name="T75" fmla="*/ 1863 h 2018"/>
                <a:gd name="T76" fmla="*/ 770 w 1543"/>
                <a:gd name="T77" fmla="*/ 1891 h 2018"/>
                <a:gd name="T78" fmla="*/ 674 w 1543"/>
                <a:gd name="T79" fmla="*/ 1916 h 2018"/>
                <a:gd name="T80" fmla="*/ 577 w 1543"/>
                <a:gd name="T81" fmla="*/ 1940 h 2018"/>
                <a:gd name="T82" fmla="*/ 477 w 1543"/>
                <a:gd name="T83" fmla="*/ 1963 h 2018"/>
                <a:gd name="T84" fmla="*/ 374 w 1543"/>
                <a:gd name="T85" fmla="*/ 1983 h 2018"/>
                <a:gd name="T86" fmla="*/ 269 w 1543"/>
                <a:gd name="T87" fmla="*/ 2002 h 2018"/>
                <a:gd name="T88" fmla="*/ 162 w 1543"/>
                <a:gd name="T89" fmla="*/ 2018 h 2018"/>
                <a:gd name="T90" fmla="*/ 162 w 1543"/>
                <a:gd name="T91" fmla="*/ 2018 h 2018"/>
                <a:gd name="T92" fmla="*/ 0 w 1543"/>
                <a:gd name="T93" fmla="*/ 360 h 2018"/>
                <a:gd name="T94" fmla="*/ 0 w 1543"/>
                <a:gd name="T95" fmla="*/ 360 h 2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43" h="2018">
                  <a:moveTo>
                    <a:pt x="0" y="360"/>
                  </a:moveTo>
                  <a:lnTo>
                    <a:pt x="0" y="360"/>
                  </a:lnTo>
                  <a:lnTo>
                    <a:pt x="83" y="347"/>
                  </a:lnTo>
                  <a:lnTo>
                    <a:pt x="166" y="334"/>
                  </a:lnTo>
                  <a:lnTo>
                    <a:pt x="246" y="318"/>
                  </a:lnTo>
                  <a:lnTo>
                    <a:pt x="325" y="300"/>
                  </a:lnTo>
                  <a:lnTo>
                    <a:pt x="402" y="282"/>
                  </a:lnTo>
                  <a:lnTo>
                    <a:pt x="477" y="262"/>
                  </a:lnTo>
                  <a:lnTo>
                    <a:pt x="549" y="241"/>
                  </a:lnTo>
                  <a:lnTo>
                    <a:pt x="619" y="219"/>
                  </a:lnTo>
                  <a:lnTo>
                    <a:pt x="688" y="195"/>
                  </a:lnTo>
                  <a:lnTo>
                    <a:pt x="753" y="171"/>
                  </a:lnTo>
                  <a:lnTo>
                    <a:pt x="817" y="145"/>
                  </a:lnTo>
                  <a:lnTo>
                    <a:pt x="877" y="118"/>
                  </a:lnTo>
                  <a:lnTo>
                    <a:pt x="935" y="90"/>
                  </a:lnTo>
                  <a:lnTo>
                    <a:pt x="990" y="61"/>
                  </a:lnTo>
                  <a:lnTo>
                    <a:pt x="1043" y="30"/>
                  </a:lnTo>
                  <a:lnTo>
                    <a:pt x="1093" y="0"/>
                  </a:lnTo>
                  <a:lnTo>
                    <a:pt x="1093" y="0"/>
                  </a:lnTo>
                  <a:lnTo>
                    <a:pt x="1543" y="1550"/>
                  </a:lnTo>
                  <a:lnTo>
                    <a:pt x="1543" y="1550"/>
                  </a:lnTo>
                  <a:lnTo>
                    <a:pt x="1513" y="1569"/>
                  </a:lnTo>
                  <a:lnTo>
                    <a:pt x="1482" y="1590"/>
                  </a:lnTo>
                  <a:lnTo>
                    <a:pt x="1450" y="1609"/>
                  </a:lnTo>
                  <a:lnTo>
                    <a:pt x="1417" y="1629"/>
                  </a:lnTo>
                  <a:lnTo>
                    <a:pt x="1383" y="1647"/>
                  </a:lnTo>
                  <a:lnTo>
                    <a:pt x="1348" y="1666"/>
                  </a:lnTo>
                  <a:lnTo>
                    <a:pt x="1313" y="1685"/>
                  </a:lnTo>
                  <a:lnTo>
                    <a:pt x="1275" y="1703"/>
                  </a:lnTo>
                  <a:lnTo>
                    <a:pt x="1238" y="1720"/>
                  </a:lnTo>
                  <a:lnTo>
                    <a:pt x="1199" y="1738"/>
                  </a:lnTo>
                  <a:lnTo>
                    <a:pt x="1160" y="1755"/>
                  </a:lnTo>
                  <a:lnTo>
                    <a:pt x="1119" y="1771"/>
                  </a:lnTo>
                  <a:lnTo>
                    <a:pt x="1079" y="1788"/>
                  </a:lnTo>
                  <a:lnTo>
                    <a:pt x="1037" y="1804"/>
                  </a:lnTo>
                  <a:lnTo>
                    <a:pt x="995" y="1819"/>
                  </a:lnTo>
                  <a:lnTo>
                    <a:pt x="951" y="1835"/>
                  </a:lnTo>
                  <a:lnTo>
                    <a:pt x="861" y="1863"/>
                  </a:lnTo>
                  <a:lnTo>
                    <a:pt x="770" y="1891"/>
                  </a:lnTo>
                  <a:lnTo>
                    <a:pt x="674" y="1916"/>
                  </a:lnTo>
                  <a:lnTo>
                    <a:pt x="577" y="1940"/>
                  </a:lnTo>
                  <a:lnTo>
                    <a:pt x="477" y="1963"/>
                  </a:lnTo>
                  <a:lnTo>
                    <a:pt x="374" y="1983"/>
                  </a:lnTo>
                  <a:lnTo>
                    <a:pt x="269" y="2002"/>
                  </a:lnTo>
                  <a:lnTo>
                    <a:pt x="162" y="2018"/>
                  </a:lnTo>
                  <a:lnTo>
                    <a:pt x="162" y="2018"/>
                  </a:lnTo>
                  <a:lnTo>
                    <a:pt x="0" y="360"/>
                  </a:lnTo>
                  <a:lnTo>
                    <a:pt x="0" y="36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6" name="Freeform 148"/>
            <p:cNvSpPr>
              <a:spLocks/>
            </p:cNvSpPr>
            <p:nvPr/>
          </p:nvSpPr>
          <p:spPr bwMode="auto">
            <a:xfrm flipH="1">
              <a:off x="1462733" y="4579071"/>
              <a:ext cx="394767" cy="323770"/>
            </a:xfrm>
            <a:custGeom>
              <a:avLst/>
              <a:gdLst>
                <a:gd name="T0" fmla="*/ 1687 w 2141"/>
                <a:gd name="T1" fmla="*/ 0 h 2257"/>
                <a:gd name="T2" fmla="*/ 2141 w 2141"/>
                <a:gd name="T3" fmla="*/ 1559 h 2257"/>
                <a:gd name="T4" fmla="*/ 2056 w 2141"/>
                <a:gd name="T5" fmla="*/ 1620 h 2257"/>
                <a:gd name="T6" fmla="*/ 1964 w 2141"/>
                <a:gd name="T7" fmla="*/ 1678 h 2257"/>
                <a:gd name="T8" fmla="*/ 1868 w 2141"/>
                <a:gd name="T9" fmla="*/ 1735 h 2257"/>
                <a:gd name="T10" fmla="*/ 1766 w 2141"/>
                <a:gd name="T11" fmla="*/ 1789 h 2257"/>
                <a:gd name="T12" fmla="*/ 1658 w 2141"/>
                <a:gd name="T13" fmla="*/ 1841 h 2257"/>
                <a:gd name="T14" fmla="*/ 1544 w 2141"/>
                <a:gd name="T15" fmla="*/ 1891 h 2257"/>
                <a:gd name="T16" fmla="*/ 1426 w 2141"/>
                <a:gd name="T17" fmla="*/ 1939 h 2257"/>
                <a:gd name="T18" fmla="*/ 1303 w 2141"/>
                <a:gd name="T19" fmla="*/ 1985 h 2257"/>
                <a:gd name="T20" fmla="*/ 1175 w 2141"/>
                <a:gd name="T21" fmla="*/ 2027 h 2257"/>
                <a:gd name="T22" fmla="*/ 1043 w 2141"/>
                <a:gd name="T23" fmla="*/ 2068 h 2257"/>
                <a:gd name="T24" fmla="*/ 906 w 2141"/>
                <a:gd name="T25" fmla="*/ 2107 h 2257"/>
                <a:gd name="T26" fmla="*/ 766 w 2141"/>
                <a:gd name="T27" fmla="*/ 2142 h 2257"/>
                <a:gd name="T28" fmla="*/ 620 w 2141"/>
                <a:gd name="T29" fmla="*/ 2175 h 2257"/>
                <a:gd name="T30" fmla="*/ 471 w 2141"/>
                <a:gd name="T31" fmla="*/ 2206 h 2257"/>
                <a:gd name="T32" fmla="*/ 320 w 2141"/>
                <a:gd name="T33" fmla="*/ 2233 h 2257"/>
                <a:gd name="T34" fmla="*/ 164 w 2141"/>
                <a:gd name="T35" fmla="*/ 2257 h 2257"/>
                <a:gd name="T36" fmla="*/ 0 w 2141"/>
                <a:gd name="T37" fmla="*/ 590 h 2257"/>
                <a:gd name="T38" fmla="*/ 67 w 2141"/>
                <a:gd name="T39" fmla="*/ 580 h 2257"/>
                <a:gd name="T40" fmla="*/ 198 w 2141"/>
                <a:gd name="T41" fmla="*/ 558 h 2257"/>
                <a:gd name="T42" fmla="*/ 326 w 2141"/>
                <a:gd name="T43" fmla="*/ 534 h 2257"/>
                <a:gd name="T44" fmla="*/ 451 w 2141"/>
                <a:gd name="T45" fmla="*/ 507 h 2257"/>
                <a:gd name="T46" fmla="*/ 572 w 2141"/>
                <a:gd name="T47" fmla="*/ 478 h 2257"/>
                <a:gd name="T48" fmla="*/ 691 w 2141"/>
                <a:gd name="T49" fmla="*/ 447 h 2257"/>
                <a:gd name="T50" fmla="*/ 805 w 2141"/>
                <a:gd name="T51" fmla="*/ 413 h 2257"/>
                <a:gd name="T52" fmla="*/ 916 w 2141"/>
                <a:gd name="T53" fmla="*/ 378 h 2257"/>
                <a:gd name="T54" fmla="*/ 1023 w 2141"/>
                <a:gd name="T55" fmla="*/ 340 h 2257"/>
                <a:gd name="T56" fmla="*/ 1126 w 2141"/>
                <a:gd name="T57" fmla="*/ 301 h 2257"/>
                <a:gd name="T58" fmla="*/ 1225 w 2141"/>
                <a:gd name="T59" fmla="*/ 259 h 2257"/>
                <a:gd name="T60" fmla="*/ 1320 w 2141"/>
                <a:gd name="T61" fmla="*/ 215 h 2257"/>
                <a:gd name="T62" fmla="*/ 1409 w 2141"/>
                <a:gd name="T63" fmla="*/ 171 h 2257"/>
                <a:gd name="T64" fmla="*/ 1494 w 2141"/>
                <a:gd name="T65" fmla="*/ 124 h 2257"/>
                <a:gd name="T66" fmla="*/ 1575 w 2141"/>
                <a:gd name="T67" fmla="*/ 76 h 2257"/>
                <a:gd name="T68" fmla="*/ 1650 w 2141"/>
                <a:gd name="T69" fmla="*/ 25 h 2257"/>
                <a:gd name="T70" fmla="*/ 1687 w 2141"/>
                <a:gd name="T71" fmla="*/ 0 h 2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1" h="2257">
                  <a:moveTo>
                    <a:pt x="1687" y="0"/>
                  </a:moveTo>
                  <a:lnTo>
                    <a:pt x="1687" y="0"/>
                  </a:lnTo>
                  <a:lnTo>
                    <a:pt x="2141" y="1559"/>
                  </a:lnTo>
                  <a:lnTo>
                    <a:pt x="2141" y="1559"/>
                  </a:lnTo>
                  <a:lnTo>
                    <a:pt x="2099" y="1590"/>
                  </a:lnTo>
                  <a:lnTo>
                    <a:pt x="2056" y="1620"/>
                  </a:lnTo>
                  <a:lnTo>
                    <a:pt x="2011" y="1649"/>
                  </a:lnTo>
                  <a:lnTo>
                    <a:pt x="1964" y="1678"/>
                  </a:lnTo>
                  <a:lnTo>
                    <a:pt x="1918" y="1706"/>
                  </a:lnTo>
                  <a:lnTo>
                    <a:pt x="1868" y="1735"/>
                  </a:lnTo>
                  <a:lnTo>
                    <a:pt x="1818" y="1762"/>
                  </a:lnTo>
                  <a:lnTo>
                    <a:pt x="1766" y="1789"/>
                  </a:lnTo>
                  <a:lnTo>
                    <a:pt x="1712" y="1815"/>
                  </a:lnTo>
                  <a:lnTo>
                    <a:pt x="1658" y="1841"/>
                  </a:lnTo>
                  <a:lnTo>
                    <a:pt x="1601" y="1866"/>
                  </a:lnTo>
                  <a:lnTo>
                    <a:pt x="1544" y="1891"/>
                  </a:lnTo>
                  <a:lnTo>
                    <a:pt x="1486" y="1915"/>
                  </a:lnTo>
                  <a:lnTo>
                    <a:pt x="1426" y="1939"/>
                  </a:lnTo>
                  <a:lnTo>
                    <a:pt x="1365" y="1962"/>
                  </a:lnTo>
                  <a:lnTo>
                    <a:pt x="1303" y="1985"/>
                  </a:lnTo>
                  <a:lnTo>
                    <a:pt x="1240" y="2006"/>
                  </a:lnTo>
                  <a:lnTo>
                    <a:pt x="1175" y="2027"/>
                  </a:lnTo>
                  <a:lnTo>
                    <a:pt x="1110" y="2048"/>
                  </a:lnTo>
                  <a:lnTo>
                    <a:pt x="1043" y="2068"/>
                  </a:lnTo>
                  <a:lnTo>
                    <a:pt x="975" y="2088"/>
                  </a:lnTo>
                  <a:lnTo>
                    <a:pt x="906" y="2107"/>
                  </a:lnTo>
                  <a:lnTo>
                    <a:pt x="836" y="2124"/>
                  </a:lnTo>
                  <a:lnTo>
                    <a:pt x="766" y="2142"/>
                  </a:lnTo>
                  <a:lnTo>
                    <a:pt x="693" y="2159"/>
                  </a:lnTo>
                  <a:lnTo>
                    <a:pt x="620" y="2175"/>
                  </a:lnTo>
                  <a:lnTo>
                    <a:pt x="546" y="2190"/>
                  </a:lnTo>
                  <a:lnTo>
                    <a:pt x="471" y="2206"/>
                  </a:lnTo>
                  <a:lnTo>
                    <a:pt x="397" y="2219"/>
                  </a:lnTo>
                  <a:lnTo>
                    <a:pt x="320" y="2233"/>
                  </a:lnTo>
                  <a:lnTo>
                    <a:pt x="242" y="2245"/>
                  </a:lnTo>
                  <a:lnTo>
                    <a:pt x="164" y="2257"/>
                  </a:lnTo>
                  <a:lnTo>
                    <a:pt x="164" y="2257"/>
                  </a:lnTo>
                  <a:lnTo>
                    <a:pt x="0" y="590"/>
                  </a:lnTo>
                  <a:lnTo>
                    <a:pt x="0" y="590"/>
                  </a:lnTo>
                  <a:lnTo>
                    <a:pt x="67" y="580"/>
                  </a:lnTo>
                  <a:lnTo>
                    <a:pt x="132" y="570"/>
                  </a:lnTo>
                  <a:lnTo>
                    <a:pt x="198" y="558"/>
                  </a:lnTo>
                  <a:lnTo>
                    <a:pt x="262" y="547"/>
                  </a:lnTo>
                  <a:lnTo>
                    <a:pt x="326" y="534"/>
                  </a:lnTo>
                  <a:lnTo>
                    <a:pt x="388" y="521"/>
                  </a:lnTo>
                  <a:lnTo>
                    <a:pt x="451" y="507"/>
                  </a:lnTo>
                  <a:lnTo>
                    <a:pt x="512" y="494"/>
                  </a:lnTo>
                  <a:lnTo>
                    <a:pt x="572" y="478"/>
                  </a:lnTo>
                  <a:lnTo>
                    <a:pt x="631" y="463"/>
                  </a:lnTo>
                  <a:lnTo>
                    <a:pt x="691" y="447"/>
                  </a:lnTo>
                  <a:lnTo>
                    <a:pt x="748" y="430"/>
                  </a:lnTo>
                  <a:lnTo>
                    <a:pt x="805" y="413"/>
                  </a:lnTo>
                  <a:lnTo>
                    <a:pt x="861" y="396"/>
                  </a:lnTo>
                  <a:lnTo>
                    <a:pt x="916" y="378"/>
                  </a:lnTo>
                  <a:lnTo>
                    <a:pt x="970" y="359"/>
                  </a:lnTo>
                  <a:lnTo>
                    <a:pt x="1023" y="340"/>
                  </a:lnTo>
                  <a:lnTo>
                    <a:pt x="1075" y="321"/>
                  </a:lnTo>
                  <a:lnTo>
                    <a:pt x="1126" y="301"/>
                  </a:lnTo>
                  <a:lnTo>
                    <a:pt x="1176" y="280"/>
                  </a:lnTo>
                  <a:lnTo>
                    <a:pt x="1225" y="259"/>
                  </a:lnTo>
                  <a:lnTo>
                    <a:pt x="1273" y="237"/>
                  </a:lnTo>
                  <a:lnTo>
                    <a:pt x="1320" y="215"/>
                  </a:lnTo>
                  <a:lnTo>
                    <a:pt x="1365" y="194"/>
                  </a:lnTo>
                  <a:lnTo>
                    <a:pt x="1409" y="171"/>
                  </a:lnTo>
                  <a:lnTo>
                    <a:pt x="1453" y="148"/>
                  </a:lnTo>
                  <a:lnTo>
                    <a:pt x="1494" y="124"/>
                  </a:lnTo>
                  <a:lnTo>
                    <a:pt x="1536" y="100"/>
                  </a:lnTo>
                  <a:lnTo>
                    <a:pt x="1575" y="76"/>
                  </a:lnTo>
                  <a:lnTo>
                    <a:pt x="1614" y="51"/>
                  </a:lnTo>
                  <a:lnTo>
                    <a:pt x="1650" y="25"/>
                  </a:lnTo>
                  <a:lnTo>
                    <a:pt x="1687" y="0"/>
                  </a:lnTo>
                  <a:lnTo>
                    <a:pt x="1687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7" name="Freeform 149"/>
            <p:cNvSpPr>
              <a:spLocks/>
            </p:cNvSpPr>
            <p:nvPr/>
          </p:nvSpPr>
          <p:spPr bwMode="auto">
            <a:xfrm flipH="1">
              <a:off x="1546589" y="4344306"/>
              <a:ext cx="343164" cy="319899"/>
            </a:xfrm>
            <a:custGeom>
              <a:avLst/>
              <a:gdLst>
                <a:gd name="T0" fmla="*/ 0 w 1860"/>
                <a:gd name="T1" fmla="*/ 468 h 2233"/>
                <a:gd name="T2" fmla="*/ 212 w 1860"/>
                <a:gd name="T3" fmla="*/ 433 h 2233"/>
                <a:gd name="T4" fmla="*/ 415 w 1860"/>
                <a:gd name="T5" fmla="*/ 390 h 2233"/>
                <a:gd name="T6" fmla="*/ 608 w 1860"/>
                <a:gd name="T7" fmla="*/ 341 h 2233"/>
                <a:gd name="T8" fmla="*/ 789 w 1860"/>
                <a:gd name="T9" fmla="*/ 285 h 2233"/>
                <a:gd name="T10" fmla="*/ 875 w 1860"/>
                <a:gd name="T11" fmla="*/ 254 h 2233"/>
                <a:gd name="T12" fmla="*/ 957 w 1860"/>
                <a:gd name="T13" fmla="*/ 221 h 2233"/>
                <a:gd name="T14" fmla="*/ 1037 w 1860"/>
                <a:gd name="T15" fmla="*/ 188 h 2233"/>
                <a:gd name="T16" fmla="*/ 1113 w 1860"/>
                <a:gd name="T17" fmla="*/ 153 h 2233"/>
                <a:gd name="T18" fmla="*/ 1186 w 1860"/>
                <a:gd name="T19" fmla="*/ 116 h 2233"/>
                <a:gd name="T20" fmla="*/ 1255 w 1860"/>
                <a:gd name="T21" fmla="*/ 79 h 2233"/>
                <a:gd name="T22" fmla="*/ 1320 w 1860"/>
                <a:gd name="T23" fmla="*/ 40 h 2233"/>
                <a:gd name="T24" fmla="*/ 1381 w 1860"/>
                <a:gd name="T25" fmla="*/ 0 h 2233"/>
                <a:gd name="T26" fmla="*/ 1860 w 1860"/>
                <a:gd name="T27" fmla="*/ 1643 h 2233"/>
                <a:gd name="T28" fmla="*/ 1823 w 1860"/>
                <a:gd name="T29" fmla="*/ 1668 h 2233"/>
                <a:gd name="T30" fmla="*/ 1748 w 1860"/>
                <a:gd name="T31" fmla="*/ 1719 h 2233"/>
                <a:gd name="T32" fmla="*/ 1667 w 1860"/>
                <a:gd name="T33" fmla="*/ 1767 h 2233"/>
                <a:gd name="T34" fmla="*/ 1582 w 1860"/>
                <a:gd name="T35" fmla="*/ 1814 h 2233"/>
                <a:gd name="T36" fmla="*/ 1493 w 1860"/>
                <a:gd name="T37" fmla="*/ 1858 h 2233"/>
                <a:gd name="T38" fmla="*/ 1398 w 1860"/>
                <a:gd name="T39" fmla="*/ 1902 h 2233"/>
                <a:gd name="T40" fmla="*/ 1299 w 1860"/>
                <a:gd name="T41" fmla="*/ 1944 h 2233"/>
                <a:gd name="T42" fmla="*/ 1196 w 1860"/>
                <a:gd name="T43" fmla="*/ 1983 h 2233"/>
                <a:gd name="T44" fmla="*/ 1089 w 1860"/>
                <a:gd name="T45" fmla="*/ 2021 h 2233"/>
                <a:gd name="T46" fmla="*/ 978 w 1860"/>
                <a:gd name="T47" fmla="*/ 2056 h 2233"/>
                <a:gd name="T48" fmla="*/ 864 w 1860"/>
                <a:gd name="T49" fmla="*/ 2090 h 2233"/>
                <a:gd name="T50" fmla="*/ 745 w 1860"/>
                <a:gd name="T51" fmla="*/ 2121 h 2233"/>
                <a:gd name="T52" fmla="*/ 624 w 1860"/>
                <a:gd name="T53" fmla="*/ 2150 h 2233"/>
                <a:gd name="T54" fmla="*/ 499 w 1860"/>
                <a:gd name="T55" fmla="*/ 2177 h 2233"/>
                <a:gd name="T56" fmla="*/ 371 w 1860"/>
                <a:gd name="T57" fmla="*/ 2201 h 2233"/>
                <a:gd name="T58" fmla="*/ 240 w 1860"/>
                <a:gd name="T59" fmla="*/ 2223 h 2233"/>
                <a:gd name="T60" fmla="*/ 173 w 1860"/>
                <a:gd name="T61" fmla="*/ 2233 h 2233"/>
                <a:gd name="T62" fmla="*/ 0 w 1860"/>
                <a:gd name="T63" fmla="*/ 468 h 2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60" h="2233">
                  <a:moveTo>
                    <a:pt x="0" y="468"/>
                  </a:moveTo>
                  <a:lnTo>
                    <a:pt x="0" y="468"/>
                  </a:lnTo>
                  <a:lnTo>
                    <a:pt x="107" y="452"/>
                  </a:lnTo>
                  <a:lnTo>
                    <a:pt x="212" y="433"/>
                  </a:lnTo>
                  <a:lnTo>
                    <a:pt x="315" y="413"/>
                  </a:lnTo>
                  <a:lnTo>
                    <a:pt x="415" y="390"/>
                  </a:lnTo>
                  <a:lnTo>
                    <a:pt x="512" y="366"/>
                  </a:lnTo>
                  <a:lnTo>
                    <a:pt x="608" y="341"/>
                  </a:lnTo>
                  <a:lnTo>
                    <a:pt x="699" y="313"/>
                  </a:lnTo>
                  <a:lnTo>
                    <a:pt x="789" y="285"/>
                  </a:lnTo>
                  <a:lnTo>
                    <a:pt x="833" y="269"/>
                  </a:lnTo>
                  <a:lnTo>
                    <a:pt x="875" y="254"/>
                  </a:lnTo>
                  <a:lnTo>
                    <a:pt x="917" y="238"/>
                  </a:lnTo>
                  <a:lnTo>
                    <a:pt x="957" y="221"/>
                  </a:lnTo>
                  <a:lnTo>
                    <a:pt x="998" y="205"/>
                  </a:lnTo>
                  <a:lnTo>
                    <a:pt x="1037" y="188"/>
                  </a:lnTo>
                  <a:lnTo>
                    <a:pt x="1076" y="170"/>
                  </a:lnTo>
                  <a:lnTo>
                    <a:pt x="1113" y="153"/>
                  </a:lnTo>
                  <a:lnTo>
                    <a:pt x="1151" y="135"/>
                  </a:lnTo>
                  <a:lnTo>
                    <a:pt x="1186" y="116"/>
                  </a:lnTo>
                  <a:lnTo>
                    <a:pt x="1221" y="97"/>
                  </a:lnTo>
                  <a:lnTo>
                    <a:pt x="1255" y="79"/>
                  </a:lnTo>
                  <a:lnTo>
                    <a:pt x="1288" y="59"/>
                  </a:lnTo>
                  <a:lnTo>
                    <a:pt x="1320" y="40"/>
                  </a:lnTo>
                  <a:lnTo>
                    <a:pt x="1351" y="19"/>
                  </a:lnTo>
                  <a:lnTo>
                    <a:pt x="1381" y="0"/>
                  </a:lnTo>
                  <a:lnTo>
                    <a:pt x="1381" y="0"/>
                  </a:lnTo>
                  <a:lnTo>
                    <a:pt x="1860" y="1643"/>
                  </a:lnTo>
                  <a:lnTo>
                    <a:pt x="1860" y="1643"/>
                  </a:lnTo>
                  <a:lnTo>
                    <a:pt x="1823" y="1668"/>
                  </a:lnTo>
                  <a:lnTo>
                    <a:pt x="1787" y="1694"/>
                  </a:lnTo>
                  <a:lnTo>
                    <a:pt x="1748" y="1719"/>
                  </a:lnTo>
                  <a:lnTo>
                    <a:pt x="1709" y="1743"/>
                  </a:lnTo>
                  <a:lnTo>
                    <a:pt x="1667" y="1767"/>
                  </a:lnTo>
                  <a:lnTo>
                    <a:pt x="1626" y="1791"/>
                  </a:lnTo>
                  <a:lnTo>
                    <a:pt x="1582" y="1814"/>
                  </a:lnTo>
                  <a:lnTo>
                    <a:pt x="1538" y="1837"/>
                  </a:lnTo>
                  <a:lnTo>
                    <a:pt x="1493" y="1858"/>
                  </a:lnTo>
                  <a:lnTo>
                    <a:pt x="1446" y="1880"/>
                  </a:lnTo>
                  <a:lnTo>
                    <a:pt x="1398" y="1902"/>
                  </a:lnTo>
                  <a:lnTo>
                    <a:pt x="1349" y="1923"/>
                  </a:lnTo>
                  <a:lnTo>
                    <a:pt x="1299" y="1944"/>
                  </a:lnTo>
                  <a:lnTo>
                    <a:pt x="1248" y="1964"/>
                  </a:lnTo>
                  <a:lnTo>
                    <a:pt x="1196" y="1983"/>
                  </a:lnTo>
                  <a:lnTo>
                    <a:pt x="1143" y="2002"/>
                  </a:lnTo>
                  <a:lnTo>
                    <a:pt x="1089" y="2021"/>
                  </a:lnTo>
                  <a:lnTo>
                    <a:pt x="1034" y="2039"/>
                  </a:lnTo>
                  <a:lnTo>
                    <a:pt x="978" y="2056"/>
                  </a:lnTo>
                  <a:lnTo>
                    <a:pt x="921" y="2073"/>
                  </a:lnTo>
                  <a:lnTo>
                    <a:pt x="864" y="2090"/>
                  </a:lnTo>
                  <a:lnTo>
                    <a:pt x="804" y="2106"/>
                  </a:lnTo>
                  <a:lnTo>
                    <a:pt x="745" y="2121"/>
                  </a:lnTo>
                  <a:lnTo>
                    <a:pt x="685" y="2137"/>
                  </a:lnTo>
                  <a:lnTo>
                    <a:pt x="624" y="2150"/>
                  </a:lnTo>
                  <a:lnTo>
                    <a:pt x="561" y="2164"/>
                  </a:lnTo>
                  <a:lnTo>
                    <a:pt x="499" y="2177"/>
                  </a:lnTo>
                  <a:lnTo>
                    <a:pt x="435" y="2190"/>
                  </a:lnTo>
                  <a:lnTo>
                    <a:pt x="371" y="2201"/>
                  </a:lnTo>
                  <a:lnTo>
                    <a:pt x="305" y="2213"/>
                  </a:lnTo>
                  <a:lnTo>
                    <a:pt x="240" y="2223"/>
                  </a:lnTo>
                  <a:lnTo>
                    <a:pt x="173" y="2233"/>
                  </a:lnTo>
                  <a:lnTo>
                    <a:pt x="173" y="2233"/>
                  </a:lnTo>
                  <a:lnTo>
                    <a:pt x="0" y="468"/>
                  </a:lnTo>
                  <a:lnTo>
                    <a:pt x="0" y="468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8" name="Freeform 150"/>
            <p:cNvSpPr>
              <a:spLocks/>
            </p:cNvSpPr>
            <p:nvPr/>
          </p:nvSpPr>
          <p:spPr bwMode="auto">
            <a:xfrm flipH="1">
              <a:off x="1718170" y="3887675"/>
              <a:ext cx="233507" cy="286362"/>
            </a:xfrm>
            <a:custGeom>
              <a:avLst/>
              <a:gdLst>
                <a:gd name="T0" fmla="*/ 0 w 1268"/>
                <a:gd name="T1" fmla="*/ 212 h 1995"/>
                <a:gd name="T2" fmla="*/ 0 w 1268"/>
                <a:gd name="T3" fmla="*/ 212 h 1995"/>
                <a:gd name="T4" fmla="*/ 57 w 1268"/>
                <a:gd name="T5" fmla="*/ 205 h 1995"/>
                <a:gd name="T6" fmla="*/ 114 w 1268"/>
                <a:gd name="T7" fmla="*/ 196 h 1995"/>
                <a:gd name="T8" fmla="*/ 169 w 1268"/>
                <a:gd name="T9" fmla="*/ 187 h 1995"/>
                <a:gd name="T10" fmla="*/ 225 w 1268"/>
                <a:gd name="T11" fmla="*/ 176 h 1995"/>
                <a:gd name="T12" fmla="*/ 279 w 1268"/>
                <a:gd name="T13" fmla="*/ 166 h 1995"/>
                <a:gd name="T14" fmla="*/ 331 w 1268"/>
                <a:gd name="T15" fmla="*/ 155 h 1995"/>
                <a:gd name="T16" fmla="*/ 383 w 1268"/>
                <a:gd name="T17" fmla="*/ 142 h 1995"/>
                <a:gd name="T18" fmla="*/ 434 w 1268"/>
                <a:gd name="T19" fmla="*/ 129 h 1995"/>
                <a:gd name="T20" fmla="*/ 482 w 1268"/>
                <a:gd name="T21" fmla="*/ 115 h 1995"/>
                <a:gd name="T22" fmla="*/ 531 w 1268"/>
                <a:gd name="T23" fmla="*/ 100 h 1995"/>
                <a:gd name="T24" fmla="*/ 578 w 1268"/>
                <a:gd name="T25" fmla="*/ 86 h 1995"/>
                <a:gd name="T26" fmla="*/ 624 w 1268"/>
                <a:gd name="T27" fmla="*/ 69 h 1995"/>
                <a:gd name="T28" fmla="*/ 668 w 1268"/>
                <a:gd name="T29" fmla="*/ 54 h 1995"/>
                <a:gd name="T30" fmla="*/ 711 w 1268"/>
                <a:gd name="T31" fmla="*/ 36 h 1995"/>
                <a:gd name="T32" fmla="*/ 753 w 1268"/>
                <a:gd name="T33" fmla="*/ 18 h 1995"/>
                <a:gd name="T34" fmla="*/ 793 w 1268"/>
                <a:gd name="T35" fmla="*/ 0 h 1995"/>
                <a:gd name="T36" fmla="*/ 793 w 1268"/>
                <a:gd name="T37" fmla="*/ 0 h 1995"/>
                <a:gd name="T38" fmla="*/ 1268 w 1268"/>
                <a:gd name="T39" fmla="*/ 1635 h 1995"/>
                <a:gd name="T40" fmla="*/ 1268 w 1268"/>
                <a:gd name="T41" fmla="*/ 1635 h 1995"/>
                <a:gd name="T42" fmla="*/ 1218 w 1268"/>
                <a:gd name="T43" fmla="*/ 1665 h 1995"/>
                <a:gd name="T44" fmla="*/ 1165 w 1268"/>
                <a:gd name="T45" fmla="*/ 1696 h 1995"/>
                <a:gd name="T46" fmla="*/ 1110 w 1268"/>
                <a:gd name="T47" fmla="*/ 1725 h 1995"/>
                <a:gd name="T48" fmla="*/ 1052 w 1268"/>
                <a:gd name="T49" fmla="*/ 1753 h 1995"/>
                <a:gd name="T50" fmla="*/ 992 w 1268"/>
                <a:gd name="T51" fmla="*/ 1780 h 1995"/>
                <a:gd name="T52" fmla="*/ 928 w 1268"/>
                <a:gd name="T53" fmla="*/ 1806 h 1995"/>
                <a:gd name="T54" fmla="*/ 863 w 1268"/>
                <a:gd name="T55" fmla="*/ 1830 h 1995"/>
                <a:gd name="T56" fmla="*/ 794 w 1268"/>
                <a:gd name="T57" fmla="*/ 1854 h 1995"/>
                <a:gd name="T58" fmla="*/ 724 w 1268"/>
                <a:gd name="T59" fmla="*/ 1876 h 1995"/>
                <a:gd name="T60" fmla="*/ 652 w 1268"/>
                <a:gd name="T61" fmla="*/ 1897 h 1995"/>
                <a:gd name="T62" fmla="*/ 577 w 1268"/>
                <a:gd name="T63" fmla="*/ 1917 h 1995"/>
                <a:gd name="T64" fmla="*/ 500 w 1268"/>
                <a:gd name="T65" fmla="*/ 1935 h 1995"/>
                <a:gd name="T66" fmla="*/ 421 w 1268"/>
                <a:gd name="T67" fmla="*/ 1953 h 1995"/>
                <a:gd name="T68" fmla="*/ 341 w 1268"/>
                <a:gd name="T69" fmla="*/ 1969 h 1995"/>
                <a:gd name="T70" fmla="*/ 258 w 1268"/>
                <a:gd name="T71" fmla="*/ 1982 h 1995"/>
                <a:gd name="T72" fmla="*/ 175 w 1268"/>
                <a:gd name="T73" fmla="*/ 1995 h 1995"/>
                <a:gd name="T74" fmla="*/ 175 w 1268"/>
                <a:gd name="T75" fmla="*/ 1995 h 1995"/>
                <a:gd name="T76" fmla="*/ 0 w 1268"/>
                <a:gd name="T77" fmla="*/ 212 h 1995"/>
                <a:gd name="T78" fmla="*/ 0 w 1268"/>
                <a:gd name="T79" fmla="*/ 212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68" h="1995">
                  <a:moveTo>
                    <a:pt x="0" y="212"/>
                  </a:moveTo>
                  <a:lnTo>
                    <a:pt x="0" y="212"/>
                  </a:lnTo>
                  <a:lnTo>
                    <a:pt x="57" y="205"/>
                  </a:lnTo>
                  <a:lnTo>
                    <a:pt x="114" y="196"/>
                  </a:lnTo>
                  <a:lnTo>
                    <a:pt x="169" y="187"/>
                  </a:lnTo>
                  <a:lnTo>
                    <a:pt x="225" y="176"/>
                  </a:lnTo>
                  <a:lnTo>
                    <a:pt x="279" y="166"/>
                  </a:lnTo>
                  <a:lnTo>
                    <a:pt x="331" y="155"/>
                  </a:lnTo>
                  <a:lnTo>
                    <a:pt x="383" y="142"/>
                  </a:lnTo>
                  <a:lnTo>
                    <a:pt x="434" y="129"/>
                  </a:lnTo>
                  <a:lnTo>
                    <a:pt x="482" y="115"/>
                  </a:lnTo>
                  <a:lnTo>
                    <a:pt x="531" y="100"/>
                  </a:lnTo>
                  <a:lnTo>
                    <a:pt x="578" y="86"/>
                  </a:lnTo>
                  <a:lnTo>
                    <a:pt x="624" y="69"/>
                  </a:lnTo>
                  <a:lnTo>
                    <a:pt x="668" y="54"/>
                  </a:lnTo>
                  <a:lnTo>
                    <a:pt x="711" y="36"/>
                  </a:lnTo>
                  <a:lnTo>
                    <a:pt x="753" y="18"/>
                  </a:lnTo>
                  <a:lnTo>
                    <a:pt x="793" y="0"/>
                  </a:lnTo>
                  <a:lnTo>
                    <a:pt x="793" y="0"/>
                  </a:lnTo>
                  <a:lnTo>
                    <a:pt x="1268" y="1635"/>
                  </a:lnTo>
                  <a:lnTo>
                    <a:pt x="1268" y="1635"/>
                  </a:lnTo>
                  <a:lnTo>
                    <a:pt x="1218" y="1665"/>
                  </a:lnTo>
                  <a:lnTo>
                    <a:pt x="1165" y="1696"/>
                  </a:lnTo>
                  <a:lnTo>
                    <a:pt x="1110" y="1725"/>
                  </a:lnTo>
                  <a:lnTo>
                    <a:pt x="1052" y="1753"/>
                  </a:lnTo>
                  <a:lnTo>
                    <a:pt x="992" y="1780"/>
                  </a:lnTo>
                  <a:lnTo>
                    <a:pt x="928" y="1806"/>
                  </a:lnTo>
                  <a:lnTo>
                    <a:pt x="863" y="1830"/>
                  </a:lnTo>
                  <a:lnTo>
                    <a:pt x="794" y="1854"/>
                  </a:lnTo>
                  <a:lnTo>
                    <a:pt x="724" y="1876"/>
                  </a:lnTo>
                  <a:lnTo>
                    <a:pt x="652" y="1897"/>
                  </a:lnTo>
                  <a:lnTo>
                    <a:pt x="577" y="1917"/>
                  </a:lnTo>
                  <a:lnTo>
                    <a:pt x="500" y="1935"/>
                  </a:lnTo>
                  <a:lnTo>
                    <a:pt x="421" y="1953"/>
                  </a:lnTo>
                  <a:lnTo>
                    <a:pt x="341" y="1969"/>
                  </a:lnTo>
                  <a:lnTo>
                    <a:pt x="258" y="1982"/>
                  </a:lnTo>
                  <a:lnTo>
                    <a:pt x="175" y="1995"/>
                  </a:lnTo>
                  <a:lnTo>
                    <a:pt x="175" y="1995"/>
                  </a:lnTo>
                  <a:lnTo>
                    <a:pt x="0" y="212"/>
                  </a:lnTo>
                  <a:lnTo>
                    <a:pt x="0" y="21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9" name="Freeform 151"/>
            <p:cNvSpPr>
              <a:spLocks/>
            </p:cNvSpPr>
            <p:nvPr/>
          </p:nvSpPr>
          <p:spPr bwMode="auto">
            <a:xfrm flipH="1">
              <a:off x="2596721" y="5078268"/>
              <a:ext cx="28382" cy="9030"/>
            </a:xfrm>
            <a:custGeom>
              <a:avLst/>
              <a:gdLst>
                <a:gd name="T0" fmla="*/ 1 w 154"/>
                <a:gd name="T1" fmla="*/ 2 h 67"/>
                <a:gd name="T2" fmla="*/ 2 w 154"/>
                <a:gd name="T3" fmla="*/ 0 h 67"/>
                <a:gd name="T4" fmla="*/ 2 w 154"/>
                <a:gd name="T5" fmla="*/ 0 h 67"/>
                <a:gd name="T6" fmla="*/ 77 w 154"/>
                <a:gd name="T7" fmla="*/ 32 h 67"/>
                <a:gd name="T8" fmla="*/ 154 w 154"/>
                <a:gd name="T9" fmla="*/ 63 h 67"/>
                <a:gd name="T10" fmla="*/ 151 w 154"/>
                <a:gd name="T11" fmla="*/ 67 h 67"/>
                <a:gd name="T12" fmla="*/ 151 w 154"/>
                <a:gd name="T13" fmla="*/ 67 h 67"/>
                <a:gd name="T14" fmla="*/ 114 w 154"/>
                <a:gd name="T15" fmla="*/ 53 h 67"/>
                <a:gd name="T16" fmla="*/ 77 w 154"/>
                <a:gd name="T17" fmla="*/ 37 h 67"/>
                <a:gd name="T18" fmla="*/ 38 w 154"/>
                <a:gd name="T19" fmla="*/ 21 h 67"/>
                <a:gd name="T20" fmla="*/ 0 w 154"/>
                <a:gd name="T21" fmla="*/ 4 h 67"/>
                <a:gd name="T22" fmla="*/ 2 w 154"/>
                <a:gd name="T23" fmla="*/ 0 h 67"/>
                <a:gd name="T24" fmla="*/ 1 w 154"/>
                <a:gd name="T25" fmla="*/ 2 h 67"/>
                <a:gd name="T26" fmla="*/ 2 w 154"/>
                <a:gd name="T27" fmla="*/ 0 h 67"/>
                <a:gd name="T28" fmla="*/ 2 w 154"/>
                <a:gd name="T29" fmla="*/ 0 h 67"/>
                <a:gd name="T30" fmla="*/ 40 w 154"/>
                <a:gd name="T31" fmla="*/ 16 h 67"/>
                <a:gd name="T32" fmla="*/ 79 w 154"/>
                <a:gd name="T33" fmla="*/ 33 h 67"/>
                <a:gd name="T34" fmla="*/ 116 w 154"/>
                <a:gd name="T35" fmla="*/ 49 h 67"/>
                <a:gd name="T36" fmla="*/ 154 w 154"/>
                <a:gd name="T37" fmla="*/ 63 h 67"/>
                <a:gd name="T38" fmla="*/ 152 w 154"/>
                <a:gd name="T39" fmla="*/ 65 h 67"/>
                <a:gd name="T40" fmla="*/ 151 w 154"/>
                <a:gd name="T41" fmla="*/ 67 h 67"/>
                <a:gd name="T42" fmla="*/ 151 w 154"/>
                <a:gd name="T43" fmla="*/ 67 h 67"/>
                <a:gd name="T44" fmla="*/ 75 w 154"/>
                <a:gd name="T45" fmla="*/ 36 h 67"/>
                <a:gd name="T46" fmla="*/ 0 w 154"/>
                <a:gd name="T47" fmla="*/ 4 h 67"/>
                <a:gd name="T48" fmla="*/ 1 w 154"/>
                <a:gd name="T49" fmla="*/ 2 h 67"/>
                <a:gd name="T50" fmla="*/ 2 w 154"/>
                <a:gd name="T51" fmla="*/ 0 h 67"/>
                <a:gd name="T52" fmla="*/ 1 w 154"/>
                <a:gd name="T53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4" h="67">
                  <a:moveTo>
                    <a:pt x="1" y="2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77" y="32"/>
                  </a:lnTo>
                  <a:lnTo>
                    <a:pt x="154" y="63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114" y="53"/>
                  </a:lnTo>
                  <a:lnTo>
                    <a:pt x="77" y="37"/>
                  </a:lnTo>
                  <a:lnTo>
                    <a:pt x="38" y="21"/>
                  </a:lnTo>
                  <a:lnTo>
                    <a:pt x="0" y="4"/>
                  </a:lnTo>
                  <a:lnTo>
                    <a:pt x="2" y="0"/>
                  </a:lnTo>
                  <a:lnTo>
                    <a:pt x="1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40" y="16"/>
                  </a:lnTo>
                  <a:lnTo>
                    <a:pt x="79" y="33"/>
                  </a:lnTo>
                  <a:lnTo>
                    <a:pt x="116" y="49"/>
                  </a:lnTo>
                  <a:lnTo>
                    <a:pt x="154" y="63"/>
                  </a:lnTo>
                  <a:lnTo>
                    <a:pt x="152" y="65"/>
                  </a:lnTo>
                  <a:lnTo>
                    <a:pt x="151" y="67"/>
                  </a:lnTo>
                  <a:lnTo>
                    <a:pt x="151" y="67"/>
                  </a:lnTo>
                  <a:lnTo>
                    <a:pt x="75" y="36"/>
                  </a:lnTo>
                  <a:lnTo>
                    <a:pt x="0" y="4"/>
                  </a:lnTo>
                  <a:lnTo>
                    <a:pt x="1" y="2"/>
                  </a:lnTo>
                  <a:lnTo>
                    <a:pt x="2" y="0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0" name="Freeform 152"/>
            <p:cNvSpPr>
              <a:spLocks/>
            </p:cNvSpPr>
            <p:nvPr/>
          </p:nvSpPr>
          <p:spPr bwMode="auto">
            <a:xfrm flipH="1">
              <a:off x="2701218" y="5046021"/>
              <a:ext cx="1290" cy="0"/>
            </a:xfrm>
            <a:custGeom>
              <a:avLst/>
              <a:gdLst>
                <a:gd name="T0" fmla="*/ 3 w 5"/>
                <a:gd name="T1" fmla="*/ 4 h 7"/>
                <a:gd name="T2" fmla="*/ 0 w 5"/>
                <a:gd name="T3" fmla="*/ 4 h 7"/>
                <a:gd name="T4" fmla="*/ 0 w 5"/>
                <a:gd name="T5" fmla="*/ 4 h 7"/>
                <a:gd name="T6" fmla="*/ 0 w 5"/>
                <a:gd name="T7" fmla="*/ 0 h 7"/>
                <a:gd name="T8" fmla="*/ 4 w 5"/>
                <a:gd name="T9" fmla="*/ 2 h 7"/>
                <a:gd name="T10" fmla="*/ 2 w 5"/>
                <a:gd name="T11" fmla="*/ 7 h 7"/>
                <a:gd name="T12" fmla="*/ 2 w 5"/>
                <a:gd name="T13" fmla="*/ 6 h 7"/>
                <a:gd name="T14" fmla="*/ 0 w 5"/>
                <a:gd name="T15" fmla="*/ 6 h 7"/>
                <a:gd name="T16" fmla="*/ 0 w 5"/>
                <a:gd name="T17" fmla="*/ 4 h 7"/>
                <a:gd name="T18" fmla="*/ 3 w 5"/>
                <a:gd name="T19" fmla="*/ 4 h 7"/>
                <a:gd name="T20" fmla="*/ 4 w 5"/>
                <a:gd name="T21" fmla="*/ 2 h 7"/>
                <a:gd name="T22" fmla="*/ 4 w 5"/>
                <a:gd name="T23" fmla="*/ 2 h 7"/>
                <a:gd name="T24" fmla="*/ 3 w 5"/>
                <a:gd name="T25" fmla="*/ 4 h 7"/>
                <a:gd name="T26" fmla="*/ 2 w 5"/>
                <a:gd name="T27" fmla="*/ 6 h 7"/>
                <a:gd name="T28" fmla="*/ 1 w 5"/>
                <a:gd name="T29" fmla="*/ 6 h 7"/>
                <a:gd name="T30" fmla="*/ 3 w 5"/>
                <a:gd name="T31" fmla="*/ 4 h 7"/>
                <a:gd name="T32" fmla="*/ 5 w 5"/>
                <a:gd name="T33" fmla="*/ 4 h 7"/>
                <a:gd name="T34" fmla="*/ 5 w 5"/>
                <a:gd name="T35" fmla="*/ 4 h 7"/>
                <a:gd name="T36" fmla="*/ 3 w 5"/>
                <a:gd name="T37" fmla="*/ 4 h 7"/>
                <a:gd name="T38" fmla="*/ 4 w 5"/>
                <a:gd name="T39" fmla="*/ 2 h 7"/>
                <a:gd name="T40" fmla="*/ 3 w 5"/>
                <a:gd name="T4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" h="7">
                  <a:moveTo>
                    <a:pt x="3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2"/>
                  </a:lnTo>
                  <a:lnTo>
                    <a:pt x="2" y="7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3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4"/>
                  </a:lnTo>
                  <a:lnTo>
                    <a:pt x="2" y="6"/>
                  </a:lnTo>
                  <a:lnTo>
                    <a:pt x="1" y="6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3" y="4"/>
                  </a:lnTo>
                  <a:lnTo>
                    <a:pt x="4" y="2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1" name="Freeform 153"/>
            <p:cNvSpPr>
              <a:spLocks/>
            </p:cNvSpPr>
            <p:nvPr/>
          </p:nvSpPr>
          <p:spPr bwMode="auto">
            <a:xfrm flipH="1">
              <a:off x="1860080" y="3494250"/>
              <a:ext cx="362516" cy="183168"/>
            </a:xfrm>
            <a:custGeom>
              <a:avLst/>
              <a:gdLst>
                <a:gd name="T0" fmla="*/ 1738 w 1966"/>
                <a:gd name="T1" fmla="*/ 918 h 1278"/>
                <a:gd name="T2" fmla="*/ 1708 w 1966"/>
                <a:gd name="T3" fmla="*/ 812 h 1278"/>
                <a:gd name="T4" fmla="*/ 1690 w 1966"/>
                <a:gd name="T5" fmla="*/ 758 h 1278"/>
                <a:gd name="T6" fmla="*/ 1667 w 1966"/>
                <a:gd name="T7" fmla="*/ 713 h 1278"/>
                <a:gd name="T8" fmla="*/ 1641 w 1966"/>
                <a:gd name="T9" fmla="*/ 673 h 1278"/>
                <a:gd name="T10" fmla="*/ 1612 w 1966"/>
                <a:gd name="T11" fmla="*/ 642 h 1278"/>
                <a:gd name="T12" fmla="*/ 1580 w 1966"/>
                <a:gd name="T13" fmla="*/ 617 h 1278"/>
                <a:gd name="T14" fmla="*/ 1545 w 1966"/>
                <a:gd name="T15" fmla="*/ 598 h 1278"/>
                <a:gd name="T16" fmla="*/ 1508 w 1966"/>
                <a:gd name="T17" fmla="*/ 586 h 1278"/>
                <a:gd name="T18" fmla="*/ 1470 w 1966"/>
                <a:gd name="T19" fmla="*/ 581 h 1278"/>
                <a:gd name="T20" fmla="*/ 1429 w 1966"/>
                <a:gd name="T21" fmla="*/ 582 h 1278"/>
                <a:gd name="T22" fmla="*/ 1389 w 1966"/>
                <a:gd name="T23" fmla="*/ 591 h 1278"/>
                <a:gd name="T24" fmla="*/ 1362 w 1966"/>
                <a:gd name="T25" fmla="*/ 600 h 1278"/>
                <a:gd name="T26" fmla="*/ 1329 w 1966"/>
                <a:gd name="T27" fmla="*/ 622 h 1278"/>
                <a:gd name="T28" fmla="*/ 1304 w 1966"/>
                <a:gd name="T29" fmla="*/ 652 h 1278"/>
                <a:gd name="T30" fmla="*/ 1287 w 1966"/>
                <a:gd name="T31" fmla="*/ 691 h 1278"/>
                <a:gd name="T32" fmla="*/ 1278 w 1966"/>
                <a:gd name="T33" fmla="*/ 735 h 1278"/>
                <a:gd name="T34" fmla="*/ 1272 w 1966"/>
                <a:gd name="T35" fmla="*/ 821 h 1278"/>
                <a:gd name="T36" fmla="*/ 1278 w 1966"/>
                <a:gd name="T37" fmla="*/ 931 h 1278"/>
                <a:gd name="T38" fmla="*/ 1290 w 1966"/>
                <a:gd name="T39" fmla="*/ 1076 h 1278"/>
                <a:gd name="T40" fmla="*/ 1269 w 1966"/>
                <a:gd name="T41" fmla="*/ 1262 h 1278"/>
                <a:gd name="T42" fmla="*/ 1153 w 1966"/>
                <a:gd name="T43" fmla="*/ 1272 h 1278"/>
                <a:gd name="T44" fmla="*/ 1032 w 1966"/>
                <a:gd name="T45" fmla="*/ 1277 h 1278"/>
                <a:gd name="T46" fmla="*/ 948 w 1966"/>
                <a:gd name="T47" fmla="*/ 1277 h 1278"/>
                <a:gd name="T48" fmla="*/ 821 w 1966"/>
                <a:gd name="T49" fmla="*/ 1272 h 1278"/>
                <a:gd name="T50" fmla="*/ 698 w 1966"/>
                <a:gd name="T51" fmla="*/ 1260 h 1278"/>
                <a:gd name="T52" fmla="*/ 582 w 1966"/>
                <a:gd name="T53" fmla="*/ 1242 h 1278"/>
                <a:gd name="T54" fmla="*/ 473 w 1966"/>
                <a:gd name="T55" fmla="*/ 1218 h 1278"/>
                <a:gd name="T56" fmla="*/ 371 w 1966"/>
                <a:gd name="T57" fmla="*/ 1190 h 1278"/>
                <a:gd name="T58" fmla="*/ 278 w 1966"/>
                <a:gd name="T59" fmla="*/ 1156 h 1278"/>
                <a:gd name="T60" fmla="*/ 195 w 1966"/>
                <a:gd name="T61" fmla="*/ 1118 h 1278"/>
                <a:gd name="T62" fmla="*/ 123 w 1966"/>
                <a:gd name="T63" fmla="*/ 1076 h 1278"/>
                <a:gd name="T64" fmla="*/ 61 w 1966"/>
                <a:gd name="T65" fmla="*/ 1031 h 1278"/>
                <a:gd name="T66" fmla="*/ 13 w 1966"/>
                <a:gd name="T67" fmla="*/ 982 h 1278"/>
                <a:gd name="T68" fmla="*/ 79 w 1966"/>
                <a:gd name="T69" fmla="*/ 747 h 1278"/>
                <a:gd name="T70" fmla="*/ 138 w 1966"/>
                <a:gd name="T71" fmla="*/ 579 h 1278"/>
                <a:gd name="T72" fmla="*/ 172 w 1966"/>
                <a:gd name="T73" fmla="*/ 484 h 1278"/>
                <a:gd name="T74" fmla="*/ 220 w 1966"/>
                <a:gd name="T75" fmla="*/ 397 h 1278"/>
                <a:gd name="T76" fmla="*/ 278 w 1966"/>
                <a:gd name="T77" fmla="*/ 315 h 1278"/>
                <a:gd name="T78" fmla="*/ 348 w 1966"/>
                <a:gd name="T79" fmla="*/ 241 h 1278"/>
                <a:gd name="T80" fmla="*/ 428 w 1966"/>
                <a:gd name="T81" fmla="*/ 175 h 1278"/>
                <a:gd name="T82" fmla="*/ 517 w 1966"/>
                <a:gd name="T83" fmla="*/ 119 h 1278"/>
                <a:gd name="T84" fmla="*/ 612 w 1966"/>
                <a:gd name="T85" fmla="*/ 72 h 1278"/>
                <a:gd name="T86" fmla="*/ 715 w 1966"/>
                <a:gd name="T87" fmla="*/ 36 h 1278"/>
                <a:gd name="T88" fmla="*/ 824 w 1966"/>
                <a:gd name="T89" fmla="*/ 12 h 1278"/>
                <a:gd name="T90" fmla="*/ 938 w 1966"/>
                <a:gd name="T91" fmla="*/ 1 h 1278"/>
                <a:gd name="T92" fmla="*/ 1012 w 1966"/>
                <a:gd name="T93" fmla="*/ 1 h 1278"/>
                <a:gd name="T94" fmla="*/ 1118 w 1966"/>
                <a:gd name="T95" fmla="*/ 10 h 1278"/>
                <a:gd name="T96" fmla="*/ 1221 w 1966"/>
                <a:gd name="T97" fmla="*/ 31 h 1278"/>
                <a:gd name="T98" fmla="*/ 1318 w 1966"/>
                <a:gd name="T99" fmla="*/ 62 h 1278"/>
                <a:gd name="T100" fmla="*/ 1410 w 1966"/>
                <a:gd name="T101" fmla="*/ 104 h 1278"/>
                <a:gd name="T102" fmla="*/ 1495 w 1966"/>
                <a:gd name="T103" fmla="*/ 154 h 1278"/>
                <a:gd name="T104" fmla="*/ 1572 w 1966"/>
                <a:gd name="T105" fmla="*/ 211 h 1278"/>
                <a:gd name="T106" fmla="*/ 1641 w 1966"/>
                <a:gd name="T107" fmla="*/ 277 h 1278"/>
                <a:gd name="T108" fmla="*/ 1702 w 1966"/>
                <a:gd name="T109" fmla="*/ 350 h 1278"/>
                <a:gd name="T110" fmla="*/ 1753 w 1966"/>
                <a:gd name="T111" fmla="*/ 429 h 1278"/>
                <a:gd name="T112" fmla="*/ 1792 w 1966"/>
                <a:gd name="T113" fmla="*/ 514 h 1278"/>
                <a:gd name="T114" fmla="*/ 1865 w 1966"/>
                <a:gd name="T115" fmla="*/ 708 h 1278"/>
                <a:gd name="T116" fmla="*/ 1949 w 1966"/>
                <a:gd name="T117" fmla="*/ 1004 h 1278"/>
                <a:gd name="T118" fmla="*/ 1892 w 1966"/>
                <a:gd name="T119" fmla="*/ 1054 h 1278"/>
                <a:gd name="T120" fmla="*/ 1820 w 1966"/>
                <a:gd name="T121" fmla="*/ 1100 h 1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966" h="1278">
                  <a:moveTo>
                    <a:pt x="1794" y="1115"/>
                  </a:moveTo>
                  <a:lnTo>
                    <a:pt x="1794" y="1115"/>
                  </a:lnTo>
                  <a:lnTo>
                    <a:pt x="1738" y="918"/>
                  </a:lnTo>
                  <a:lnTo>
                    <a:pt x="1713" y="831"/>
                  </a:lnTo>
                  <a:lnTo>
                    <a:pt x="1713" y="831"/>
                  </a:lnTo>
                  <a:lnTo>
                    <a:pt x="1708" y="812"/>
                  </a:lnTo>
                  <a:lnTo>
                    <a:pt x="1703" y="793"/>
                  </a:lnTo>
                  <a:lnTo>
                    <a:pt x="1697" y="775"/>
                  </a:lnTo>
                  <a:lnTo>
                    <a:pt x="1690" y="758"/>
                  </a:lnTo>
                  <a:lnTo>
                    <a:pt x="1683" y="743"/>
                  </a:lnTo>
                  <a:lnTo>
                    <a:pt x="1676" y="727"/>
                  </a:lnTo>
                  <a:lnTo>
                    <a:pt x="1667" y="713"/>
                  </a:lnTo>
                  <a:lnTo>
                    <a:pt x="1659" y="699"/>
                  </a:lnTo>
                  <a:lnTo>
                    <a:pt x="1651" y="685"/>
                  </a:lnTo>
                  <a:lnTo>
                    <a:pt x="1641" y="673"/>
                  </a:lnTo>
                  <a:lnTo>
                    <a:pt x="1632" y="662"/>
                  </a:lnTo>
                  <a:lnTo>
                    <a:pt x="1622" y="651"/>
                  </a:lnTo>
                  <a:lnTo>
                    <a:pt x="1612" y="642"/>
                  </a:lnTo>
                  <a:lnTo>
                    <a:pt x="1602" y="632"/>
                  </a:lnTo>
                  <a:lnTo>
                    <a:pt x="1590" y="624"/>
                  </a:lnTo>
                  <a:lnTo>
                    <a:pt x="1580" y="617"/>
                  </a:lnTo>
                  <a:lnTo>
                    <a:pt x="1569" y="609"/>
                  </a:lnTo>
                  <a:lnTo>
                    <a:pt x="1557" y="603"/>
                  </a:lnTo>
                  <a:lnTo>
                    <a:pt x="1545" y="598"/>
                  </a:lnTo>
                  <a:lnTo>
                    <a:pt x="1533" y="594"/>
                  </a:lnTo>
                  <a:lnTo>
                    <a:pt x="1521" y="590"/>
                  </a:lnTo>
                  <a:lnTo>
                    <a:pt x="1508" y="586"/>
                  </a:lnTo>
                  <a:lnTo>
                    <a:pt x="1496" y="583"/>
                  </a:lnTo>
                  <a:lnTo>
                    <a:pt x="1483" y="582"/>
                  </a:lnTo>
                  <a:lnTo>
                    <a:pt x="1470" y="581"/>
                  </a:lnTo>
                  <a:lnTo>
                    <a:pt x="1456" y="581"/>
                  </a:lnTo>
                  <a:lnTo>
                    <a:pt x="1443" y="581"/>
                  </a:lnTo>
                  <a:lnTo>
                    <a:pt x="1429" y="582"/>
                  </a:lnTo>
                  <a:lnTo>
                    <a:pt x="1416" y="584"/>
                  </a:lnTo>
                  <a:lnTo>
                    <a:pt x="1402" y="588"/>
                  </a:lnTo>
                  <a:lnTo>
                    <a:pt x="1389" y="591"/>
                  </a:lnTo>
                  <a:lnTo>
                    <a:pt x="1375" y="595"/>
                  </a:lnTo>
                  <a:lnTo>
                    <a:pt x="1375" y="595"/>
                  </a:lnTo>
                  <a:lnTo>
                    <a:pt x="1362" y="600"/>
                  </a:lnTo>
                  <a:lnTo>
                    <a:pt x="1349" y="606"/>
                  </a:lnTo>
                  <a:lnTo>
                    <a:pt x="1338" y="614"/>
                  </a:lnTo>
                  <a:lnTo>
                    <a:pt x="1329" y="622"/>
                  </a:lnTo>
                  <a:lnTo>
                    <a:pt x="1319" y="631"/>
                  </a:lnTo>
                  <a:lnTo>
                    <a:pt x="1311" y="642"/>
                  </a:lnTo>
                  <a:lnTo>
                    <a:pt x="1304" y="652"/>
                  </a:lnTo>
                  <a:lnTo>
                    <a:pt x="1297" y="665"/>
                  </a:lnTo>
                  <a:lnTo>
                    <a:pt x="1292" y="677"/>
                  </a:lnTo>
                  <a:lnTo>
                    <a:pt x="1287" y="691"/>
                  </a:lnTo>
                  <a:lnTo>
                    <a:pt x="1283" y="705"/>
                  </a:lnTo>
                  <a:lnTo>
                    <a:pt x="1280" y="720"/>
                  </a:lnTo>
                  <a:lnTo>
                    <a:pt x="1278" y="735"/>
                  </a:lnTo>
                  <a:lnTo>
                    <a:pt x="1275" y="752"/>
                  </a:lnTo>
                  <a:lnTo>
                    <a:pt x="1272" y="786"/>
                  </a:lnTo>
                  <a:lnTo>
                    <a:pt x="1272" y="821"/>
                  </a:lnTo>
                  <a:lnTo>
                    <a:pt x="1272" y="857"/>
                  </a:lnTo>
                  <a:lnTo>
                    <a:pt x="1274" y="894"/>
                  </a:lnTo>
                  <a:lnTo>
                    <a:pt x="1278" y="931"/>
                  </a:lnTo>
                  <a:lnTo>
                    <a:pt x="1285" y="1006"/>
                  </a:lnTo>
                  <a:lnTo>
                    <a:pt x="1290" y="1076"/>
                  </a:lnTo>
                  <a:lnTo>
                    <a:pt x="1290" y="1076"/>
                  </a:lnTo>
                  <a:lnTo>
                    <a:pt x="1307" y="1256"/>
                  </a:lnTo>
                  <a:lnTo>
                    <a:pt x="1307" y="1256"/>
                  </a:lnTo>
                  <a:lnTo>
                    <a:pt x="1269" y="1262"/>
                  </a:lnTo>
                  <a:lnTo>
                    <a:pt x="1231" y="1266"/>
                  </a:lnTo>
                  <a:lnTo>
                    <a:pt x="1192" y="1270"/>
                  </a:lnTo>
                  <a:lnTo>
                    <a:pt x="1153" y="1272"/>
                  </a:lnTo>
                  <a:lnTo>
                    <a:pt x="1113" y="1275"/>
                  </a:lnTo>
                  <a:lnTo>
                    <a:pt x="1073" y="1276"/>
                  </a:lnTo>
                  <a:lnTo>
                    <a:pt x="1032" y="1277"/>
                  </a:lnTo>
                  <a:lnTo>
                    <a:pt x="992" y="1278"/>
                  </a:lnTo>
                  <a:lnTo>
                    <a:pt x="992" y="1278"/>
                  </a:lnTo>
                  <a:lnTo>
                    <a:pt x="948" y="1277"/>
                  </a:lnTo>
                  <a:lnTo>
                    <a:pt x="905" y="1276"/>
                  </a:lnTo>
                  <a:lnTo>
                    <a:pt x="863" y="1274"/>
                  </a:lnTo>
                  <a:lnTo>
                    <a:pt x="821" y="1272"/>
                  </a:lnTo>
                  <a:lnTo>
                    <a:pt x="780" y="1269"/>
                  </a:lnTo>
                  <a:lnTo>
                    <a:pt x="739" y="1265"/>
                  </a:lnTo>
                  <a:lnTo>
                    <a:pt x="698" y="1260"/>
                  </a:lnTo>
                  <a:lnTo>
                    <a:pt x="659" y="1254"/>
                  </a:lnTo>
                  <a:lnTo>
                    <a:pt x="621" y="1248"/>
                  </a:lnTo>
                  <a:lnTo>
                    <a:pt x="582" y="1242"/>
                  </a:lnTo>
                  <a:lnTo>
                    <a:pt x="545" y="1235"/>
                  </a:lnTo>
                  <a:lnTo>
                    <a:pt x="508" y="1227"/>
                  </a:lnTo>
                  <a:lnTo>
                    <a:pt x="473" y="1218"/>
                  </a:lnTo>
                  <a:lnTo>
                    <a:pt x="438" y="1210"/>
                  </a:lnTo>
                  <a:lnTo>
                    <a:pt x="404" y="1200"/>
                  </a:lnTo>
                  <a:lnTo>
                    <a:pt x="371" y="1190"/>
                  </a:lnTo>
                  <a:lnTo>
                    <a:pt x="339" y="1179"/>
                  </a:lnTo>
                  <a:lnTo>
                    <a:pt x="309" y="1168"/>
                  </a:lnTo>
                  <a:lnTo>
                    <a:pt x="278" y="1156"/>
                  </a:lnTo>
                  <a:lnTo>
                    <a:pt x="249" y="1144"/>
                  </a:lnTo>
                  <a:lnTo>
                    <a:pt x="221" y="1131"/>
                  </a:lnTo>
                  <a:lnTo>
                    <a:pt x="195" y="1118"/>
                  </a:lnTo>
                  <a:lnTo>
                    <a:pt x="169" y="1104"/>
                  </a:lnTo>
                  <a:lnTo>
                    <a:pt x="145" y="1091"/>
                  </a:lnTo>
                  <a:lnTo>
                    <a:pt x="123" y="1076"/>
                  </a:lnTo>
                  <a:lnTo>
                    <a:pt x="101" y="1062"/>
                  </a:lnTo>
                  <a:lnTo>
                    <a:pt x="81" y="1047"/>
                  </a:lnTo>
                  <a:lnTo>
                    <a:pt x="61" y="1031"/>
                  </a:lnTo>
                  <a:lnTo>
                    <a:pt x="44" y="1016"/>
                  </a:lnTo>
                  <a:lnTo>
                    <a:pt x="28" y="999"/>
                  </a:lnTo>
                  <a:lnTo>
                    <a:pt x="13" y="982"/>
                  </a:lnTo>
                  <a:lnTo>
                    <a:pt x="0" y="966"/>
                  </a:lnTo>
                  <a:lnTo>
                    <a:pt x="0" y="966"/>
                  </a:lnTo>
                  <a:lnTo>
                    <a:pt x="79" y="747"/>
                  </a:lnTo>
                  <a:lnTo>
                    <a:pt x="130" y="612"/>
                  </a:lnTo>
                  <a:lnTo>
                    <a:pt x="130" y="612"/>
                  </a:lnTo>
                  <a:lnTo>
                    <a:pt x="138" y="579"/>
                  </a:lnTo>
                  <a:lnTo>
                    <a:pt x="149" y="547"/>
                  </a:lnTo>
                  <a:lnTo>
                    <a:pt x="160" y="516"/>
                  </a:lnTo>
                  <a:lnTo>
                    <a:pt x="172" y="484"/>
                  </a:lnTo>
                  <a:lnTo>
                    <a:pt x="187" y="454"/>
                  </a:lnTo>
                  <a:lnTo>
                    <a:pt x="203" y="425"/>
                  </a:lnTo>
                  <a:lnTo>
                    <a:pt x="220" y="397"/>
                  </a:lnTo>
                  <a:lnTo>
                    <a:pt x="238" y="369"/>
                  </a:lnTo>
                  <a:lnTo>
                    <a:pt x="258" y="342"/>
                  </a:lnTo>
                  <a:lnTo>
                    <a:pt x="278" y="315"/>
                  </a:lnTo>
                  <a:lnTo>
                    <a:pt x="300" y="290"/>
                  </a:lnTo>
                  <a:lnTo>
                    <a:pt x="324" y="265"/>
                  </a:lnTo>
                  <a:lnTo>
                    <a:pt x="348" y="241"/>
                  </a:lnTo>
                  <a:lnTo>
                    <a:pt x="374" y="218"/>
                  </a:lnTo>
                  <a:lnTo>
                    <a:pt x="400" y="196"/>
                  </a:lnTo>
                  <a:lnTo>
                    <a:pt x="428" y="175"/>
                  </a:lnTo>
                  <a:lnTo>
                    <a:pt x="456" y="155"/>
                  </a:lnTo>
                  <a:lnTo>
                    <a:pt x="485" y="136"/>
                  </a:lnTo>
                  <a:lnTo>
                    <a:pt x="517" y="119"/>
                  </a:lnTo>
                  <a:lnTo>
                    <a:pt x="548" y="102"/>
                  </a:lnTo>
                  <a:lnTo>
                    <a:pt x="579" y="86"/>
                  </a:lnTo>
                  <a:lnTo>
                    <a:pt x="612" y="72"/>
                  </a:lnTo>
                  <a:lnTo>
                    <a:pt x="645" y="58"/>
                  </a:lnTo>
                  <a:lnTo>
                    <a:pt x="680" y="47"/>
                  </a:lnTo>
                  <a:lnTo>
                    <a:pt x="715" y="36"/>
                  </a:lnTo>
                  <a:lnTo>
                    <a:pt x="750" y="27"/>
                  </a:lnTo>
                  <a:lnTo>
                    <a:pt x="787" y="19"/>
                  </a:lnTo>
                  <a:lnTo>
                    <a:pt x="824" y="12"/>
                  </a:lnTo>
                  <a:lnTo>
                    <a:pt x="862" y="7"/>
                  </a:lnTo>
                  <a:lnTo>
                    <a:pt x="899" y="3"/>
                  </a:lnTo>
                  <a:lnTo>
                    <a:pt x="938" y="1"/>
                  </a:lnTo>
                  <a:lnTo>
                    <a:pt x="976" y="0"/>
                  </a:lnTo>
                  <a:lnTo>
                    <a:pt x="976" y="0"/>
                  </a:lnTo>
                  <a:lnTo>
                    <a:pt x="1012" y="1"/>
                  </a:lnTo>
                  <a:lnTo>
                    <a:pt x="1049" y="3"/>
                  </a:lnTo>
                  <a:lnTo>
                    <a:pt x="1084" y="6"/>
                  </a:lnTo>
                  <a:lnTo>
                    <a:pt x="1118" y="10"/>
                  </a:lnTo>
                  <a:lnTo>
                    <a:pt x="1154" y="17"/>
                  </a:lnTo>
                  <a:lnTo>
                    <a:pt x="1187" y="24"/>
                  </a:lnTo>
                  <a:lnTo>
                    <a:pt x="1221" y="31"/>
                  </a:lnTo>
                  <a:lnTo>
                    <a:pt x="1254" y="41"/>
                  </a:lnTo>
                  <a:lnTo>
                    <a:pt x="1287" y="51"/>
                  </a:lnTo>
                  <a:lnTo>
                    <a:pt x="1318" y="62"/>
                  </a:lnTo>
                  <a:lnTo>
                    <a:pt x="1349" y="75"/>
                  </a:lnTo>
                  <a:lnTo>
                    <a:pt x="1379" y="89"/>
                  </a:lnTo>
                  <a:lnTo>
                    <a:pt x="1410" y="104"/>
                  </a:lnTo>
                  <a:lnTo>
                    <a:pt x="1439" y="120"/>
                  </a:lnTo>
                  <a:lnTo>
                    <a:pt x="1467" y="136"/>
                  </a:lnTo>
                  <a:lnTo>
                    <a:pt x="1495" y="154"/>
                  </a:lnTo>
                  <a:lnTo>
                    <a:pt x="1521" y="172"/>
                  </a:lnTo>
                  <a:lnTo>
                    <a:pt x="1547" y="192"/>
                  </a:lnTo>
                  <a:lnTo>
                    <a:pt x="1572" y="211"/>
                  </a:lnTo>
                  <a:lnTo>
                    <a:pt x="1596" y="233"/>
                  </a:lnTo>
                  <a:lnTo>
                    <a:pt x="1619" y="255"/>
                  </a:lnTo>
                  <a:lnTo>
                    <a:pt x="1641" y="277"/>
                  </a:lnTo>
                  <a:lnTo>
                    <a:pt x="1662" y="301"/>
                  </a:lnTo>
                  <a:lnTo>
                    <a:pt x="1682" y="325"/>
                  </a:lnTo>
                  <a:lnTo>
                    <a:pt x="1702" y="350"/>
                  </a:lnTo>
                  <a:lnTo>
                    <a:pt x="1719" y="376"/>
                  </a:lnTo>
                  <a:lnTo>
                    <a:pt x="1736" y="402"/>
                  </a:lnTo>
                  <a:lnTo>
                    <a:pt x="1753" y="429"/>
                  </a:lnTo>
                  <a:lnTo>
                    <a:pt x="1767" y="456"/>
                  </a:lnTo>
                  <a:lnTo>
                    <a:pt x="1781" y="484"/>
                  </a:lnTo>
                  <a:lnTo>
                    <a:pt x="1792" y="514"/>
                  </a:lnTo>
                  <a:lnTo>
                    <a:pt x="1804" y="543"/>
                  </a:lnTo>
                  <a:lnTo>
                    <a:pt x="1804" y="543"/>
                  </a:lnTo>
                  <a:lnTo>
                    <a:pt x="1865" y="708"/>
                  </a:lnTo>
                  <a:lnTo>
                    <a:pt x="1966" y="988"/>
                  </a:lnTo>
                  <a:lnTo>
                    <a:pt x="1966" y="988"/>
                  </a:lnTo>
                  <a:lnTo>
                    <a:pt x="1949" y="1004"/>
                  </a:lnTo>
                  <a:lnTo>
                    <a:pt x="1931" y="1022"/>
                  </a:lnTo>
                  <a:lnTo>
                    <a:pt x="1913" y="1039"/>
                  </a:lnTo>
                  <a:lnTo>
                    <a:pt x="1892" y="1054"/>
                  </a:lnTo>
                  <a:lnTo>
                    <a:pt x="1869" y="1070"/>
                  </a:lnTo>
                  <a:lnTo>
                    <a:pt x="1846" y="1086"/>
                  </a:lnTo>
                  <a:lnTo>
                    <a:pt x="1820" y="1100"/>
                  </a:lnTo>
                  <a:lnTo>
                    <a:pt x="1794" y="1115"/>
                  </a:lnTo>
                  <a:lnTo>
                    <a:pt x="1794" y="11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2" name="Freeform 154"/>
            <p:cNvSpPr>
              <a:spLocks/>
            </p:cNvSpPr>
            <p:nvPr/>
          </p:nvSpPr>
          <p:spPr bwMode="auto">
            <a:xfrm flipH="1">
              <a:off x="1892333" y="3578095"/>
              <a:ext cx="95467" cy="96744"/>
            </a:xfrm>
            <a:custGeom>
              <a:avLst/>
              <a:gdLst>
                <a:gd name="T0" fmla="*/ 103 w 522"/>
                <a:gd name="T1" fmla="*/ 14 h 675"/>
                <a:gd name="T2" fmla="*/ 130 w 522"/>
                <a:gd name="T3" fmla="*/ 7 h 675"/>
                <a:gd name="T4" fmla="*/ 157 w 522"/>
                <a:gd name="T5" fmla="*/ 1 h 675"/>
                <a:gd name="T6" fmla="*/ 184 w 522"/>
                <a:gd name="T7" fmla="*/ 0 h 675"/>
                <a:gd name="T8" fmla="*/ 211 w 522"/>
                <a:gd name="T9" fmla="*/ 1 h 675"/>
                <a:gd name="T10" fmla="*/ 236 w 522"/>
                <a:gd name="T11" fmla="*/ 5 h 675"/>
                <a:gd name="T12" fmla="*/ 261 w 522"/>
                <a:gd name="T13" fmla="*/ 13 h 675"/>
                <a:gd name="T14" fmla="*/ 285 w 522"/>
                <a:gd name="T15" fmla="*/ 22 h 675"/>
                <a:gd name="T16" fmla="*/ 308 w 522"/>
                <a:gd name="T17" fmla="*/ 36 h 675"/>
                <a:gd name="T18" fmla="*/ 330 w 522"/>
                <a:gd name="T19" fmla="*/ 51 h 675"/>
                <a:gd name="T20" fmla="*/ 350 w 522"/>
                <a:gd name="T21" fmla="*/ 70 h 675"/>
                <a:gd name="T22" fmla="*/ 369 w 522"/>
                <a:gd name="T23" fmla="*/ 92 h 675"/>
                <a:gd name="T24" fmla="*/ 387 w 522"/>
                <a:gd name="T25" fmla="*/ 118 h 675"/>
                <a:gd name="T26" fmla="*/ 404 w 522"/>
                <a:gd name="T27" fmla="*/ 146 h 675"/>
                <a:gd name="T28" fmla="*/ 418 w 522"/>
                <a:gd name="T29" fmla="*/ 177 h 675"/>
                <a:gd name="T30" fmla="*/ 431 w 522"/>
                <a:gd name="T31" fmla="*/ 212 h 675"/>
                <a:gd name="T32" fmla="*/ 441 w 522"/>
                <a:gd name="T33" fmla="*/ 250 h 675"/>
                <a:gd name="T34" fmla="*/ 466 w 522"/>
                <a:gd name="T35" fmla="*/ 337 h 675"/>
                <a:gd name="T36" fmla="*/ 522 w 522"/>
                <a:gd name="T37" fmla="*/ 534 h 675"/>
                <a:gd name="T38" fmla="*/ 473 w 522"/>
                <a:gd name="T39" fmla="*/ 558 h 675"/>
                <a:gd name="T40" fmla="*/ 420 w 522"/>
                <a:gd name="T41" fmla="*/ 581 h 675"/>
                <a:gd name="T42" fmla="*/ 363 w 522"/>
                <a:gd name="T43" fmla="*/ 600 h 675"/>
                <a:gd name="T44" fmla="*/ 304 w 522"/>
                <a:gd name="T45" fmla="*/ 619 h 675"/>
                <a:gd name="T46" fmla="*/ 241 w 522"/>
                <a:gd name="T47" fmla="*/ 637 h 675"/>
                <a:gd name="T48" fmla="*/ 175 w 522"/>
                <a:gd name="T49" fmla="*/ 652 h 675"/>
                <a:gd name="T50" fmla="*/ 106 w 522"/>
                <a:gd name="T51" fmla="*/ 665 h 675"/>
                <a:gd name="T52" fmla="*/ 35 w 522"/>
                <a:gd name="T53" fmla="*/ 675 h 675"/>
                <a:gd name="T54" fmla="*/ 18 w 522"/>
                <a:gd name="T55" fmla="*/ 495 h 675"/>
                <a:gd name="T56" fmla="*/ 13 w 522"/>
                <a:gd name="T57" fmla="*/ 425 h 675"/>
                <a:gd name="T58" fmla="*/ 2 w 522"/>
                <a:gd name="T59" fmla="*/ 313 h 675"/>
                <a:gd name="T60" fmla="*/ 0 w 522"/>
                <a:gd name="T61" fmla="*/ 240 h 675"/>
                <a:gd name="T62" fmla="*/ 3 w 522"/>
                <a:gd name="T63" fmla="*/ 171 h 675"/>
                <a:gd name="T64" fmla="*/ 8 w 522"/>
                <a:gd name="T65" fmla="*/ 139 h 675"/>
                <a:gd name="T66" fmla="*/ 15 w 522"/>
                <a:gd name="T67" fmla="*/ 110 h 675"/>
                <a:gd name="T68" fmla="*/ 25 w 522"/>
                <a:gd name="T69" fmla="*/ 84 h 675"/>
                <a:gd name="T70" fmla="*/ 39 w 522"/>
                <a:gd name="T71" fmla="*/ 61 h 675"/>
                <a:gd name="T72" fmla="*/ 57 w 522"/>
                <a:gd name="T73" fmla="*/ 41 h 675"/>
                <a:gd name="T74" fmla="*/ 77 w 522"/>
                <a:gd name="T75" fmla="*/ 25 h 675"/>
                <a:gd name="T76" fmla="*/ 103 w 522"/>
                <a:gd name="T77" fmla="*/ 14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22" h="675">
                  <a:moveTo>
                    <a:pt x="103" y="14"/>
                  </a:moveTo>
                  <a:lnTo>
                    <a:pt x="103" y="14"/>
                  </a:lnTo>
                  <a:lnTo>
                    <a:pt x="117" y="10"/>
                  </a:lnTo>
                  <a:lnTo>
                    <a:pt x="130" y="7"/>
                  </a:lnTo>
                  <a:lnTo>
                    <a:pt x="144" y="3"/>
                  </a:lnTo>
                  <a:lnTo>
                    <a:pt x="157" y="1"/>
                  </a:lnTo>
                  <a:lnTo>
                    <a:pt x="171" y="0"/>
                  </a:lnTo>
                  <a:lnTo>
                    <a:pt x="184" y="0"/>
                  </a:lnTo>
                  <a:lnTo>
                    <a:pt x="198" y="0"/>
                  </a:lnTo>
                  <a:lnTo>
                    <a:pt x="211" y="1"/>
                  </a:lnTo>
                  <a:lnTo>
                    <a:pt x="224" y="2"/>
                  </a:lnTo>
                  <a:lnTo>
                    <a:pt x="236" y="5"/>
                  </a:lnTo>
                  <a:lnTo>
                    <a:pt x="249" y="9"/>
                  </a:lnTo>
                  <a:lnTo>
                    <a:pt x="261" y="13"/>
                  </a:lnTo>
                  <a:lnTo>
                    <a:pt x="273" y="17"/>
                  </a:lnTo>
                  <a:lnTo>
                    <a:pt x="285" y="22"/>
                  </a:lnTo>
                  <a:lnTo>
                    <a:pt x="297" y="28"/>
                  </a:lnTo>
                  <a:lnTo>
                    <a:pt x="308" y="36"/>
                  </a:lnTo>
                  <a:lnTo>
                    <a:pt x="318" y="43"/>
                  </a:lnTo>
                  <a:lnTo>
                    <a:pt x="330" y="51"/>
                  </a:lnTo>
                  <a:lnTo>
                    <a:pt x="340" y="61"/>
                  </a:lnTo>
                  <a:lnTo>
                    <a:pt x="350" y="70"/>
                  </a:lnTo>
                  <a:lnTo>
                    <a:pt x="360" y="81"/>
                  </a:lnTo>
                  <a:lnTo>
                    <a:pt x="369" y="92"/>
                  </a:lnTo>
                  <a:lnTo>
                    <a:pt x="379" y="104"/>
                  </a:lnTo>
                  <a:lnTo>
                    <a:pt x="387" y="118"/>
                  </a:lnTo>
                  <a:lnTo>
                    <a:pt x="395" y="132"/>
                  </a:lnTo>
                  <a:lnTo>
                    <a:pt x="404" y="146"/>
                  </a:lnTo>
                  <a:lnTo>
                    <a:pt x="411" y="162"/>
                  </a:lnTo>
                  <a:lnTo>
                    <a:pt x="418" y="177"/>
                  </a:lnTo>
                  <a:lnTo>
                    <a:pt x="425" y="194"/>
                  </a:lnTo>
                  <a:lnTo>
                    <a:pt x="431" y="212"/>
                  </a:lnTo>
                  <a:lnTo>
                    <a:pt x="436" y="231"/>
                  </a:lnTo>
                  <a:lnTo>
                    <a:pt x="441" y="250"/>
                  </a:lnTo>
                  <a:lnTo>
                    <a:pt x="441" y="250"/>
                  </a:lnTo>
                  <a:lnTo>
                    <a:pt x="466" y="337"/>
                  </a:lnTo>
                  <a:lnTo>
                    <a:pt x="522" y="534"/>
                  </a:lnTo>
                  <a:lnTo>
                    <a:pt x="522" y="534"/>
                  </a:lnTo>
                  <a:lnTo>
                    <a:pt x="498" y="546"/>
                  </a:lnTo>
                  <a:lnTo>
                    <a:pt x="473" y="558"/>
                  </a:lnTo>
                  <a:lnTo>
                    <a:pt x="447" y="569"/>
                  </a:lnTo>
                  <a:lnTo>
                    <a:pt x="420" y="581"/>
                  </a:lnTo>
                  <a:lnTo>
                    <a:pt x="392" y="591"/>
                  </a:lnTo>
                  <a:lnTo>
                    <a:pt x="363" y="600"/>
                  </a:lnTo>
                  <a:lnTo>
                    <a:pt x="334" y="611"/>
                  </a:lnTo>
                  <a:lnTo>
                    <a:pt x="304" y="619"/>
                  </a:lnTo>
                  <a:lnTo>
                    <a:pt x="273" y="629"/>
                  </a:lnTo>
                  <a:lnTo>
                    <a:pt x="241" y="637"/>
                  </a:lnTo>
                  <a:lnTo>
                    <a:pt x="208" y="644"/>
                  </a:lnTo>
                  <a:lnTo>
                    <a:pt x="175" y="652"/>
                  </a:lnTo>
                  <a:lnTo>
                    <a:pt x="141" y="659"/>
                  </a:lnTo>
                  <a:lnTo>
                    <a:pt x="106" y="665"/>
                  </a:lnTo>
                  <a:lnTo>
                    <a:pt x="71" y="670"/>
                  </a:lnTo>
                  <a:lnTo>
                    <a:pt x="35" y="675"/>
                  </a:lnTo>
                  <a:lnTo>
                    <a:pt x="35" y="675"/>
                  </a:lnTo>
                  <a:lnTo>
                    <a:pt x="18" y="495"/>
                  </a:lnTo>
                  <a:lnTo>
                    <a:pt x="18" y="495"/>
                  </a:lnTo>
                  <a:lnTo>
                    <a:pt x="13" y="425"/>
                  </a:lnTo>
                  <a:lnTo>
                    <a:pt x="6" y="350"/>
                  </a:lnTo>
                  <a:lnTo>
                    <a:pt x="2" y="313"/>
                  </a:lnTo>
                  <a:lnTo>
                    <a:pt x="0" y="276"/>
                  </a:lnTo>
                  <a:lnTo>
                    <a:pt x="0" y="240"/>
                  </a:lnTo>
                  <a:lnTo>
                    <a:pt x="0" y="205"/>
                  </a:lnTo>
                  <a:lnTo>
                    <a:pt x="3" y="171"/>
                  </a:lnTo>
                  <a:lnTo>
                    <a:pt x="6" y="154"/>
                  </a:lnTo>
                  <a:lnTo>
                    <a:pt x="8" y="139"/>
                  </a:lnTo>
                  <a:lnTo>
                    <a:pt x="11" y="124"/>
                  </a:lnTo>
                  <a:lnTo>
                    <a:pt x="15" y="110"/>
                  </a:lnTo>
                  <a:lnTo>
                    <a:pt x="20" y="96"/>
                  </a:lnTo>
                  <a:lnTo>
                    <a:pt x="25" y="84"/>
                  </a:lnTo>
                  <a:lnTo>
                    <a:pt x="32" y="71"/>
                  </a:lnTo>
                  <a:lnTo>
                    <a:pt x="39" y="61"/>
                  </a:lnTo>
                  <a:lnTo>
                    <a:pt x="47" y="50"/>
                  </a:lnTo>
                  <a:lnTo>
                    <a:pt x="57" y="41"/>
                  </a:lnTo>
                  <a:lnTo>
                    <a:pt x="66" y="33"/>
                  </a:lnTo>
                  <a:lnTo>
                    <a:pt x="77" y="25"/>
                  </a:lnTo>
                  <a:lnTo>
                    <a:pt x="90" y="19"/>
                  </a:lnTo>
                  <a:lnTo>
                    <a:pt x="103" y="14"/>
                  </a:lnTo>
                  <a:lnTo>
                    <a:pt x="103" y="14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3" name="Freeform 155"/>
            <p:cNvSpPr>
              <a:spLocks noEditPoints="1"/>
            </p:cNvSpPr>
            <p:nvPr/>
          </p:nvSpPr>
          <p:spPr bwMode="auto">
            <a:xfrm flipH="1">
              <a:off x="1373717" y="3578095"/>
              <a:ext cx="1328792" cy="1572409"/>
            </a:xfrm>
            <a:custGeom>
              <a:avLst/>
              <a:gdLst>
                <a:gd name="T0" fmla="*/ 1814 w 7209"/>
                <a:gd name="T1" fmla="*/ 5569 h 10978"/>
                <a:gd name="T2" fmla="*/ 1584 w 7209"/>
                <a:gd name="T3" fmla="*/ 5463 h 10978"/>
                <a:gd name="T4" fmla="*/ 1124 w 7209"/>
                <a:gd name="T5" fmla="*/ 7133 h 10978"/>
                <a:gd name="T6" fmla="*/ 1342 w 7209"/>
                <a:gd name="T7" fmla="*/ 7242 h 10978"/>
                <a:gd name="T8" fmla="*/ 572 w 7209"/>
                <a:gd name="T9" fmla="*/ 10534 h 10978"/>
                <a:gd name="T10" fmla="*/ 419 w 7209"/>
                <a:gd name="T11" fmla="*/ 10471 h 10978"/>
                <a:gd name="T12" fmla="*/ 81 w 7209"/>
                <a:gd name="T13" fmla="*/ 10295 h 10978"/>
                <a:gd name="T14" fmla="*/ 538 w 7209"/>
                <a:gd name="T15" fmla="*/ 8617 h 10978"/>
                <a:gd name="T16" fmla="*/ 750 w 7209"/>
                <a:gd name="T17" fmla="*/ 8743 h 10978"/>
                <a:gd name="T18" fmla="*/ 989 w 7209"/>
                <a:gd name="T19" fmla="*/ 8860 h 10978"/>
                <a:gd name="T20" fmla="*/ 5036 w 7209"/>
                <a:gd name="T21" fmla="*/ 10961 h 10978"/>
                <a:gd name="T22" fmla="*/ 5597 w 7209"/>
                <a:gd name="T23" fmla="*/ 10851 h 10978"/>
                <a:gd name="T24" fmla="*/ 5913 w 7209"/>
                <a:gd name="T25" fmla="*/ 10768 h 10978"/>
                <a:gd name="T26" fmla="*/ 5959 w 7209"/>
                <a:gd name="T27" fmla="*/ 10754 h 10978"/>
                <a:gd name="T28" fmla="*/ 6067 w 7209"/>
                <a:gd name="T29" fmla="*/ 10721 h 10978"/>
                <a:gd name="T30" fmla="*/ 6432 w 7209"/>
                <a:gd name="T31" fmla="*/ 10591 h 10978"/>
                <a:gd name="T32" fmla="*/ 6817 w 7209"/>
                <a:gd name="T33" fmla="*/ 10425 h 10978"/>
                <a:gd name="T34" fmla="*/ 7208 w 7209"/>
                <a:gd name="T35" fmla="*/ 10220 h 10978"/>
                <a:gd name="T36" fmla="*/ 6681 w 7209"/>
                <a:gd name="T37" fmla="*/ 8581 h 10978"/>
                <a:gd name="T38" fmla="*/ 6450 w 7209"/>
                <a:gd name="T39" fmla="*/ 8726 h 10978"/>
                <a:gd name="T40" fmla="*/ 6183 w 7209"/>
                <a:gd name="T41" fmla="*/ 8857 h 10978"/>
                <a:gd name="T42" fmla="*/ 5885 w 7209"/>
                <a:gd name="T43" fmla="*/ 8976 h 10978"/>
                <a:gd name="T44" fmla="*/ 5557 w 7209"/>
                <a:gd name="T45" fmla="*/ 9079 h 10978"/>
                <a:gd name="T46" fmla="*/ 5202 w 7209"/>
                <a:gd name="T47" fmla="*/ 9166 h 10978"/>
                <a:gd name="T48" fmla="*/ 4824 w 7209"/>
                <a:gd name="T49" fmla="*/ 9236 h 10978"/>
                <a:gd name="T50" fmla="*/ 4516 w 7209"/>
                <a:gd name="T51" fmla="*/ 5800 h 10978"/>
                <a:gd name="T52" fmla="*/ 5017 w 7209"/>
                <a:gd name="T53" fmla="*/ 5689 h 10978"/>
                <a:gd name="T54" fmla="*/ 5326 w 7209"/>
                <a:gd name="T55" fmla="*/ 5586 h 10978"/>
                <a:gd name="T56" fmla="*/ 5522 w 7209"/>
                <a:gd name="T57" fmla="*/ 5501 h 10978"/>
                <a:gd name="T58" fmla="*/ 5697 w 7209"/>
                <a:gd name="T59" fmla="*/ 5407 h 10978"/>
                <a:gd name="T60" fmla="*/ 6269 w 7209"/>
                <a:gd name="T61" fmla="*/ 6991 h 10978"/>
                <a:gd name="T62" fmla="*/ 6118 w 7209"/>
                <a:gd name="T63" fmla="*/ 7091 h 10978"/>
                <a:gd name="T64" fmla="*/ 5902 w 7209"/>
                <a:gd name="T65" fmla="*/ 7206 h 10978"/>
                <a:gd name="T66" fmla="*/ 5657 w 7209"/>
                <a:gd name="T67" fmla="*/ 7312 h 10978"/>
                <a:gd name="T68" fmla="*/ 5387 w 7209"/>
                <a:gd name="T69" fmla="*/ 7404 h 10978"/>
                <a:gd name="T70" fmla="*/ 5094 w 7209"/>
                <a:gd name="T71" fmla="*/ 7485 h 10978"/>
                <a:gd name="T72" fmla="*/ 4780 w 7209"/>
                <a:gd name="T73" fmla="*/ 7549 h 10978"/>
                <a:gd name="T74" fmla="*/ 4409 w 7209"/>
                <a:gd name="T75" fmla="*/ 5816 h 10978"/>
                <a:gd name="T76" fmla="*/ 4186 w 7209"/>
                <a:gd name="T77" fmla="*/ 2359 h 10978"/>
                <a:gd name="T78" fmla="*/ 4455 w 7209"/>
                <a:gd name="T79" fmla="*/ 2305 h 10978"/>
                <a:gd name="T80" fmla="*/ 4696 w 7209"/>
                <a:gd name="T81" fmla="*/ 2232 h 10978"/>
                <a:gd name="T82" fmla="*/ 4865 w 7209"/>
                <a:gd name="T83" fmla="*/ 2163 h 10978"/>
                <a:gd name="T84" fmla="*/ 5182 w 7209"/>
                <a:gd name="T85" fmla="*/ 3888 h 10978"/>
                <a:gd name="T86" fmla="*/ 4866 w 7209"/>
                <a:gd name="T87" fmla="*/ 4017 h 10978"/>
                <a:gd name="T88" fmla="*/ 4493 w 7209"/>
                <a:gd name="T89" fmla="*/ 4116 h 10978"/>
                <a:gd name="T90" fmla="*/ 4072 w 7209"/>
                <a:gd name="T91" fmla="*/ 2375 h 10978"/>
                <a:gd name="T92" fmla="*/ 4002 w 7209"/>
                <a:gd name="T93" fmla="*/ 7 h 10978"/>
                <a:gd name="T94" fmla="*/ 4070 w 7209"/>
                <a:gd name="T95" fmla="*/ 0 h 10978"/>
                <a:gd name="T96" fmla="*/ 4133 w 7209"/>
                <a:gd name="T97" fmla="*/ 13 h 10978"/>
                <a:gd name="T98" fmla="*/ 4190 w 7209"/>
                <a:gd name="T99" fmla="*/ 43 h 10978"/>
                <a:gd name="T100" fmla="*/ 4241 w 7209"/>
                <a:gd name="T101" fmla="*/ 92 h 10978"/>
                <a:gd name="T102" fmla="*/ 4283 w 7209"/>
                <a:gd name="T103" fmla="*/ 162 h 10978"/>
                <a:gd name="T104" fmla="*/ 4313 w 7209"/>
                <a:gd name="T105" fmla="*/ 250 h 10978"/>
                <a:gd name="T106" fmla="*/ 4370 w 7209"/>
                <a:gd name="T107" fmla="*/ 546 h 10978"/>
                <a:gd name="T108" fmla="*/ 4235 w 7209"/>
                <a:gd name="T109" fmla="*/ 600 h 10978"/>
                <a:gd name="T110" fmla="*/ 4080 w 7209"/>
                <a:gd name="T111" fmla="*/ 644 h 10978"/>
                <a:gd name="T112" fmla="*/ 3907 w 7209"/>
                <a:gd name="T113" fmla="*/ 675 h 10978"/>
                <a:gd name="T114" fmla="*/ 3878 w 7209"/>
                <a:gd name="T115" fmla="*/ 350 h 10978"/>
                <a:gd name="T116" fmla="*/ 3875 w 7209"/>
                <a:gd name="T117" fmla="*/ 171 h 10978"/>
                <a:gd name="T118" fmla="*/ 3892 w 7209"/>
                <a:gd name="T119" fmla="*/ 96 h 10978"/>
                <a:gd name="T120" fmla="*/ 3929 w 7209"/>
                <a:gd name="T121" fmla="*/ 41 h 10978"/>
                <a:gd name="T122" fmla="*/ 3975 w 7209"/>
                <a:gd name="T123" fmla="*/ 14 h 109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09" h="10978">
                  <a:moveTo>
                    <a:pt x="1389" y="7263"/>
                  </a:moveTo>
                  <a:lnTo>
                    <a:pt x="1389" y="7263"/>
                  </a:lnTo>
                  <a:lnTo>
                    <a:pt x="1619" y="6342"/>
                  </a:lnTo>
                  <a:lnTo>
                    <a:pt x="1814" y="5569"/>
                  </a:lnTo>
                  <a:lnTo>
                    <a:pt x="1814" y="5569"/>
                  </a:lnTo>
                  <a:lnTo>
                    <a:pt x="1754" y="5543"/>
                  </a:lnTo>
                  <a:lnTo>
                    <a:pt x="1695" y="5517"/>
                  </a:lnTo>
                  <a:lnTo>
                    <a:pt x="1638" y="5490"/>
                  </a:lnTo>
                  <a:lnTo>
                    <a:pt x="1584" y="5463"/>
                  </a:lnTo>
                  <a:lnTo>
                    <a:pt x="1584" y="5463"/>
                  </a:lnTo>
                  <a:lnTo>
                    <a:pt x="1338" y="6202"/>
                  </a:lnTo>
                  <a:lnTo>
                    <a:pt x="1045" y="7088"/>
                  </a:lnTo>
                  <a:lnTo>
                    <a:pt x="1045" y="7088"/>
                  </a:lnTo>
                  <a:lnTo>
                    <a:pt x="1084" y="7111"/>
                  </a:lnTo>
                  <a:lnTo>
                    <a:pt x="1124" y="7133"/>
                  </a:lnTo>
                  <a:lnTo>
                    <a:pt x="1165" y="7156"/>
                  </a:lnTo>
                  <a:lnTo>
                    <a:pt x="1208" y="7178"/>
                  </a:lnTo>
                  <a:lnTo>
                    <a:pt x="1251" y="7200"/>
                  </a:lnTo>
                  <a:lnTo>
                    <a:pt x="1296" y="7221"/>
                  </a:lnTo>
                  <a:lnTo>
                    <a:pt x="1342" y="7242"/>
                  </a:lnTo>
                  <a:lnTo>
                    <a:pt x="1389" y="7263"/>
                  </a:lnTo>
                  <a:lnTo>
                    <a:pt x="1389" y="7263"/>
                  </a:lnTo>
                  <a:close/>
                  <a:moveTo>
                    <a:pt x="989" y="8860"/>
                  </a:moveTo>
                  <a:lnTo>
                    <a:pt x="989" y="8860"/>
                  </a:lnTo>
                  <a:lnTo>
                    <a:pt x="572" y="10534"/>
                  </a:lnTo>
                  <a:lnTo>
                    <a:pt x="570" y="10534"/>
                  </a:lnTo>
                  <a:lnTo>
                    <a:pt x="570" y="10534"/>
                  </a:lnTo>
                  <a:lnTo>
                    <a:pt x="494" y="10503"/>
                  </a:lnTo>
                  <a:lnTo>
                    <a:pt x="419" y="10471"/>
                  </a:lnTo>
                  <a:lnTo>
                    <a:pt x="419" y="10471"/>
                  </a:lnTo>
                  <a:lnTo>
                    <a:pt x="341" y="10433"/>
                  </a:lnTo>
                  <a:lnTo>
                    <a:pt x="266" y="10396"/>
                  </a:lnTo>
                  <a:lnTo>
                    <a:pt x="196" y="10358"/>
                  </a:lnTo>
                  <a:lnTo>
                    <a:pt x="134" y="10325"/>
                  </a:lnTo>
                  <a:lnTo>
                    <a:pt x="81" y="10295"/>
                  </a:lnTo>
                  <a:lnTo>
                    <a:pt x="39" y="10271"/>
                  </a:lnTo>
                  <a:lnTo>
                    <a:pt x="0" y="10247"/>
                  </a:lnTo>
                  <a:lnTo>
                    <a:pt x="0" y="10247"/>
                  </a:lnTo>
                  <a:lnTo>
                    <a:pt x="0" y="10247"/>
                  </a:lnTo>
                  <a:lnTo>
                    <a:pt x="538" y="8617"/>
                  </a:lnTo>
                  <a:lnTo>
                    <a:pt x="538" y="8617"/>
                  </a:lnTo>
                  <a:lnTo>
                    <a:pt x="588" y="8649"/>
                  </a:lnTo>
                  <a:lnTo>
                    <a:pt x="640" y="8681"/>
                  </a:lnTo>
                  <a:lnTo>
                    <a:pt x="694" y="8713"/>
                  </a:lnTo>
                  <a:lnTo>
                    <a:pt x="750" y="8743"/>
                  </a:lnTo>
                  <a:lnTo>
                    <a:pt x="808" y="8773"/>
                  </a:lnTo>
                  <a:lnTo>
                    <a:pt x="867" y="8803"/>
                  </a:lnTo>
                  <a:lnTo>
                    <a:pt x="927" y="8832"/>
                  </a:lnTo>
                  <a:lnTo>
                    <a:pt x="989" y="8860"/>
                  </a:lnTo>
                  <a:lnTo>
                    <a:pt x="989" y="8860"/>
                  </a:lnTo>
                  <a:close/>
                  <a:moveTo>
                    <a:pt x="4746" y="9248"/>
                  </a:moveTo>
                  <a:lnTo>
                    <a:pt x="4746" y="9248"/>
                  </a:lnTo>
                  <a:lnTo>
                    <a:pt x="4916" y="10978"/>
                  </a:lnTo>
                  <a:lnTo>
                    <a:pt x="4916" y="10978"/>
                  </a:lnTo>
                  <a:lnTo>
                    <a:pt x="5036" y="10961"/>
                  </a:lnTo>
                  <a:lnTo>
                    <a:pt x="5158" y="10941"/>
                  </a:lnTo>
                  <a:lnTo>
                    <a:pt x="5282" y="10918"/>
                  </a:lnTo>
                  <a:lnTo>
                    <a:pt x="5407" y="10894"/>
                  </a:lnTo>
                  <a:lnTo>
                    <a:pt x="5534" y="10866"/>
                  </a:lnTo>
                  <a:lnTo>
                    <a:pt x="5597" y="10851"/>
                  </a:lnTo>
                  <a:lnTo>
                    <a:pt x="5661" y="10837"/>
                  </a:lnTo>
                  <a:lnTo>
                    <a:pt x="5724" y="10820"/>
                  </a:lnTo>
                  <a:lnTo>
                    <a:pt x="5787" y="10803"/>
                  </a:lnTo>
                  <a:lnTo>
                    <a:pt x="5850" y="10787"/>
                  </a:lnTo>
                  <a:lnTo>
                    <a:pt x="5913" y="10768"/>
                  </a:lnTo>
                  <a:lnTo>
                    <a:pt x="5913" y="10768"/>
                  </a:lnTo>
                  <a:lnTo>
                    <a:pt x="5935" y="10762"/>
                  </a:lnTo>
                  <a:lnTo>
                    <a:pt x="5935" y="10762"/>
                  </a:lnTo>
                  <a:lnTo>
                    <a:pt x="5959" y="10754"/>
                  </a:lnTo>
                  <a:lnTo>
                    <a:pt x="5959" y="10754"/>
                  </a:lnTo>
                  <a:lnTo>
                    <a:pt x="5990" y="10745"/>
                  </a:lnTo>
                  <a:lnTo>
                    <a:pt x="5990" y="10745"/>
                  </a:lnTo>
                  <a:lnTo>
                    <a:pt x="5996" y="10743"/>
                  </a:lnTo>
                  <a:lnTo>
                    <a:pt x="5996" y="10743"/>
                  </a:lnTo>
                  <a:lnTo>
                    <a:pt x="6067" y="10721"/>
                  </a:lnTo>
                  <a:lnTo>
                    <a:pt x="6138" y="10697"/>
                  </a:lnTo>
                  <a:lnTo>
                    <a:pt x="6209" y="10673"/>
                  </a:lnTo>
                  <a:lnTo>
                    <a:pt x="6283" y="10647"/>
                  </a:lnTo>
                  <a:lnTo>
                    <a:pt x="6357" y="10620"/>
                  </a:lnTo>
                  <a:lnTo>
                    <a:pt x="6432" y="10591"/>
                  </a:lnTo>
                  <a:lnTo>
                    <a:pt x="6508" y="10560"/>
                  </a:lnTo>
                  <a:lnTo>
                    <a:pt x="6585" y="10529"/>
                  </a:lnTo>
                  <a:lnTo>
                    <a:pt x="6662" y="10496"/>
                  </a:lnTo>
                  <a:lnTo>
                    <a:pt x="6739" y="10461"/>
                  </a:lnTo>
                  <a:lnTo>
                    <a:pt x="6817" y="10425"/>
                  </a:lnTo>
                  <a:lnTo>
                    <a:pt x="6895" y="10387"/>
                  </a:lnTo>
                  <a:lnTo>
                    <a:pt x="6974" y="10348"/>
                  </a:lnTo>
                  <a:lnTo>
                    <a:pt x="7052" y="10307"/>
                  </a:lnTo>
                  <a:lnTo>
                    <a:pt x="7130" y="10264"/>
                  </a:lnTo>
                  <a:lnTo>
                    <a:pt x="7208" y="10220"/>
                  </a:lnTo>
                  <a:lnTo>
                    <a:pt x="7209" y="10220"/>
                  </a:lnTo>
                  <a:lnTo>
                    <a:pt x="7209" y="10220"/>
                  </a:lnTo>
                  <a:lnTo>
                    <a:pt x="6723" y="8550"/>
                  </a:lnTo>
                  <a:lnTo>
                    <a:pt x="6723" y="8550"/>
                  </a:lnTo>
                  <a:lnTo>
                    <a:pt x="6681" y="8581"/>
                  </a:lnTo>
                  <a:lnTo>
                    <a:pt x="6638" y="8611"/>
                  </a:lnTo>
                  <a:lnTo>
                    <a:pt x="6593" y="8640"/>
                  </a:lnTo>
                  <a:lnTo>
                    <a:pt x="6546" y="8669"/>
                  </a:lnTo>
                  <a:lnTo>
                    <a:pt x="6500" y="8697"/>
                  </a:lnTo>
                  <a:lnTo>
                    <a:pt x="6450" y="8726"/>
                  </a:lnTo>
                  <a:lnTo>
                    <a:pt x="6400" y="8753"/>
                  </a:lnTo>
                  <a:lnTo>
                    <a:pt x="6348" y="8780"/>
                  </a:lnTo>
                  <a:lnTo>
                    <a:pt x="6294" y="8806"/>
                  </a:lnTo>
                  <a:lnTo>
                    <a:pt x="6240" y="8832"/>
                  </a:lnTo>
                  <a:lnTo>
                    <a:pt x="6183" y="8857"/>
                  </a:lnTo>
                  <a:lnTo>
                    <a:pt x="6126" y="8882"/>
                  </a:lnTo>
                  <a:lnTo>
                    <a:pt x="6068" y="8906"/>
                  </a:lnTo>
                  <a:lnTo>
                    <a:pt x="6008" y="8930"/>
                  </a:lnTo>
                  <a:lnTo>
                    <a:pt x="5947" y="8953"/>
                  </a:lnTo>
                  <a:lnTo>
                    <a:pt x="5885" y="8976"/>
                  </a:lnTo>
                  <a:lnTo>
                    <a:pt x="5822" y="8997"/>
                  </a:lnTo>
                  <a:lnTo>
                    <a:pt x="5757" y="9018"/>
                  </a:lnTo>
                  <a:lnTo>
                    <a:pt x="5692" y="9039"/>
                  </a:lnTo>
                  <a:lnTo>
                    <a:pt x="5625" y="9059"/>
                  </a:lnTo>
                  <a:lnTo>
                    <a:pt x="5557" y="9079"/>
                  </a:lnTo>
                  <a:lnTo>
                    <a:pt x="5488" y="9098"/>
                  </a:lnTo>
                  <a:lnTo>
                    <a:pt x="5418" y="9115"/>
                  </a:lnTo>
                  <a:lnTo>
                    <a:pt x="5348" y="9133"/>
                  </a:lnTo>
                  <a:lnTo>
                    <a:pt x="5275" y="9150"/>
                  </a:lnTo>
                  <a:lnTo>
                    <a:pt x="5202" y="9166"/>
                  </a:lnTo>
                  <a:lnTo>
                    <a:pt x="5128" y="9181"/>
                  </a:lnTo>
                  <a:lnTo>
                    <a:pt x="5053" y="9197"/>
                  </a:lnTo>
                  <a:lnTo>
                    <a:pt x="4979" y="9210"/>
                  </a:lnTo>
                  <a:lnTo>
                    <a:pt x="4902" y="9224"/>
                  </a:lnTo>
                  <a:lnTo>
                    <a:pt x="4824" y="9236"/>
                  </a:lnTo>
                  <a:lnTo>
                    <a:pt x="4746" y="9248"/>
                  </a:lnTo>
                  <a:lnTo>
                    <a:pt x="4746" y="9248"/>
                  </a:lnTo>
                  <a:close/>
                  <a:moveTo>
                    <a:pt x="4409" y="5816"/>
                  </a:moveTo>
                  <a:lnTo>
                    <a:pt x="4409" y="5816"/>
                  </a:lnTo>
                  <a:lnTo>
                    <a:pt x="4516" y="5800"/>
                  </a:lnTo>
                  <a:lnTo>
                    <a:pt x="4621" y="5781"/>
                  </a:lnTo>
                  <a:lnTo>
                    <a:pt x="4724" y="5761"/>
                  </a:lnTo>
                  <a:lnTo>
                    <a:pt x="4824" y="5738"/>
                  </a:lnTo>
                  <a:lnTo>
                    <a:pt x="4921" y="5714"/>
                  </a:lnTo>
                  <a:lnTo>
                    <a:pt x="5017" y="5689"/>
                  </a:lnTo>
                  <a:lnTo>
                    <a:pt x="5108" y="5661"/>
                  </a:lnTo>
                  <a:lnTo>
                    <a:pt x="5198" y="5633"/>
                  </a:lnTo>
                  <a:lnTo>
                    <a:pt x="5242" y="5617"/>
                  </a:lnTo>
                  <a:lnTo>
                    <a:pt x="5284" y="5602"/>
                  </a:lnTo>
                  <a:lnTo>
                    <a:pt x="5326" y="5586"/>
                  </a:lnTo>
                  <a:lnTo>
                    <a:pt x="5366" y="5569"/>
                  </a:lnTo>
                  <a:lnTo>
                    <a:pt x="5407" y="5553"/>
                  </a:lnTo>
                  <a:lnTo>
                    <a:pt x="5446" y="5536"/>
                  </a:lnTo>
                  <a:lnTo>
                    <a:pt x="5485" y="5518"/>
                  </a:lnTo>
                  <a:lnTo>
                    <a:pt x="5522" y="5501"/>
                  </a:lnTo>
                  <a:lnTo>
                    <a:pt x="5560" y="5483"/>
                  </a:lnTo>
                  <a:lnTo>
                    <a:pt x="5595" y="5464"/>
                  </a:lnTo>
                  <a:lnTo>
                    <a:pt x="5630" y="5445"/>
                  </a:lnTo>
                  <a:lnTo>
                    <a:pt x="5664" y="5427"/>
                  </a:lnTo>
                  <a:lnTo>
                    <a:pt x="5697" y="5407"/>
                  </a:lnTo>
                  <a:lnTo>
                    <a:pt x="5729" y="5388"/>
                  </a:lnTo>
                  <a:lnTo>
                    <a:pt x="5760" y="5367"/>
                  </a:lnTo>
                  <a:lnTo>
                    <a:pt x="5790" y="5348"/>
                  </a:lnTo>
                  <a:lnTo>
                    <a:pt x="5790" y="5348"/>
                  </a:lnTo>
                  <a:lnTo>
                    <a:pt x="6269" y="6991"/>
                  </a:lnTo>
                  <a:lnTo>
                    <a:pt x="6269" y="6991"/>
                  </a:lnTo>
                  <a:lnTo>
                    <a:pt x="6232" y="7016"/>
                  </a:lnTo>
                  <a:lnTo>
                    <a:pt x="6196" y="7042"/>
                  </a:lnTo>
                  <a:lnTo>
                    <a:pt x="6157" y="7067"/>
                  </a:lnTo>
                  <a:lnTo>
                    <a:pt x="6118" y="7091"/>
                  </a:lnTo>
                  <a:lnTo>
                    <a:pt x="6076" y="7115"/>
                  </a:lnTo>
                  <a:lnTo>
                    <a:pt x="6035" y="7139"/>
                  </a:lnTo>
                  <a:lnTo>
                    <a:pt x="5991" y="7162"/>
                  </a:lnTo>
                  <a:lnTo>
                    <a:pt x="5947" y="7185"/>
                  </a:lnTo>
                  <a:lnTo>
                    <a:pt x="5902" y="7206"/>
                  </a:lnTo>
                  <a:lnTo>
                    <a:pt x="5855" y="7228"/>
                  </a:lnTo>
                  <a:lnTo>
                    <a:pt x="5807" y="7250"/>
                  </a:lnTo>
                  <a:lnTo>
                    <a:pt x="5758" y="7271"/>
                  </a:lnTo>
                  <a:lnTo>
                    <a:pt x="5708" y="7292"/>
                  </a:lnTo>
                  <a:lnTo>
                    <a:pt x="5657" y="7312"/>
                  </a:lnTo>
                  <a:lnTo>
                    <a:pt x="5605" y="7331"/>
                  </a:lnTo>
                  <a:lnTo>
                    <a:pt x="5552" y="7350"/>
                  </a:lnTo>
                  <a:lnTo>
                    <a:pt x="5498" y="7369"/>
                  </a:lnTo>
                  <a:lnTo>
                    <a:pt x="5443" y="7387"/>
                  </a:lnTo>
                  <a:lnTo>
                    <a:pt x="5387" y="7404"/>
                  </a:lnTo>
                  <a:lnTo>
                    <a:pt x="5330" y="7421"/>
                  </a:lnTo>
                  <a:lnTo>
                    <a:pt x="5273" y="7438"/>
                  </a:lnTo>
                  <a:lnTo>
                    <a:pt x="5213" y="7454"/>
                  </a:lnTo>
                  <a:lnTo>
                    <a:pt x="5154" y="7469"/>
                  </a:lnTo>
                  <a:lnTo>
                    <a:pt x="5094" y="7485"/>
                  </a:lnTo>
                  <a:lnTo>
                    <a:pt x="5033" y="7498"/>
                  </a:lnTo>
                  <a:lnTo>
                    <a:pt x="4970" y="7512"/>
                  </a:lnTo>
                  <a:lnTo>
                    <a:pt x="4908" y="7525"/>
                  </a:lnTo>
                  <a:lnTo>
                    <a:pt x="4844" y="7538"/>
                  </a:lnTo>
                  <a:lnTo>
                    <a:pt x="4780" y="7549"/>
                  </a:lnTo>
                  <a:lnTo>
                    <a:pt x="4714" y="7561"/>
                  </a:lnTo>
                  <a:lnTo>
                    <a:pt x="4649" y="7571"/>
                  </a:lnTo>
                  <a:lnTo>
                    <a:pt x="4582" y="7581"/>
                  </a:lnTo>
                  <a:lnTo>
                    <a:pt x="4582" y="7581"/>
                  </a:lnTo>
                  <a:lnTo>
                    <a:pt x="4409" y="5816"/>
                  </a:lnTo>
                  <a:lnTo>
                    <a:pt x="4409" y="5816"/>
                  </a:lnTo>
                  <a:close/>
                  <a:moveTo>
                    <a:pt x="4072" y="2375"/>
                  </a:moveTo>
                  <a:lnTo>
                    <a:pt x="4072" y="2375"/>
                  </a:lnTo>
                  <a:lnTo>
                    <a:pt x="4129" y="2368"/>
                  </a:lnTo>
                  <a:lnTo>
                    <a:pt x="4186" y="2359"/>
                  </a:lnTo>
                  <a:lnTo>
                    <a:pt x="4241" y="2350"/>
                  </a:lnTo>
                  <a:lnTo>
                    <a:pt x="4297" y="2339"/>
                  </a:lnTo>
                  <a:lnTo>
                    <a:pt x="4351" y="2329"/>
                  </a:lnTo>
                  <a:lnTo>
                    <a:pt x="4403" y="2318"/>
                  </a:lnTo>
                  <a:lnTo>
                    <a:pt x="4455" y="2305"/>
                  </a:lnTo>
                  <a:lnTo>
                    <a:pt x="4506" y="2292"/>
                  </a:lnTo>
                  <a:lnTo>
                    <a:pt x="4554" y="2278"/>
                  </a:lnTo>
                  <a:lnTo>
                    <a:pt x="4603" y="2263"/>
                  </a:lnTo>
                  <a:lnTo>
                    <a:pt x="4650" y="2249"/>
                  </a:lnTo>
                  <a:lnTo>
                    <a:pt x="4696" y="2232"/>
                  </a:lnTo>
                  <a:lnTo>
                    <a:pt x="4740" y="2217"/>
                  </a:lnTo>
                  <a:lnTo>
                    <a:pt x="4783" y="2199"/>
                  </a:lnTo>
                  <a:lnTo>
                    <a:pt x="4825" y="2181"/>
                  </a:lnTo>
                  <a:lnTo>
                    <a:pt x="4865" y="2163"/>
                  </a:lnTo>
                  <a:lnTo>
                    <a:pt x="4865" y="2163"/>
                  </a:lnTo>
                  <a:lnTo>
                    <a:pt x="5340" y="3798"/>
                  </a:lnTo>
                  <a:lnTo>
                    <a:pt x="5340" y="3798"/>
                  </a:lnTo>
                  <a:lnTo>
                    <a:pt x="5290" y="3828"/>
                  </a:lnTo>
                  <a:lnTo>
                    <a:pt x="5237" y="3859"/>
                  </a:lnTo>
                  <a:lnTo>
                    <a:pt x="5182" y="3888"/>
                  </a:lnTo>
                  <a:lnTo>
                    <a:pt x="5124" y="3916"/>
                  </a:lnTo>
                  <a:lnTo>
                    <a:pt x="5064" y="3943"/>
                  </a:lnTo>
                  <a:lnTo>
                    <a:pt x="5000" y="3969"/>
                  </a:lnTo>
                  <a:lnTo>
                    <a:pt x="4935" y="3993"/>
                  </a:lnTo>
                  <a:lnTo>
                    <a:pt x="4866" y="4017"/>
                  </a:lnTo>
                  <a:lnTo>
                    <a:pt x="4796" y="4039"/>
                  </a:lnTo>
                  <a:lnTo>
                    <a:pt x="4724" y="4060"/>
                  </a:lnTo>
                  <a:lnTo>
                    <a:pt x="4649" y="4080"/>
                  </a:lnTo>
                  <a:lnTo>
                    <a:pt x="4572" y="4098"/>
                  </a:lnTo>
                  <a:lnTo>
                    <a:pt x="4493" y="4116"/>
                  </a:lnTo>
                  <a:lnTo>
                    <a:pt x="4413" y="4132"/>
                  </a:lnTo>
                  <a:lnTo>
                    <a:pt x="4330" y="4145"/>
                  </a:lnTo>
                  <a:lnTo>
                    <a:pt x="4247" y="4158"/>
                  </a:lnTo>
                  <a:lnTo>
                    <a:pt x="4247" y="4158"/>
                  </a:lnTo>
                  <a:lnTo>
                    <a:pt x="4072" y="2375"/>
                  </a:lnTo>
                  <a:lnTo>
                    <a:pt x="4072" y="2375"/>
                  </a:lnTo>
                  <a:close/>
                  <a:moveTo>
                    <a:pt x="3975" y="14"/>
                  </a:moveTo>
                  <a:lnTo>
                    <a:pt x="3975" y="14"/>
                  </a:lnTo>
                  <a:lnTo>
                    <a:pt x="3989" y="10"/>
                  </a:lnTo>
                  <a:lnTo>
                    <a:pt x="4002" y="7"/>
                  </a:lnTo>
                  <a:lnTo>
                    <a:pt x="4016" y="3"/>
                  </a:lnTo>
                  <a:lnTo>
                    <a:pt x="4029" y="1"/>
                  </a:lnTo>
                  <a:lnTo>
                    <a:pt x="4043" y="0"/>
                  </a:lnTo>
                  <a:lnTo>
                    <a:pt x="4056" y="0"/>
                  </a:lnTo>
                  <a:lnTo>
                    <a:pt x="4070" y="0"/>
                  </a:lnTo>
                  <a:lnTo>
                    <a:pt x="4083" y="1"/>
                  </a:lnTo>
                  <a:lnTo>
                    <a:pt x="4096" y="2"/>
                  </a:lnTo>
                  <a:lnTo>
                    <a:pt x="4108" y="5"/>
                  </a:lnTo>
                  <a:lnTo>
                    <a:pt x="4121" y="9"/>
                  </a:lnTo>
                  <a:lnTo>
                    <a:pt x="4133" y="13"/>
                  </a:lnTo>
                  <a:lnTo>
                    <a:pt x="4145" y="17"/>
                  </a:lnTo>
                  <a:lnTo>
                    <a:pt x="4157" y="22"/>
                  </a:lnTo>
                  <a:lnTo>
                    <a:pt x="4169" y="28"/>
                  </a:lnTo>
                  <a:lnTo>
                    <a:pt x="4180" y="36"/>
                  </a:lnTo>
                  <a:lnTo>
                    <a:pt x="4190" y="43"/>
                  </a:lnTo>
                  <a:lnTo>
                    <a:pt x="4202" y="51"/>
                  </a:lnTo>
                  <a:lnTo>
                    <a:pt x="4212" y="61"/>
                  </a:lnTo>
                  <a:lnTo>
                    <a:pt x="4222" y="70"/>
                  </a:lnTo>
                  <a:lnTo>
                    <a:pt x="4232" y="81"/>
                  </a:lnTo>
                  <a:lnTo>
                    <a:pt x="4241" y="92"/>
                  </a:lnTo>
                  <a:lnTo>
                    <a:pt x="4251" y="104"/>
                  </a:lnTo>
                  <a:lnTo>
                    <a:pt x="4259" y="118"/>
                  </a:lnTo>
                  <a:lnTo>
                    <a:pt x="4267" y="132"/>
                  </a:lnTo>
                  <a:lnTo>
                    <a:pt x="4276" y="146"/>
                  </a:lnTo>
                  <a:lnTo>
                    <a:pt x="4283" y="162"/>
                  </a:lnTo>
                  <a:lnTo>
                    <a:pt x="4290" y="177"/>
                  </a:lnTo>
                  <a:lnTo>
                    <a:pt x="4297" y="194"/>
                  </a:lnTo>
                  <a:lnTo>
                    <a:pt x="4303" y="212"/>
                  </a:lnTo>
                  <a:lnTo>
                    <a:pt x="4308" y="231"/>
                  </a:lnTo>
                  <a:lnTo>
                    <a:pt x="4313" y="250"/>
                  </a:lnTo>
                  <a:lnTo>
                    <a:pt x="4313" y="250"/>
                  </a:lnTo>
                  <a:lnTo>
                    <a:pt x="4338" y="337"/>
                  </a:lnTo>
                  <a:lnTo>
                    <a:pt x="4394" y="534"/>
                  </a:lnTo>
                  <a:lnTo>
                    <a:pt x="4394" y="534"/>
                  </a:lnTo>
                  <a:lnTo>
                    <a:pt x="4370" y="546"/>
                  </a:lnTo>
                  <a:lnTo>
                    <a:pt x="4345" y="558"/>
                  </a:lnTo>
                  <a:lnTo>
                    <a:pt x="4319" y="569"/>
                  </a:lnTo>
                  <a:lnTo>
                    <a:pt x="4292" y="581"/>
                  </a:lnTo>
                  <a:lnTo>
                    <a:pt x="4264" y="591"/>
                  </a:lnTo>
                  <a:lnTo>
                    <a:pt x="4235" y="600"/>
                  </a:lnTo>
                  <a:lnTo>
                    <a:pt x="4206" y="611"/>
                  </a:lnTo>
                  <a:lnTo>
                    <a:pt x="4176" y="619"/>
                  </a:lnTo>
                  <a:lnTo>
                    <a:pt x="4145" y="629"/>
                  </a:lnTo>
                  <a:lnTo>
                    <a:pt x="4113" y="637"/>
                  </a:lnTo>
                  <a:lnTo>
                    <a:pt x="4080" y="644"/>
                  </a:lnTo>
                  <a:lnTo>
                    <a:pt x="4047" y="652"/>
                  </a:lnTo>
                  <a:lnTo>
                    <a:pt x="4013" y="659"/>
                  </a:lnTo>
                  <a:lnTo>
                    <a:pt x="3978" y="665"/>
                  </a:lnTo>
                  <a:lnTo>
                    <a:pt x="3943" y="670"/>
                  </a:lnTo>
                  <a:lnTo>
                    <a:pt x="3907" y="675"/>
                  </a:lnTo>
                  <a:lnTo>
                    <a:pt x="3907" y="675"/>
                  </a:lnTo>
                  <a:lnTo>
                    <a:pt x="3890" y="495"/>
                  </a:lnTo>
                  <a:lnTo>
                    <a:pt x="3890" y="495"/>
                  </a:lnTo>
                  <a:lnTo>
                    <a:pt x="3885" y="425"/>
                  </a:lnTo>
                  <a:lnTo>
                    <a:pt x="3878" y="350"/>
                  </a:lnTo>
                  <a:lnTo>
                    <a:pt x="3874" y="313"/>
                  </a:lnTo>
                  <a:lnTo>
                    <a:pt x="3872" y="276"/>
                  </a:lnTo>
                  <a:lnTo>
                    <a:pt x="3872" y="240"/>
                  </a:lnTo>
                  <a:lnTo>
                    <a:pt x="3872" y="205"/>
                  </a:lnTo>
                  <a:lnTo>
                    <a:pt x="3875" y="171"/>
                  </a:lnTo>
                  <a:lnTo>
                    <a:pt x="3878" y="154"/>
                  </a:lnTo>
                  <a:lnTo>
                    <a:pt x="3880" y="139"/>
                  </a:lnTo>
                  <a:lnTo>
                    <a:pt x="3883" y="124"/>
                  </a:lnTo>
                  <a:lnTo>
                    <a:pt x="3887" y="110"/>
                  </a:lnTo>
                  <a:lnTo>
                    <a:pt x="3892" y="96"/>
                  </a:lnTo>
                  <a:lnTo>
                    <a:pt x="3897" y="84"/>
                  </a:lnTo>
                  <a:lnTo>
                    <a:pt x="3904" y="71"/>
                  </a:lnTo>
                  <a:lnTo>
                    <a:pt x="3911" y="61"/>
                  </a:lnTo>
                  <a:lnTo>
                    <a:pt x="3919" y="50"/>
                  </a:lnTo>
                  <a:lnTo>
                    <a:pt x="3929" y="41"/>
                  </a:lnTo>
                  <a:lnTo>
                    <a:pt x="3938" y="33"/>
                  </a:lnTo>
                  <a:lnTo>
                    <a:pt x="3949" y="25"/>
                  </a:lnTo>
                  <a:lnTo>
                    <a:pt x="3962" y="19"/>
                  </a:lnTo>
                  <a:lnTo>
                    <a:pt x="3975" y="14"/>
                  </a:lnTo>
                  <a:lnTo>
                    <a:pt x="3975" y="14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4" name="Freeform 156"/>
            <p:cNvSpPr>
              <a:spLocks/>
            </p:cNvSpPr>
            <p:nvPr/>
          </p:nvSpPr>
          <p:spPr bwMode="auto">
            <a:xfrm flipH="1">
              <a:off x="1805897" y="3654200"/>
              <a:ext cx="175452" cy="263143"/>
            </a:xfrm>
            <a:custGeom>
              <a:avLst/>
              <a:gdLst>
                <a:gd name="T0" fmla="*/ 487 w 958"/>
                <a:gd name="T1" fmla="*/ 0 h 1841"/>
                <a:gd name="T2" fmla="*/ 487 w 958"/>
                <a:gd name="T3" fmla="*/ 0 h 1841"/>
                <a:gd name="T4" fmla="*/ 680 w 958"/>
                <a:gd name="T5" fmla="*/ 666 h 1841"/>
                <a:gd name="T6" fmla="*/ 958 w 958"/>
                <a:gd name="T7" fmla="*/ 1629 h 1841"/>
                <a:gd name="T8" fmla="*/ 958 w 958"/>
                <a:gd name="T9" fmla="*/ 1629 h 1841"/>
                <a:gd name="T10" fmla="*/ 918 w 958"/>
                <a:gd name="T11" fmla="*/ 1647 h 1841"/>
                <a:gd name="T12" fmla="*/ 876 w 958"/>
                <a:gd name="T13" fmla="*/ 1665 h 1841"/>
                <a:gd name="T14" fmla="*/ 833 w 958"/>
                <a:gd name="T15" fmla="*/ 1683 h 1841"/>
                <a:gd name="T16" fmla="*/ 789 w 958"/>
                <a:gd name="T17" fmla="*/ 1698 h 1841"/>
                <a:gd name="T18" fmla="*/ 743 w 958"/>
                <a:gd name="T19" fmla="*/ 1715 h 1841"/>
                <a:gd name="T20" fmla="*/ 696 w 958"/>
                <a:gd name="T21" fmla="*/ 1729 h 1841"/>
                <a:gd name="T22" fmla="*/ 647 w 958"/>
                <a:gd name="T23" fmla="*/ 1744 h 1841"/>
                <a:gd name="T24" fmla="*/ 599 w 958"/>
                <a:gd name="T25" fmla="*/ 1758 h 1841"/>
                <a:gd name="T26" fmla="*/ 548 w 958"/>
                <a:gd name="T27" fmla="*/ 1771 h 1841"/>
                <a:gd name="T28" fmla="*/ 496 w 958"/>
                <a:gd name="T29" fmla="*/ 1784 h 1841"/>
                <a:gd name="T30" fmla="*/ 444 w 958"/>
                <a:gd name="T31" fmla="*/ 1795 h 1841"/>
                <a:gd name="T32" fmla="*/ 390 w 958"/>
                <a:gd name="T33" fmla="*/ 1805 h 1841"/>
                <a:gd name="T34" fmla="*/ 334 w 958"/>
                <a:gd name="T35" fmla="*/ 1816 h 1841"/>
                <a:gd name="T36" fmla="*/ 279 w 958"/>
                <a:gd name="T37" fmla="*/ 1825 h 1841"/>
                <a:gd name="T38" fmla="*/ 222 w 958"/>
                <a:gd name="T39" fmla="*/ 1834 h 1841"/>
                <a:gd name="T40" fmla="*/ 165 w 958"/>
                <a:gd name="T41" fmla="*/ 1841 h 1841"/>
                <a:gd name="T42" fmla="*/ 165 w 958"/>
                <a:gd name="T43" fmla="*/ 1841 h 1841"/>
                <a:gd name="T44" fmla="*/ 64 w 958"/>
                <a:gd name="T45" fmla="*/ 802 h 1841"/>
                <a:gd name="T46" fmla="*/ 0 w 958"/>
                <a:gd name="T47" fmla="*/ 141 h 1841"/>
                <a:gd name="T48" fmla="*/ 0 w 958"/>
                <a:gd name="T49" fmla="*/ 141 h 1841"/>
                <a:gd name="T50" fmla="*/ 36 w 958"/>
                <a:gd name="T51" fmla="*/ 136 h 1841"/>
                <a:gd name="T52" fmla="*/ 71 w 958"/>
                <a:gd name="T53" fmla="*/ 131 h 1841"/>
                <a:gd name="T54" fmla="*/ 106 w 958"/>
                <a:gd name="T55" fmla="*/ 125 h 1841"/>
                <a:gd name="T56" fmla="*/ 140 w 958"/>
                <a:gd name="T57" fmla="*/ 118 h 1841"/>
                <a:gd name="T58" fmla="*/ 173 w 958"/>
                <a:gd name="T59" fmla="*/ 110 h 1841"/>
                <a:gd name="T60" fmla="*/ 206 w 958"/>
                <a:gd name="T61" fmla="*/ 103 h 1841"/>
                <a:gd name="T62" fmla="*/ 238 w 958"/>
                <a:gd name="T63" fmla="*/ 95 h 1841"/>
                <a:gd name="T64" fmla="*/ 269 w 958"/>
                <a:gd name="T65" fmla="*/ 85 h 1841"/>
                <a:gd name="T66" fmla="*/ 299 w 958"/>
                <a:gd name="T67" fmla="*/ 77 h 1841"/>
                <a:gd name="T68" fmla="*/ 328 w 958"/>
                <a:gd name="T69" fmla="*/ 66 h 1841"/>
                <a:gd name="T70" fmla="*/ 357 w 958"/>
                <a:gd name="T71" fmla="*/ 57 h 1841"/>
                <a:gd name="T72" fmla="*/ 385 w 958"/>
                <a:gd name="T73" fmla="*/ 47 h 1841"/>
                <a:gd name="T74" fmla="*/ 412 w 958"/>
                <a:gd name="T75" fmla="*/ 35 h 1841"/>
                <a:gd name="T76" fmla="*/ 438 w 958"/>
                <a:gd name="T77" fmla="*/ 24 h 1841"/>
                <a:gd name="T78" fmla="*/ 463 w 958"/>
                <a:gd name="T79" fmla="*/ 12 h 1841"/>
                <a:gd name="T80" fmla="*/ 487 w 958"/>
                <a:gd name="T81" fmla="*/ 0 h 1841"/>
                <a:gd name="T82" fmla="*/ 487 w 958"/>
                <a:gd name="T83" fmla="*/ 0 h 1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58" h="1841">
                  <a:moveTo>
                    <a:pt x="487" y="0"/>
                  </a:moveTo>
                  <a:lnTo>
                    <a:pt x="487" y="0"/>
                  </a:lnTo>
                  <a:lnTo>
                    <a:pt x="680" y="666"/>
                  </a:lnTo>
                  <a:lnTo>
                    <a:pt x="958" y="1629"/>
                  </a:lnTo>
                  <a:lnTo>
                    <a:pt x="958" y="1629"/>
                  </a:lnTo>
                  <a:lnTo>
                    <a:pt x="918" y="1647"/>
                  </a:lnTo>
                  <a:lnTo>
                    <a:pt x="876" y="1665"/>
                  </a:lnTo>
                  <a:lnTo>
                    <a:pt x="833" y="1683"/>
                  </a:lnTo>
                  <a:lnTo>
                    <a:pt x="789" y="1698"/>
                  </a:lnTo>
                  <a:lnTo>
                    <a:pt x="743" y="1715"/>
                  </a:lnTo>
                  <a:lnTo>
                    <a:pt x="696" y="1729"/>
                  </a:lnTo>
                  <a:lnTo>
                    <a:pt x="647" y="1744"/>
                  </a:lnTo>
                  <a:lnTo>
                    <a:pt x="599" y="1758"/>
                  </a:lnTo>
                  <a:lnTo>
                    <a:pt x="548" y="1771"/>
                  </a:lnTo>
                  <a:lnTo>
                    <a:pt x="496" y="1784"/>
                  </a:lnTo>
                  <a:lnTo>
                    <a:pt x="444" y="1795"/>
                  </a:lnTo>
                  <a:lnTo>
                    <a:pt x="390" y="1805"/>
                  </a:lnTo>
                  <a:lnTo>
                    <a:pt x="334" y="1816"/>
                  </a:lnTo>
                  <a:lnTo>
                    <a:pt x="279" y="1825"/>
                  </a:lnTo>
                  <a:lnTo>
                    <a:pt x="222" y="1834"/>
                  </a:lnTo>
                  <a:lnTo>
                    <a:pt x="165" y="1841"/>
                  </a:lnTo>
                  <a:lnTo>
                    <a:pt x="165" y="1841"/>
                  </a:lnTo>
                  <a:lnTo>
                    <a:pt x="64" y="802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36" y="136"/>
                  </a:lnTo>
                  <a:lnTo>
                    <a:pt x="71" y="131"/>
                  </a:lnTo>
                  <a:lnTo>
                    <a:pt x="106" y="125"/>
                  </a:lnTo>
                  <a:lnTo>
                    <a:pt x="140" y="118"/>
                  </a:lnTo>
                  <a:lnTo>
                    <a:pt x="173" y="110"/>
                  </a:lnTo>
                  <a:lnTo>
                    <a:pt x="206" y="103"/>
                  </a:lnTo>
                  <a:lnTo>
                    <a:pt x="238" y="95"/>
                  </a:lnTo>
                  <a:lnTo>
                    <a:pt x="269" y="85"/>
                  </a:lnTo>
                  <a:lnTo>
                    <a:pt x="299" y="77"/>
                  </a:lnTo>
                  <a:lnTo>
                    <a:pt x="328" y="66"/>
                  </a:lnTo>
                  <a:lnTo>
                    <a:pt x="357" y="57"/>
                  </a:lnTo>
                  <a:lnTo>
                    <a:pt x="385" y="47"/>
                  </a:lnTo>
                  <a:lnTo>
                    <a:pt x="412" y="35"/>
                  </a:lnTo>
                  <a:lnTo>
                    <a:pt x="438" y="24"/>
                  </a:lnTo>
                  <a:lnTo>
                    <a:pt x="463" y="12"/>
                  </a:lnTo>
                  <a:lnTo>
                    <a:pt x="487" y="0"/>
                  </a:lnTo>
                  <a:lnTo>
                    <a:pt x="487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5" name="Freeform 157"/>
            <p:cNvSpPr>
              <a:spLocks noEditPoints="1"/>
            </p:cNvSpPr>
            <p:nvPr/>
          </p:nvSpPr>
          <p:spPr bwMode="auto">
            <a:xfrm flipH="1">
              <a:off x="1462733" y="3654200"/>
              <a:ext cx="1140439" cy="1248640"/>
            </a:xfrm>
            <a:custGeom>
              <a:avLst/>
              <a:gdLst>
                <a:gd name="T0" fmla="*/ 1157 w 6185"/>
                <a:gd name="T1" fmla="*/ 4983 h 8714"/>
                <a:gd name="T2" fmla="*/ 1389 w 6185"/>
                <a:gd name="T3" fmla="*/ 4590 h 8714"/>
                <a:gd name="T4" fmla="*/ 1456 w 6185"/>
                <a:gd name="T5" fmla="*/ 4330 h 8714"/>
                <a:gd name="T6" fmla="*/ 1473 w 6185"/>
                <a:gd name="T7" fmla="*/ 4225 h 8714"/>
                <a:gd name="T8" fmla="*/ 1469 w 6185"/>
                <a:gd name="T9" fmla="*/ 4152 h 8714"/>
                <a:gd name="T10" fmla="*/ 1448 w 6185"/>
                <a:gd name="T11" fmla="*/ 4111 h 8714"/>
                <a:gd name="T12" fmla="*/ 1415 w 6185"/>
                <a:gd name="T13" fmla="*/ 4100 h 8714"/>
                <a:gd name="T14" fmla="*/ 1374 w 6185"/>
                <a:gd name="T15" fmla="*/ 4116 h 8714"/>
                <a:gd name="T16" fmla="*/ 1330 w 6185"/>
                <a:gd name="T17" fmla="*/ 4161 h 8714"/>
                <a:gd name="T18" fmla="*/ 1286 w 6185"/>
                <a:gd name="T19" fmla="*/ 4230 h 8714"/>
                <a:gd name="T20" fmla="*/ 1257 w 6185"/>
                <a:gd name="T21" fmla="*/ 4299 h 8714"/>
                <a:gd name="T22" fmla="*/ 1046 w 6185"/>
                <a:gd name="T23" fmla="*/ 4929 h 8714"/>
                <a:gd name="T24" fmla="*/ 451 w 6185"/>
                <a:gd name="T25" fmla="*/ 8326 h 8714"/>
                <a:gd name="T26" fmla="*/ 212 w 6185"/>
                <a:gd name="T27" fmla="*/ 8209 h 8714"/>
                <a:gd name="T28" fmla="*/ 0 w 6185"/>
                <a:gd name="T29" fmla="*/ 8083 h 8714"/>
                <a:gd name="T30" fmla="*/ 546 w 6185"/>
                <a:gd name="T31" fmla="*/ 6577 h 8714"/>
                <a:gd name="T32" fmla="*/ 713 w 6185"/>
                <a:gd name="T33" fmla="*/ 6666 h 8714"/>
                <a:gd name="T34" fmla="*/ 851 w 6185"/>
                <a:gd name="T35" fmla="*/ 6729 h 8714"/>
                <a:gd name="T36" fmla="*/ 4083 w 6185"/>
                <a:gd name="T37" fmla="*/ 5247 h 8714"/>
                <a:gd name="T38" fmla="*/ 4479 w 6185"/>
                <a:gd name="T39" fmla="*/ 5155 h 8714"/>
                <a:gd name="T40" fmla="*/ 4746 w 6185"/>
                <a:gd name="T41" fmla="*/ 5068 h 8714"/>
                <a:gd name="T42" fmla="*/ 4908 w 6185"/>
                <a:gd name="T43" fmla="*/ 5002 h 8714"/>
                <a:gd name="T44" fmla="*/ 5057 w 6185"/>
                <a:gd name="T45" fmla="*/ 4930 h 8714"/>
                <a:gd name="T46" fmla="*/ 5191 w 6185"/>
                <a:gd name="T47" fmla="*/ 4854 h 8714"/>
                <a:gd name="T48" fmla="*/ 4802 w 6185"/>
                <a:gd name="T49" fmla="*/ 3264 h 8714"/>
                <a:gd name="T50" fmla="*/ 4644 w 6185"/>
                <a:gd name="T51" fmla="*/ 3354 h 8714"/>
                <a:gd name="T52" fmla="*/ 4397 w 6185"/>
                <a:gd name="T53" fmla="*/ 3459 h 8714"/>
                <a:gd name="T54" fmla="*/ 4111 w 6185"/>
                <a:gd name="T55" fmla="*/ 3546 h 8714"/>
                <a:gd name="T56" fmla="*/ 3792 w 6185"/>
                <a:gd name="T57" fmla="*/ 3611 h 8714"/>
                <a:gd name="T58" fmla="*/ 3871 w 6185"/>
                <a:gd name="T59" fmla="*/ 5282 h 8714"/>
                <a:gd name="T60" fmla="*/ 6185 w 6185"/>
                <a:gd name="T61" fmla="*/ 8016 h 8714"/>
                <a:gd name="T62" fmla="*/ 6008 w 6185"/>
                <a:gd name="T63" fmla="*/ 8135 h 8714"/>
                <a:gd name="T64" fmla="*/ 5810 w 6185"/>
                <a:gd name="T65" fmla="*/ 8246 h 8714"/>
                <a:gd name="T66" fmla="*/ 5588 w 6185"/>
                <a:gd name="T67" fmla="*/ 8348 h 8714"/>
                <a:gd name="T68" fmla="*/ 5347 w 6185"/>
                <a:gd name="T69" fmla="*/ 8442 h 8714"/>
                <a:gd name="T70" fmla="*/ 5087 w 6185"/>
                <a:gd name="T71" fmla="*/ 8525 h 8714"/>
                <a:gd name="T72" fmla="*/ 4810 w 6185"/>
                <a:gd name="T73" fmla="*/ 8599 h 8714"/>
                <a:gd name="T74" fmla="*/ 4515 w 6185"/>
                <a:gd name="T75" fmla="*/ 8663 h 8714"/>
                <a:gd name="T76" fmla="*/ 4208 w 6185"/>
                <a:gd name="T77" fmla="*/ 8714 h 8714"/>
                <a:gd name="T78" fmla="*/ 4111 w 6185"/>
                <a:gd name="T79" fmla="*/ 7037 h 8714"/>
                <a:gd name="T80" fmla="*/ 4370 w 6185"/>
                <a:gd name="T81" fmla="*/ 6991 h 8714"/>
                <a:gd name="T82" fmla="*/ 4616 w 6185"/>
                <a:gd name="T83" fmla="*/ 6935 h 8714"/>
                <a:gd name="T84" fmla="*/ 4849 w 6185"/>
                <a:gd name="T85" fmla="*/ 6870 h 8714"/>
                <a:gd name="T86" fmla="*/ 5067 w 6185"/>
                <a:gd name="T87" fmla="*/ 6797 h 8714"/>
                <a:gd name="T88" fmla="*/ 5269 w 6185"/>
                <a:gd name="T89" fmla="*/ 6716 h 8714"/>
                <a:gd name="T90" fmla="*/ 5453 w 6185"/>
                <a:gd name="T91" fmla="*/ 6628 h 8714"/>
                <a:gd name="T92" fmla="*/ 5619 w 6185"/>
                <a:gd name="T93" fmla="*/ 6533 h 8714"/>
                <a:gd name="T94" fmla="*/ 5731 w 6185"/>
                <a:gd name="T95" fmla="*/ 6457 h 8714"/>
                <a:gd name="T96" fmla="*/ 4327 w 6185"/>
                <a:gd name="T97" fmla="*/ 1629 h 8714"/>
                <a:gd name="T98" fmla="*/ 4202 w 6185"/>
                <a:gd name="T99" fmla="*/ 1683 h 8714"/>
                <a:gd name="T100" fmla="*/ 4016 w 6185"/>
                <a:gd name="T101" fmla="*/ 1744 h 8714"/>
                <a:gd name="T102" fmla="*/ 3813 w 6185"/>
                <a:gd name="T103" fmla="*/ 1795 h 8714"/>
                <a:gd name="T104" fmla="*/ 3591 w 6185"/>
                <a:gd name="T105" fmla="*/ 1834 h 8714"/>
                <a:gd name="T106" fmla="*/ 3369 w 6185"/>
                <a:gd name="T107" fmla="*/ 141 h 8714"/>
                <a:gd name="T108" fmla="*/ 3475 w 6185"/>
                <a:gd name="T109" fmla="*/ 125 h 8714"/>
                <a:gd name="T110" fmla="*/ 3607 w 6185"/>
                <a:gd name="T111" fmla="*/ 95 h 8714"/>
                <a:gd name="T112" fmla="*/ 3726 w 6185"/>
                <a:gd name="T113" fmla="*/ 57 h 8714"/>
                <a:gd name="T114" fmla="*/ 3832 w 6185"/>
                <a:gd name="T115" fmla="*/ 12 h 87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185" h="8714">
                  <a:moveTo>
                    <a:pt x="1046" y="4929"/>
                  </a:moveTo>
                  <a:lnTo>
                    <a:pt x="1046" y="4929"/>
                  </a:lnTo>
                  <a:lnTo>
                    <a:pt x="1100" y="4956"/>
                  </a:lnTo>
                  <a:lnTo>
                    <a:pt x="1157" y="4983"/>
                  </a:lnTo>
                  <a:lnTo>
                    <a:pt x="1216" y="5009"/>
                  </a:lnTo>
                  <a:lnTo>
                    <a:pt x="1276" y="5035"/>
                  </a:lnTo>
                  <a:lnTo>
                    <a:pt x="1276" y="5035"/>
                  </a:lnTo>
                  <a:lnTo>
                    <a:pt x="1389" y="4590"/>
                  </a:lnTo>
                  <a:lnTo>
                    <a:pt x="1426" y="4445"/>
                  </a:lnTo>
                  <a:lnTo>
                    <a:pt x="1447" y="4362"/>
                  </a:lnTo>
                  <a:lnTo>
                    <a:pt x="1447" y="4362"/>
                  </a:lnTo>
                  <a:lnTo>
                    <a:pt x="1456" y="4330"/>
                  </a:lnTo>
                  <a:lnTo>
                    <a:pt x="1462" y="4301"/>
                  </a:lnTo>
                  <a:lnTo>
                    <a:pt x="1467" y="4274"/>
                  </a:lnTo>
                  <a:lnTo>
                    <a:pt x="1471" y="4248"/>
                  </a:lnTo>
                  <a:lnTo>
                    <a:pt x="1473" y="4225"/>
                  </a:lnTo>
                  <a:lnTo>
                    <a:pt x="1473" y="4204"/>
                  </a:lnTo>
                  <a:lnTo>
                    <a:pt x="1473" y="4184"/>
                  </a:lnTo>
                  <a:lnTo>
                    <a:pt x="1471" y="4168"/>
                  </a:lnTo>
                  <a:lnTo>
                    <a:pt x="1469" y="4152"/>
                  </a:lnTo>
                  <a:lnTo>
                    <a:pt x="1465" y="4138"/>
                  </a:lnTo>
                  <a:lnTo>
                    <a:pt x="1460" y="4128"/>
                  </a:lnTo>
                  <a:lnTo>
                    <a:pt x="1455" y="4119"/>
                  </a:lnTo>
                  <a:lnTo>
                    <a:pt x="1448" y="4111"/>
                  </a:lnTo>
                  <a:lnTo>
                    <a:pt x="1441" y="4105"/>
                  </a:lnTo>
                  <a:lnTo>
                    <a:pt x="1433" y="4102"/>
                  </a:lnTo>
                  <a:lnTo>
                    <a:pt x="1425" y="4100"/>
                  </a:lnTo>
                  <a:lnTo>
                    <a:pt x="1415" y="4100"/>
                  </a:lnTo>
                  <a:lnTo>
                    <a:pt x="1405" y="4101"/>
                  </a:lnTo>
                  <a:lnTo>
                    <a:pt x="1395" y="4105"/>
                  </a:lnTo>
                  <a:lnTo>
                    <a:pt x="1385" y="4110"/>
                  </a:lnTo>
                  <a:lnTo>
                    <a:pt x="1374" y="4116"/>
                  </a:lnTo>
                  <a:lnTo>
                    <a:pt x="1363" y="4125"/>
                  </a:lnTo>
                  <a:lnTo>
                    <a:pt x="1352" y="4135"/>
                  </a:lnTo>
                  <a:lnTo>
                    <a:pt x="1340" y="4148"/>
                  </a:lnTo>
                  <a:lnTo>
                    <a:pt x="1330" y="4161"/>
                  </a:lnTo>
                  <a:lnTo>
                    <a:pt x="1319" y="4176"/>
                  </a:lnTo>
                  <a:lnTo>
                    <a:pt x="1308" y="4193"/>
                  </a:lnTo>
                  <a:lnTo>
                    <a:pt x="1297" y="4210"/>
                  </a:lnTo>
                  <a:lnTo>
                    <a:pt x="1286" y="4230"/>
                  </a:lnTo>
                  <a:lnTo>
                    <a:pt x="1276" y="4252"/>
                  </a:lnTo>
                  <a:lnTo>
                    <a:pt x="1267" y="4274"/>
                  </a:lnTo>
                  <a:lnTo>
                    <a:pt x="1257" y="4299"/>
                  </a:lnTo>
                  <a:lnTo>
                    <a:pt x="1257" y="4299"/>
                  </a:lnTo>
                  <a:lnTo>
                    <a:pt x="1233" y="4370"/>
                  </a:lnTo>
                  <a:lnTo>
                    <a:pt x="1188" y="4504"/>
                  </a:lnTo>
                  <a:lnTo>
                    <a:pt x="1046" y="4929"/>
                  </a:lnTo>
                  <a:lnTo>
                    <a:pt x="1046" y="4929"/>
                  </a:lnTo>
                  <a:close/>
                  <a:moveTo>
                    <a:pt x="851" y="6729"/>
                  </a:moveTo>
                  <a:lnTo>
                    <a:pt x="851" y="6729"/>
                  </a:lnTo>
                  <a:lnTo>
                    <a:pt x="451" y="8326"/>
                  </a:lnTo>
                  <a:lnTo>
                    <a:pt x="451" y="8326"/>
                  </a:lnTo>
                  <a:lnTo>
                    <a:pt x="389" y="8298"/>
                  </a:lnTo>
                  <a:lnTo>
                    <a:pt x="329" y="8269"/>
                  </a:lnTo>
                  <a:lnTo>
                    <a:pt x="270" y="8239"/>
                  </a:lnTo>
                  <a:lnTo>
                    <a:pt x="212" y="8209"/>
                  </a:lnTo>
                  <a:lnTo>
                    <a:pt x="156" y="8179"/>
                  </a:lnTo>
                  <a:lnTo>
                    <a:pt x="102" y="8147"/>
                  </a:lnTo>
                  <a:lnTo>
                    <a:pt x="50" y="8115"/>
                  </a:lnTo>
                  <a:lnTo>
                    <a:pt x="0" y="8083"/>
                  </a:lnTo>
                  <a:lnTo>
                    <a:pt x="0" y="8083"/>
                  </a:lnTo>
                  <a:lnTo>
                    <a:pt x="507" y="6554"/>
                  </a:lnTo>
                  <a:lnTo>
                    <a:pt x="507" y="6554"/>
                  </a:lnTo>
                  <a:lnTo>
                    <a:pt x="546" y="6577"/>
                  </a:lnTo>
                  <a:lnTo>
                    <a:pt x="586" y="6599"/>
                  </a:lnTo>
                  <a:lnTo>
                    <a:pt x="627" y="6622"/>
                  </a:lnTo>
                  <a:lnTo>
                    <a:pt x="670" y="6644"/>
                  </a:lnTo>
                  <a:lnTo>
                    <a:pt x="713" y="6666"/>
                  </a:lnTo>
                  <a:lnTo>
                    <a:pt x="758" y="6687"/>
                  </a:lnTo>
                  <a:lnTo>
                    <a:pt x="804" y="6708"/>
                  </a:lnTo>
                  <a:lnTo>
                    <a:pt x="851" y="6729"/>
                  </a:lnTo>
                  <a:lnTo>
                    <a:pt x="851" y="6729"/>
                  </a:lnTo>
                  <a:close/>
                  <a:moveTo>
                    <a:pt x="3871" y="5282"/>
                  </a:moveTo>
                  <a:lnTo>
                    <a:pt x="3871" y="5282"/>
                  </a:lnTo>
                  <a:lnTo>
                    <a:pt x="3978" y="5266"/>
                  </a:lnTo>
                  <a:lnTo>
                    <a:pt x="4083" y="5247"/>
                  </a:lnTo>
                  <a:lnTo>
                    <a:pt x="4186" y="5227"/>
                  </a:lnTo>
                  <a:lnTo>
                    <a:pt x="4286" y="5204"/>
                  </a:lnTo>
                  <a:lnTo>
                    <a:pt x="4383" y="5180"/>
                  </a:lnTo>
                  <a:lnTo>
                    <a:pt x="4479" y="5155"/>
                  </a:lnTo>
                  <a:lnTo>
                    <a:pt x="4570" y="5127"/>
                  </a:lnTo>
                  <a:lnTo>
                    <a:pt x="4660" y="5099"/>
                  </a:lnTo>
                  <a:lnTo>
                    <a:pt x="4704" y="5083"/>
                  </a:lnTo>
                  <a:lnTo>
                    <a:pt x="4746" y="5068"/>
                  </a:lnTo>
                  <a:lnTo>
                    <a:pt x="4788" y="5052"/>
                  </a:lnTo>
                  <a:lnTo>
                    <a:pt x="4828" y="5035"/>
                  </a:lnTo>
                  <a:lnTo>
                    <a:pt x="4869" y="5019"/>
                  </a:lnTo>
                  <a:lnTo>
                    <a:pt x="4908" y="5002"/>
                  </a:lnTo>
                  <a:lnTo>
                    <a:pt x="4947" y="4984"/>
                  </a:lnTo>
                  <a:lnTo>
                    <a:pt x="4984" y="4967"/>
                  </a:lnTo>
                  <a:lnTo>
                    <a:pt x="5022" y="4949"/>
                  </a:lnTo>
                  <a:lnTo>
                    <a:pt x="5057" y="4930"/>
                  </a:lnTo>
                  <a:lnTo>
                    <a:pt x="5092" y="4911"/>
                  </a:lnTo>
                  <a:lnTo>
                    <a:pt x="5126" y="4893"/>
                  </a:lnTo>
                  <a:lnTo>
                    <a:pt x="5159" y="4873"/>
                  </a:lnTo>
                  <a:lnTo>
                    <a:pt x="5191" y="4854"/>
                  </a:lnTo>
                  <a:lnTo>
                    <a:pt x="5222" y="4833"/>
                  </a:lnTo>
                  <a:lnTo>
                    <a:pt x="5252" y="4814"/>
                  </a:lnTo>
                  <a:lnTo>
                    <a:pt x="5252" y="4814"/>
                  </a:lnTo>
                  <a:lnTo>
                    <a:pt x="4802" y="3264"/>
                  </a:lnTo>
                  <a:lnTo>
                    <a:pt x="4802" y="3264"/>
                  </a:lnTo>
                  <a:lnTo>
                    <a:pt x="4752" y="3294"/>
                  </a:lnTo>
                  <a:lnTo>
                    <a:pt x="4699" y="3325"/>
                  </a:lnTo>
                  <a:lnTo>
                    <a:pt x="4644" y="3354"/>
                  </a:lnTo>
                  <a:lnTo>
                    <a:pt x="4586" y="3382"/>
                  </a:lnTo>
                  <a:lnTo>
                    <a:pt x="4526" y="3409"/>
                  </a:lnTo>
                  <a:lnTo>
                    <a:pt x="4462" y="3435"/>
                  </a:lnTo>
                  <a:lnTo>
                    <a:pt x="4397" y="3459"/>
                  </a:lnTo>
                  <a:lnTo>
                    <a:pt x="4328" y="3483"/>
                  </a:lnTo>
                  <a:lnTo>
                    <a:pt x="4258" y="3505"/>
                  </a:lnTo>
                  <a:lnTo>
                    <a:pt x="4186" y="3526"/>
                  </a:lnTo>
                  <a:lnTo>
                    <a:pt x="4111" y="3546"/>
                  </a:lnTo>
                  <a:lnTo>
                    <a:pt x="4034" y="3564"/>
                  </a:lnTo>
                  <a:lnTo>
                    <a:pt x="3955" y="3582"/>
                  </a:lnTo>
                  <a:lnTo>
                    <a:pt x="3875" y="3598"/>
                  </a:lnTo>
                  <a:lnTo>
                    <a:pt x="3792" y="3611"/>
                  </a:lnTo>
                  <a:lnTo>
                    <a:pt x="3709" y="3624"/>
                  </a:lnTo>
                  <a:lnTo>
                    <a:pt x="3709" y="3624"/>
                  </a:lnTo>
                  <a:lnTo>
                    <a:pt x="3871" y="5282"/>
                  </a:lnTo>
                  <a:lnTo>
                    <a:pt x="3871" y="5282"/>
                  </a:lnTo>
                  <a:close/>
                  <a:moveTo>
                    <a:pt x="5731" y="6457"/>
                  </a:moveTo>
                  <a:lnTo>
                    <a:pt x="5731" y="6457"/>
                  </a:lnTo>
                  <a:lnTo>
                    <a:pt x="6185" y="8016"/>
                  </a:lnTo>
                  <a:lnTo>
                    <a:pt x="6185" y="8016"/>
                  </a:lnTo>
                  <a:lnTo>
                    <a:pt x="6143" y="8047"/>
                  </a:lnTo>
                  <a:lnTo>
                    <a:pt x="6100" y="8077"/>
                  </a:lnTo>
                  <a:lnTo>
                    <a:pt x="6055" y="8106"/>
                  </a:lnTo>
                  <a:lnTo>
                    <a:pt x="6008" y="8135"/>
                  </a:lnTo>
                  <a:lnTo>
                    <a:pt x="5962" y="8163"/>
                  </a:lnTo>
                  <a:lnTo>
                    <a:pt x="5912" y="8192"/>
                  </a:lnTo>
                  <a:lnTo>
                    <a:pt x="5862" y="8219"/>
                  </a:lnTo>
                  <a:lnTo>
                    <a:pt x="5810" y="8246"/>
                  </a:lnTo>
                  <a:lnTo>
                    <a:pt x="5756" y="8272"/>
                  </a:lnTo>
                  <a:lnTo>
                    <a:pt x="5702" y="8298"/>
                  </a:lnTo>
                  <a:lnTo>
                    <a:pt x="5645" y="8323"/>
                  </a:lnTo>
                  <a:lnTo>
                    <a:pt x="5588" y="8348"/>
                  </a:lnTo>
                  <a:lnTo>
                    <a:pt x="5530" y="8372"/>
                  </a:lnTo>
                  <a:lnTo>
                    <a:pt x="5470" y="8396"/>
                  </a:lnTo>
                  <a:lnTo>
                    <a:pt x="5409" y="8419"/>
                  </a:lnTo>
                  <a:lnTo>
                    <a:pt x="5347" y="8442"/>
                  </a:lnTo>
                  <a:lnTo>
                    <a:pt x="5284" y="8463"/>
                  </a:lnTo>
                  <a:lnTo>
                    <a:pt x="5219" y="8484"/>
                  </a:lnTo>
                  <a:lnTo>
                    <a:pt x="5154" y="8505"/>
                  </a:lnTo>
                  <a:lnTo>
                    <a:pt x="5087" y="8525"/>
                  </a:lnTo>
                  <a:lnTo>
                    <a:pt x="5019" y="8545"/>
                  </a:lnTo>
                  <a:lnTo>
                    <a:pt x="4950" y="8564"/>
                  </a:lnTo>
                  <a:lnTo>
                    <a:pt x="4880" y="8581"/>
                  </a:lnTo>
                  <a:lnTo>
                    <a:pt x="4810" y="8599"/>
                  </a:lnTo>
                  <a:lnTo>
                    <a:pt x="4737" y="8616"/>
                  </a:lnTo>
                  <a:lnTo>
                    <a:pt x="4664" y="8632"/>
                  </a:lnTo>
                  <a:lnTo>
                    <a:pt x="4590" y="8647"/>
                  </a:lnTo>
                  <a:lnTo>
                    <a:pt x="4515" y="8663"/>
                  </a:lnTo>
                  <a:lnTo>
                    <a:pt x="4441" y="8676"/>
                  </a:lnTo>
                  <a:lnTo>
                    <a:pt x="4364" y="8690"/>
                  </a:lnTo>
                  <a:lnTo>
                    <a:pt x="4286" y="8702"/>
                  </a:lnTo>
                  <a:lnTo>
                    <a:pt x="4208" y="8714"/>
                  </a:lnTo>
                  <a:lnTo>
                    <a:pt x="4208" y="8714"/>
                  </a:lnTo>
                  <a:lnTo>
                    <a:pt x="4044" y="7047"/>
                  </a:lnTo>
                  <a:lnTo>
                    <a:pt x="4044" y="7047"/>
                  </a:lnTo>
                  <a:lnTo>
                    <a:pt x="4111" y="7037"/>
                  </a:lnTo>
                  <a:lnTo>
                    <a:pt x="4176" y="7027"/>
                  </a:lnTo>
                  <a:lnTo>
                    <a:pt x="4242" y="7015"/>
                  </a:lnTo>
                  <a:lnTo>
                    <a:pt x="4306" y="7004"/>
                  </a:lnTo>
                  <a:lnTo>
                    <a:pt x="4370" y="6991"/>
                  </a:lnTo>
                  <a:lnTo>
                    <a:pt x="4432" y="6978"/>
                  </a:lnTo>
                  <a:lnTo>
                    <a:pt x="4495" y="6964"/>
                  </a:lnTo>
                  <a:lnTo>
                    <a:pt x="4556" y="6951"/>
                  </a:lnTo>
                  <a:lnTo>
                    <a:pt x="4616" y="6935"/>
                  </a:lnTo>
                  <a:lnTo>
                    <a:pt x="4675" y="6920"/>
                  </a:lnTo>
                  <a:lnTo>
                    <a:pt x="4735" y="6904"/>
                  </a:lnTo>
                  <a:lnTo>
                    <a:pt x="4792" y="6887"/>
                  </a:lnTo>
                  <a:lnTo>
                    <a:pt x="4849" y="6870"/>
                  </a:lnTo>
                  <a:lnTo>
                    <a:pt x="4905" y="6853"/>
                  </a:lnTo>
                  <a:lnTo>
                    <a:pt x="4960" y="6835"/>
                  </a:lnTo>
                  <a:lnTo>
                    <a:pt x="5014" y="6816"/>
                  </a:lnTo>
                  <a:lnTo>
                    <a:pt x="5067" y="6797"/>
                  </a:lnTo>
                  <a:lnTo>
                    <a:pt x="5119" y="6778"/>
                  </a:lnTo>
                  <a:lnTo>
                    <a:pt x="5170" y="6758"/>
                  </a:lnTo>
                  <a:lnTo>
                    <a:pt x="5220" y="6737"/>
                  </a:lnTo>
                  <a:lnTo>
                    <a:pt x="5269" y="6716"/>
                  </a:lnTo>
                  <a:lnTo>
                    <a:pt x="5317" y="6694"/>
                  </a:lnTo>
                  <a:lnTo>
                    <a:pt x="5364" y="6672"/>
                  </a:lnTo>
                  <a:lnTo>
                    <a:pt x="5409" y="6651"/>
                  </a:lnTo>
                  <a:lnTo>
                    <a:pt x="5453" y="6628"/>
                  </a:lnTo>
                  <a:lnTo>
                    <a:pt x="5497" y="6605"/>
                  </a:lnTo>
                  <a:lnTo>
                    <a:pt x="5538" y="6581"/>
                  </a:lnTo>
                  <a:lnTo>
                    <a:pt x="5580" y="6557"/>
                  </a:lnTo>
                  <a:lnTo>
                    <a:pt x="5619" y="6533"/>
                  </a:lnTo>
                  <a:lnTo>
                    <a:pt x="5658" y="6508"/>
                  </a:lnTo>
                  <a:lnTo>
                    <a:pt x="5694" y="6482"/>
                  </a:lnTo>
                  <a:lnTo>
                    <a:pt x="5731" y="6457"/>
                  </a:lnTo>
                  <a:lnTo>
                    <a:pt x="5731" y="6457"/>
                  </a:lnTo>
                  <a:close/>
                  <a:moveTo>
                    <a:pt x="3856" y="0"/>
                  </a:moveTo>
                  <a:lnTo>
                    <a:pt x="3856" y="0"/>
                  </a:lnTo>
                  <a:lnTo>
                    <a:pt x="4049" y="666"/>
                  </a:lnTo>
                  <a:lnTo>
                    <a:pt x="4327" y="1629"/>
                  </a:lnTo>
                  <a:lnTo>
                    <a:pt x="4327" y="1629"/>
                  </a:lnTo>
                  <a:lnTo>
                    <a:pt x="4287" y="1647"/>
                  </a:lnTo>
                  <a:lnTo>
                    <a:pt x="4245" y="1665"/>
                  </a:lnTo>
                  <a:lnTo>
                    <a:pt x="4202" y="1683"/>
                  </a:lnTo>
                  <a:lnTo>
                    <a:pt x="4158" y="1698"/>
                  </a:lnTo>
                  <a:lnTo>
                    <a:pt x="4112" y="1715"/>
                  </a:lnTo>
                  <a:lnTo>
                    <a:pt x="4065" y="1729"/>
                  </a:lnTo>
                  <a:lnTo>
                    <a:pt x="4016" y="1744"/>
                  </a:lnTo>
                  <a:lnTo>
                    <a:pt x="3968" y="1758"/>
                  </a:lnTo>
                  <a:lnTo>
                    <a:pt x="3917" y="1771"/>
                  </a:lnTo>
                  <a:lnTo>
                    <a:pt x="3865" y="1784"/>
                  </a:lnTo>
                  <a:lnTo>
                    <a:pt x="3813" y="1795"/>
                  </a:lnTo>
                  <a:lnTo>
                    <a:pt x="3759" y="1805"/>
                  </a:lnTo>
                  <a:lnTo>
                    <a:pt x="3703" y="1816"/>
                  </a:lnTo>
                  <a:lnTo>
                    <a:pt x="3648" y="1825"/>
                  </a:lnTo>
                  <a:lnTo>
                    <a:pt x="3591" y="1834"/>
                  </a:lnTo>
                  <a:lnTo>
                    <a:pt x="3534" y="1841"/>
                  </a:lnTo>
                  <a:lnTo>
                    <a:pt x="3534" y="1841"/>
                  </a:lnTo>
                  <a:lnTo>
                    <a:pt x="3433" y="802"/>
                  </a:lnTo>
                  <a:lnTo>
                    <a:pt x="3369" y="141"/>
                  </a:lnTo>
                  <a:lnTo>
                    <a:pt x="3369" y="141"/>
                  </a:lnTo>
                  <a:lnTo>
                    <a:pt x="3405" y="136"/>
                  </a:lnTo>
                  <a:lnTo>
                    <a:pt x="3440" y="131"/>
                  </a:lnTo>
                  <a:lnTo>
                    <a:pt x="3475" y="125"/>
                  </a:lnTo>
                  <a:lnTo>
                    <a:pt x="3509" y="118"/>
                  </a:lnTo>
                  <a:lnTo>
                    <a:pt x="3542" y="110"/>
                  </a:lnTo>
                  <a:lnTo>
                    <a:pt x="3575" y="103"/>
                  </a:lnTo>
                  <a:lnTo>
                    <a:pt x="3607" y="95"/>
                  </a:lnTo>
                  <a:lnTo>
                    <a:pt x="3638" y="85"/>
                  </a:lnTo>
                  <a:lnTo>
                    <a:pt x="3668" y="77"/>
                  </a:lnTo>
                  <a:lnTo>
                    <a:pt x="3697" y="66"/>
                  </a:lnTo>
                  <a:lnTo>
                    <a:pt x="3726" y="57"/>
                  </a:lnTo>
                  <a:lnTo>
                    <a:pt x="3754" y="47"/>
                  </a:lnTo>
                  <a:lnTo>
                    <a:pt x="3781" y="35"/>
                  </a:lnTo>
                  <a:lnTo>
                    <a:pt x="3807" y="24"/>
                  </a:lnTo>
                  <a:lnTo>
                    <a:pt x="3832" y="12"/>
                  </a:lnTo>
                  <a:lnTo>
                    <a:pt x="3856" y="0"/>
                  </a:lnTo>
                  <a:lnTo>
                    <a:pt x="3856" y="0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6" name="Freeform 158"/>
            <p:cNvSpPr>
              <a:spLocks noEditPoints="1"/>
            </p:cNvSpPr>
            <p:nvPr/>
          </p:nvSpPr>
          <p:spPr bwMode="auto">
            <a:xfrm flipH="1">
              <a:off x="1373717" y="3509729"/>
              <a:ext cx="1906752" cy="1923267"/>
            </a:xfrm>
            <a:custGeom>
              <a:avLst/>
              <a:gdLst>
                <a:gd name="T0" fmla="*/ 5773 w 10347"/>
                <a:gd name="T1" fmla="*/ 11481 h 13420"/>
                <a:gd name="T2" fmla="*/ 4521 w 10347"/>
                <a:gd name="T3" fmla="*/ 11261 h 13420"/>
                <a:gd name="T4" fmla="*/ 3487 w 10347"/>
                <a:gd name="T5" fmla="*/ 10891 h 13420"/>
                <a:gd name="T6" fmla="*/ 2834 w 10347"/>
                <a:gd name="T7" fmla="*/ 10450 h 13420"/>
                <a:gd name="T8" fmla="*/ 2654 w 10347"/>
                <a:gd name="T9" fmla="*/ 10164 h 13420"/>
                <a:gd name="T10" fmla="*/ 2622 w 10347"/>
                <a:gd name="T11" fmla="*/ 9690 h 13420"/>
                <a:gd name="T12" fmla="*/ 94 w 10347"/>
                <a:gd name="T13" fmla="*/ 10046 h 13420"/>
                <a:gd name="T14" fmla="*/ 0 w 10347"/>
                <a:gd name="T15" fmla="*/ 10278 h 13420"/>
                <a:gd name="T16" fmla="*/ 82 w 10347"/>
                <a:gd name="T17" fmla="*/ 10472 h 13420"/>
                <a:gd name="T18" fmla="*/ 6120 w 10347"/>
                <a:gd name="T19" fmla="*/ 13335 h 13420"/>
                <a:gd name="T20" fmla="*/ 6724 w 10347"/>
                <a:gd name="T21" fmla="*/ 13420 h 13420"/>
                <a:gd name="T22" fmla="*/ 3420 w 10347"/>
                <a:gd name="T23" fmla="*/ 8889 h 13420"/>
                <a:gd name="T24" fmla="*/ 3175 w 10347"/>
                <a:gd name="T25" fmla="*/ 8565 h 13420"/>
                <a:gd name="T26" fmla="*/ 3616 w 10347"/>
                <a:gd name="T27" fmla="*/ 6844 h 13420"/>
                <a:gd name="T28" fmla="*/ 3732 w 10347"/>
                <a:gd name="T29" fmla="*/ 7158 h 13420"/>
                <a:gd name="T30" fmla="*/ 4009 w 10347"/>
                <a:gd name="T31" fmla="*/ 7444 h 13420"/>
                <a:gd name="T32" fmla="*/ 4323 w 10347"/>
                <a:gd name="T33" fmla="*/ 9414 h 13420"/>
                <a:gd name="T34" fmla="*/ 5293 w 10347"/>
                <a:gd name="T35" fmla="*/ 9679 h 13420"/>
                <a:gd name="T36" fmla="*/ 6442 w 10347"/>
                <a:gd name="T37" fmla="*/ 9801 h 13420"/>
                <a:gd name="T38" fmla="*/ 7394 w 10347"/>
                <a:gd name="T39" fmla="*/ 9779 h 13420"/>
                <a:gd name="T40" fmla="*/ 7362 w 10347"/>
                <a:gd name="T41" fmla="*/ 8100 h 13420"/>
                <a:gd name="T42" fmla="*/ 6175 w 10347"/>
                <a:gd name="T43" fmla="*/ 8108 h 13420"/>
                <a:gd name="T44" fmla="*/ 5246 w 10347"/>
                <a:gd name="T45" fmla="*/ 7968 h 13420"/>
                <a:gd name="T46" fmla="*/ 4530 w 10347"/>
                <a:gd name="T47" fmla="*/ 7739 h 13420"/>
                <a:gd name="T48" fmla="*/ 9784 w 10347"/>
                <a:gd name="T49" fmla="*/ 7036 h 13420"/>
                <a:gd name="T50" fmla="*/ 9498 w 10347"/>
                <a:gd name="T51" fmla="*/ 7397 h 13420"/>
                <a:gd name="T52" fmla="*/ 10120 w 10347"/>
                <a:gd name="T53" fmla="*/ 8794 h 13420"/>
                <a:gd name="T54" fmla="*/ 10304 w 10347"/>
                <a:gd name="T55" fmla="*/ 8495 h 13420"/>
                <a:gd name="T56" fmla="*/ 6902 w 10347"/>
                <a:gd name="T57" fmla="*/ 4676 h 13420"/>
                <a:gd name="T58" fmla="*/ 7152 w 10347"/>
                <a:gd name="T59" fmla="*/ 6334 h 13420"/>
                <a:gd name="T60" fmla="*/ 6229 w 10347"/>
                <a:gd name="T61" fmla="*/ 6328 h 13420"/>
                <a:gd name="T62" fmla="*/ 5487 w 10347"/>
                <a:gd name="T63" fmla="*/ 6212 h 13420"/>
                <a:gd name="T64" fmla="*/ 5068 w 10347"/>
                <a:gd name="T65" fmla="*/ 5600 h 13420"/>
                <a:gd name="T66" fmla="*/ 5144 w 10347"/>
                <a:gd name="T67" fmla="*/ 5148 h 13420"/>
                <a:gd name="T68" fmla="*/ 5031 w 10347"/>
                <a:gd name="T69" fmla="*/ 5145 h 13420"/>
                <a:gd name="T70" fmla="*/ 4725 w 10347"/>
                <a:gd name="T71" fmla="*/ 5939 h 13420"/>
                <a:gd name="T72" fmla="*/ 4317 w 10347"/>
                <a:gd name="T73" fmla="*/ 5637 h 13420"/>
                <a:gd name="T74" fmla="*/ 4162 w 10347"/>
                <a:gd name="T75" fmla="*/ 5371 h 13420"/>
                <a:gd name="T76" fmla="*/ 4743 w 10347"/>
                <a:gd name="T77" fmla="*/ 4060 h 13420"/>
                <a:gd name="T78" fmla="*/ 5012 w 10347"/>
                <a:gd name="T79" fmla="*/ 4292 h 13420"/>
                <a:gd name="T80" fmla="*/ 5808 w 10347"/>
                <a:gd name="T81" fmla="*/ 4587 h 13420"/>
                <a:gd name="T82" fmla="*/ 9305 w 10347"/>
                <a:gd name="T83" fmla="*/ 5363 h 13420"/>
                <a:gd name="T84" fmla="*/ 8613 w 10347"/>
                <a:gd name="T85" fmla="*/ 4174 h 13420"/>
                <a:gd name="T86" fmla="*/ 9097 w 10347"/>
                <a:gd name="T87" fmla="*/ 5690 h 13420"/>
                <a:gd name="T88" fmla="*/ 7707 w 10347"/>
                <a:gd name="T89" fmla="*/ 883 h 13420"/>
                <a:gd name="T90" fmla="*/ 8006 w 10347"/>
                <a:gd name="T91" fmla="*/ 2639 h 13420"/>
                <a:gd name="T92" fmla="*/ 5171 w 10347"/>
                <a:gd name="T93" fmla="*/ 2455 h 13420"/>
                <a:gd name="T94" fmla="*/ 5605 w 10347"/>
                <a:gd name="T95" fmla="*/ 2700 h 13420"/>
                <a:gd name="T96" fmla="*/ 6296 w 10347"/>
                <a:gd name="T97" fmla="*/ 2856 h 13420"/>
                <a:gd name="T98" fmla="*/ 7037 w 10347"/>
                <a:gd name="T99" fmla="*/ 2869 h 13420"/>
                <a:gd name="T100" fmla="*/ 6814 w 10347"/>
                <a:gd name="T101" fmla="*/ 1171 h 13420"/>
                <a:gd name="T102" fmla="*/ 6323 w 10347"/>
                <a:gd name="T103" fmla="*/ 1137 h 13420"/>
                <a:gd name="T104" fmla="*/ 5910 w 10347"/>
                <a:gd name="T105" fmla="*/ 999 h 13420"/>
                <a:gd name="T106" fmla="*/ 5171 w 10347"/>
                <a:gd name="T107" fmla="*/ 2455 h 13420"/>
                <a:gd name="T108" fmla="*/ 6245 w 10347"/>
                <a:gd name="T109" fmla="*/ 372 h 13420"/>
                <a:gd name="T110" fmla="*/ 6510 w 10347"/>
                <a:gd name="T111" fmla="*/ 470 h 13420"/>
                <a:gd name="T112" fmla="*/ 6928 w 10347"/>
                <a:gd name="T113" fmla="*/ 475 h 13420"/>
                <a:gd name="T114" fmla="*/ 7205 w 10347"/>
                <a:gd name="T115" fmla="*/ 381 h 13420"/>
                <a:gd name="T116" fmla="*/ 7302 w 10347"/>
                <a:gd name="T117" fmla="*/ 245 h 13420"/>
                <a:gd name="T118" fmla="*/ 7189 w 10347"/>
                <a:gd name="T119" fmla="*/ 98 h 13420"/>
                <a:gd name="T120" fmla="*/ 6847 w 10347"/>
                <a:gd name="T121" fmla="*/ 4 h 13420"/>
                <a:gd name="T122" fmla="*/ 6460 w 10347"/>
                <a:gd name="T123" fmla="*/ 29 h 13420"/>
                <a:gd name="T124" fmla="*/ 6218 w 10347"/>
                <a:gd name="T125" fmla="*/ 139 h 13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347" h="13420">
                  <a:moveTo>
                    <a:pt x="6724" y="13420"/>
                  </a:moveTo>
                  <a:lnTo>
                    <a:pt x="6724" y="11544"/>
                  </a:lnTo>
                  <a:lnTo>
                    <a:pt x="6724" y="11544"/>
                  </a:lnTo>
                  <a:lnTo>
                    <a:pt x="6692" y="11544"/>
                  </a:lnTo>
                  <a:lnTo>
                    <a:pt x="6601" y="11542"/>
                  </a:lnTo>
                  <a:lnTo>
                    <a:pt x="6535" y="11539"/>
                  </a:lnTo>
                  <a:lnTo>
                    <a:pt x="6457" y="11536"/>
                  </a:lnTo>
                  <a:lnTo>
                    <a:pt x="6367" y="11531"/>
                  </a:lnTo>
                  <a:lnTo>
                    <a:pt x="6266" y="11525"/>
                  </a:lnTo>
                  <a:lnTo>
                    <a:pt x="6156" y="11517"/>
                  </a:lnTo>
                  <a:lnTo>
                    <a:pt x="6036" y="11507"/>
                  </a:lnTo>
                  <a:lnTo>
                    <a:pt x="5908" y="11496"/>
                  </a:lnTo>
                  <a:lnTo>
                    <a:pt x="5773" y="11481"/>
                  </a:lnTo>
                  <a:lnTo>
                    <a:pt x="5631" y="11465"/>
                  </a:lnTo>
                  <a:lnTo>
                    <a:pt x="5483" y="11446"/>
                  </a:lnTo>
                  <a:lnTo>
                    <a:pt x="5330" y="11424"/>
                  </a:lnTo>
                  <a:lnTo>
                    <a:pt x="5252" y="11412"/>
                  </a:lnTo>
                  <a:lnTo>
                    <a:pt x="5173" y="11398"/>
                  </a:lnTo>
                  <a:lnTo>
                    <a:pt x="5094" y="11384"/>
                  </a:lnTo>
                  <a:lnTo>
                    <a:pt x="5013" y="11370"/>
                  </a:lnTo>
                  <a:lnTo>
                    <a:pt x="4932" y="11354"/>
                  </a:lnTo>
                  <a:lnTo>
                    <a:pt x="4851" y="11338"/>
                  </a:lnTo>
                  <a:lnTo>
                    <a:pt x="4769" y="11320"/>
                  </a:lnTo>
                  <a:lnTo>
                    <a:pt x="4687" y="11301"/>
                  </a:lnTo>
                  <a:lnTo>
                    <a:pt x="4605" y="11281"/>
                  </a:lnTo>
                  <a:lnTo>
                    <a:pt x="4521" y="11261"/>
                  </a:lnTo>
                  <a:lnTo>
                    <a:pt x="4439" y="11240"/>
                  </a:lnTo>
                  <a:lnTo>
                    <a:pt x="4357" y="11217"/>
                  </a:lnTo>
                  <a:lnTo>
                    <a:pt x="4275" y="11194"/>
                  </a:lnTo>
                  <a:lnTo>
                    <a:pt x="4193" y="11169"/>
                  </a:lnTo>
                  <a:lnTo>
                    <a:pt x="4112" y="11143"/>
                  </a:lnTo>
                  <a:lnTo>
                    <a:pt x="4031" y="11116"/>
                  </a:lnTo>
                  <a:lnTo>
                    <a:pt x="3950" y="11087"/>
                  </a:lnTo>
                  <a:lnTo>
                    <a:pt x="3871" y="11057"/>
                  </a:lnTo>
                  <a:lnTo>
                    <a:pt x="3792" y="11027"/>
                  </a:lnTo>
                  <a:lnTo>
                    <a:pt x="3714" y="10995"/>
                  </a:lnTo>
                  <a:lnTo>
                    <a:pt x="3637" y="10961"/>
                  </a:lnTo>
                  <a:lnTo>
                    <a:pt x="3562" y="10927"/>
                  </a:lnTo>
                  <a:lnTo>
                    <a:pt x="3487" y="10891"/>
                  </a:lnTo>
                  <a:lnTo>
                    <a:pt x="3414" y="10853"/>
                  </a:lnTo>
                  <a:lnTo>
                    <a:pt x="3342" y="10814"/>
                  </a:lnTo>
                  <a:lnTo>
                    <a:pt x="3273" y="10774"/>
                  </a:lnTo>
                  <a:lnTo>
                    <a:pt x="3204" y="10732"/>
                  </a:lnTo>
                  <a:lnTo>
                    <a:pt x="3138" y="10689"/>
                  </a:lnTo>
                  <a:lnTo>
                    <a:pt x="3072" y="10645"/>
                  </a:lnTo>
                  <a:lnTo>
                    <a:pt x="3010" y="10598"/>
                  </a:lnTo>
                  <a:lnTo>
                    <a:pt x="2980" y="10575"/>
                  </a:lnTo>
                  <a:lnTo>
                    <a:pt x="2949" y="10550"/>
                  </a:lnTo>
                  <a:lnTo>
                    <a:pt x="2919" y="10526"/>
                  </a:lnTo>
                  <a:lnTo>
                    <a:pt x="2890" y="10501"/>
                  </a:lnTo>
                  <a:lnTo>
                    <a:pt x="2862" y="10476"/>
                  </a:lnTo>
                  <a:lnTo>
                    <a:pt x="2834" y="10450"/>
                  </a:lnTo>
                  <a:lnTo>
                    <a:pt x="2807" y="10424"/>
                  </a:lnTo>
                  <a:lnTo>
                    <a:pt x="2780" y="10398"/>
                  </a:lnTo>
                  <a:lnTo>
                    <a:pt x="2780" y="10398"/>
                  </a:lnTo>
                  <a:lnTo>
                    <a:pt x="2767" y="10382"/>
                  </a:lnTo>
                  <a:lnTo>
                    <a:pt x="2754" y="10362"/>
                  </a:lnTo>
                  <a:lnTo>
                    <a:pt x="2736" y="10336"/>
                  </a:lnTo>
                  <a:lnTo>
                    <a:pt x="2717" y="10303"/>
                  </a:lnTo>
                  <a:lnTo>
                    <a:pt x="2706" y="10284"/>
                  </a:lnTo>
                  <a:lnTo>
                    <a:pt x="2696" y="10263"/>
                  </a:lnTo>
                  <a:lnTo>
                    <a:pt x="2685" y="10241"/>
                  </a:lnTo>
                  <a:lnTo>
                    <a:pt x="2675" y="10217"/>
                  </a:lnTo>
                  <a:lnTo>
                    <a:pt x="2665" y="10191"/>
                  </a:lnTo>
                  <a:lnTo>
                    <a:pt x="2654" y="10164"/>
                  </a:lnTo>
                  <a:lnTo>
                    <a:pt x="2645" y="10136"/>
                  </a:lnTo>
                  <a:lnTo>
                    <a:pt x="2635" y="10106"/>
                  </a:lnTo>
                  <a:lnTo>
                    <a:pt x="2628" y="10075"/>
                  </a:lnTo>
                  <a:lnTo>
                    <a:pt x="2621" y="10042"/>
                  </a:lnTo>
                  <a:lnTo>
                    <a:pt x="2615" y="10008"/>
                  </a:lnTo>
                  <a:lnTo>
                    <a:pt x="2609" y="9973"/>
                  </a:lnTo>
                  <a:lnTo>
                    <a:pt x="2606" y="9936"/>
                  </a:lnTo>
                  <a:lnTo>
                    <a:pt x="2604" y="9898"/>
                  </a:lnTo>
                  <a:lnTo>
                    <a:pt x="2604" y="9859"/>
                  </a:lnTo>
                  <a:lnTo>
                    <a:pt x="2605" y="9818"/>
                  </a:lnTo>
                  <a:lnTo>
                    <a:pt x="2609" y="9777"/>
                  </a:lnTo>
                  <a:lnTo>
                    <a:pt x="2615" y="9734"/>
                  </a:lnTo>
                  <a:lnTo>
                    <a:pt x="2622" y="9690"/>
                  </a:lnTo>
                  <a:lnTo>
                    <a:pt x="2632" y="9645"/>
                  </a:lnTo>
                  <a:lnTo>
                    <a:pt x="2645" y="9600"/>
                  </a:lnTo>
                  <a:lnTo>
                    <a:pt x="2660" y="9553"/>
                  </a:lnTo>
                  <a:lnTo>
                    <a:pt x="2660" y="9553"/>
                  </a:lnTo>
                  <a:lnTo>
                    <a:pt x="2786" y="9193"/>
                  </a:lnTo>
                  <a:lnTo>
                    <a:pt x="2892" y="8893"/>
                  </a:lnTo>
                  <a:lnTo>
                    <a:pt x="2991" y="8612"/>
                  </a:lnTo>
                  <a:lnTo>
                    <a:pt x="142" y="9994"/>
                  </a:lnTo>
                  <a:lnTo>
                    <a:pt x="142" y="9994"/>
                  </a:lnTo>
                  <a:lnTo>
                    <a:pt x="135" y="10001"/>
                  </a:lnTo>
                  <a:lnTo>
                    <a:pt x="118" y="10017"/>
                  </a:lnTo>
                  <a:lnTo>
                    <a:pt x="106" y="10030"/>
                  </a:lnTo>
                  <a:lnTo>
                    <a:pt x="94" y="10046"/>
                  </a:lnTo>
                  <a:lnTo>
                    <a:pt x="80" y="10062"/>
                  </a:lnTo>
                  <a:lnTo>
                    <a:pt x="65" y="10082"/>
                  </a:lnTo>
                  <a:lnTo>
                    <a:pt x="52" y="10103"/>
                  </a:lnTo>
                  <a:lnTo>
                    <a:pt x="38" y="10126"/>
                  </a:lnTo>
                  <a:lnTo>
                    <a:pt x="26" y="10151"/>
                  </a:lnTo>
                  <a:lnTo>
                    <a:pt x="17" y="10177"/>
                  </a:lnTo>
                  <a:lnTo>
                    <a:pt x="11" y="10190"/>
                  </a:lnTo>
                  <a:lnTo>
                    <a:pt x="8" y="10204"/>
                  </a:lnTo>
                  <a:lnTo>
                    <a:pt x="5" y="10218"/>
                  </a:lnTo>
                  <a:lnTo>
                    <a:pt x="2" y="10233"/>
                  </a:lnTo>
                  <a:lnTo>
                    <a:pt x="1" y="10248"/>
                  </a:lnTo>
                  <a:lnTo>
                    <a:pt x="0" y="10262"/>
                  </a:lnTo>
                  <a:lnTo>
                    <a:pt x="0" y="10278"/>
                  </a:lnTo>
                  <a:lnTo>
                    <a:pt x="1" y="10292"/>
                  </a:lnTo>
                  <a:lnTo>
                    <a:pt x="1" y="10292"/>
                  </a:lnTo>
                  <a:lnTo>
                    <a:pt x="3" y="10308"/>
                  </a:lnTo>
                  <a:lnTo>
                    <a:pt x="5" y="10323"/>
                  </a:lnTo>
                  <a:lnTo>
                    <a:pt x="8" y="10337"/>
                  </a:lnTo>
                  <a:lnTo>
                    <a:pt x="12" y="10351"/>
                  </a:lnTo>
                  <a:lnTo>
                    <a:pt x="17" y="10363"/>
                  </a:lnTo>
                  <a:lnTo>
                    <a:pt x="21" y="10376"/>
                  </a:lnTo>
                  <a:lnTo>
                    <a:pt x="31" y="10399"/>
                  </a:lnTo>
                  <a:lnTo>
                    <a:pt x="43" y="10421"/>
                  </a:lnTo>
                  <a:lnTo>
                    <a:pt x="56" y="10439"/>
                  </a:lnTo>
                  <a:lnTo>
                    <a:pt x="69" y="10457"/>
                  </a:lnTo>
                  <a:lnTo>
                    <a:pt x="82" y="10472"/>
                  </a:lnTo>
                  <a:lnTo>
                    <a:pt x="96" y="10485"/>
                  </a:lnTo>
                  <a:lnTo>
                    <a:pt x="108" y="10497"/>
                  </a:lnTo>
                  <a:lnTo>
                    <a:pt x="120" y="10506"/>
                  </a:lnTo>
                  <a:lnTo>
                    <a:pt x="130" y="10513"/>
                  </a:lnTo>
                  <a:lnTo>
                    <a:pt x="146" y="10524"/>
                  </a:lnTo>
                  <a:lnTo>
                    <a:pt x="152" y="10527"/>
                  </a:lnTo>
                  <a:lnTo>
                    <a:pt x="5962" y="13279"/>
                  </a:lnTo>
                  <a:lnTo>
                    <a:pt x="5962" y="13279"/>
                  </a:lnTo>
                  <a:lnTo>
                    <a:pt x="5976" y="13285"/>
                  </a:lnTo>
                  <a:lnTo>
                    <a:pt x="6015" y="13301"/>
                  </a:lnTo>
                  <a:lnTo>
                    <a:pt x="6044" y="13311"/>
                  </a:lnTo>
                  <a:lnTo>
                    <a:pt x="6080" y="13322"/>
                  </a:lnTo>
                  <a:lnTo>
                    <a:pt x="6120" y="13335"/>
                  </a:lnTo>
                  <a:lnTo>
                    <a:pt x="6167" y="13347"/>
                  </a:lnTo>
                  <a:lnTo>
                    <a:pt x="6219" y="13361"/>
                  </a:lnTo>
                  <a:lnTo>
                    <a:pt x="6276" y="13373"/>
                  </a:lnTo>
                  <a:lnTo>
                    <a:pt x="6340" y="13385"/>
                  </a:lnTo>
                  <a:lnTo>
                    <a:pt x="6407" y="13396"/>
                  </a:lnTo>
                  <a:lnTo>
                    <a:pt x="6479" y="13406"/>
                  </a:lnTo>
                  <a:lnTo>
                    <a:pt x="6517" y="13409"/>
                  </a:lnTo>
                  <a:lnTo>
                    <a:pt x="6557" y="13413"/>
                  </a:lnTo>
                  <a:lnTo>
                    <a:pt x="6596" y="13415"/>
                  </a:lnTo>
                  <a:lnTo>
                    <a:pt x="6638" y="13418"/>
                  </a:lnTo>
                  <a:lnTo>
                    <a:pt x="6681" y="13419"/>
                  </a:lnTo>
                  <a:lnTo>
                    <a:pt x="6724" y="13420"/>
                  </a:lnTo>
                  <a:lnTo>
                    <a:pt x="6724" y="13420"/>
                  </a:lnTo>
                  <a:close/>
                  <a:moveTo>
                    <a:pt x="4186" y="7564"/>
                  </a:moveTo>
                  <a:lnTo>
                    <a:pt x="4186" y="7564"/>
                  </a:lnTo>
                  <a:lnTo>
                    <a:pt x="3679" y="9093"/>
                  </a:lnTo>
                  <a:lnTo>
                    <a:pt x="3679" y="9093"/>
                  </a:lnTo>
                  <a:lnTo>
                    <a:pt x="3647" y="9071"/>
                  </a:lnTo>
                  <a:lnTo>
                    <a:pt x="3616" y="9049"/>
                  </a:lnTo>
                  <a:lnTo>
                    <a:pt x="3586" y="9026"/>
                  </a:lnTo>
                  <a:lnTo>
                    <a:pt x="3556" y="9005"/>
                  </a:lnTo>
                  <a:lnTo>
                    <a:pt x="3526" y="8982"/>
                  </a:lnTo>
                  <a:lnTo>
                    <a:pt x="3498" y="8959"/>
                  </a:lnTo>
                  <a:lnTo>
                    <a:pt x="3471" y="8936"/>
                  </a:lnTo>
                  <a:lnTo>
                    <a:pt x="3445" y="8913"/>
                  </a:lnTo>
                  <a:lnTo>
                    <a:pt x="3420" y="8889"/>
                  </a:lnTo>
                  <a:lnTo>
                    <a:pt x="3395" y="8865"/>
                  </a:lnTo>
                  <a:lnTo>
                    <a:pt x="3373" y="8841"/>
                  </a:lnTo>
                  <a:lnTo>
                    <a:pt x="3350" y="8817"/>
                  </a:lnTo>
                  <a:lnTo>
                    <a:pt x="3328" y="8793"/>
                  </a:lnTo>
                  <a:lnTo>
                    <a:pt x="3307" y="8768"/>
                  </a:lnTo>
                  <a:lnTo>
                    <a:pt x="3287" y="8743"/>
                  </a:lnTo>
                  <a:lnTo>
                    <a:pt x="3269" y="8718"/>
                  </a:lnTo>
                  <a:lnTo>
                    <a:pt x="3250" y="8693"/>
                  </a:lnTo>
                  <a:lnTo>
                    <a:pt x="3233" y="8668"/>
                  </a:lnTo>
                  <a:lnTo>
                    <a:pt x="3218" y="8642"/>
                  </a:lnTo>
                  <a:lnTo>
                    <a:pt x="3202" y="8617"/>
                  </a:lnTo>
                  <a:lnTo>
                    <a:pt x="3189" y="8591"/>
                  </a:lnTo>
                  <a:lnTo>
                    <a:pt x="3175" y="8565"/>
                  </a:lnTo>
                  <a:lnTo>
                    <a:pt x="3163" y="8539"/>
                  </a:lnTo>
                  <a:lnTo>
                    <a:pt x="3152" y="8513"/>
                  </a:lnTo>
                  <a:lnTo>
                    <a:pt x="3142" y="8486"/>
                  </a:lnTo>
                  <a:lnTo>
                    <a:pt x="3133" y="8460"/>
                  </a:lnTo>
                  <a:lnTo>
                    <a:pt x="3125" y="8433"/>
                  </a:lnTo>
                  <a:lnTo>
                    <a:pt x="3118" y="8405"/>
                  </a:lnTo>
                  <a:lnTo>
                    <a:pt x="3113" y="8379"/>
                  </a:lnTo>
                  <a:lnTo>
                    <a:pt x="3107" y="8352"/>
                  </a:lnTo>
                  <a:lnTo>
                    <a:pt x="3104" y="8324"/>
                  </a:lnTo>
                  <a:lnTo>
                    <a:pt x="3101" y="8297"/>
                  </a:lnTo>
                  <a:lnTo>
                    <a:pt x="3101" y="8297"/>
                  </a:lnTo>
                  <a:lnTo>
                    <a:pt x="3616" y="6844"/>
                  </a:lnTo>
                  <a:lnTo>
                    <a:pt x="3616" y="6844"/>
                  </a:lnTo>
                  <a:lnTo>
                    <a:pt x="3618" y="6869"/>
                  </a:lnTo>
                  <a:lnTo>
                    <a:pt x="3622" y="6894"/>
                  </a:lnTo>
                  <a:lnTo>
                    <a:pt x="3627" y="6919"/>
                  </a:lnTo>
                  <a:lnTo>
                    <a:pt x="3634" y="6943"/>
                  </a:lnTo>
                  <a:lnTo>
                    <a:pt x="3640" y="6968"/>
                  </a:lnTo>
                  <a:lnTo>
                    <a:pt x="3648" y="6992"/>
                  </a:lnTo>
                  <a:lnTo>
                    <a:pt x="3657" y="7017"/>
                  </a:lnTo>
                  <a:lnTo>
                    <a:pt x="3667" y="7041"/>
                  </a:lnTo>
                  <a:lnTo>
                    <a:pt x="3678" y="7065"/>
                  </a:lnTo>
                  <a:lnTo>
                    <a:pt x="3691" y="7088"/>
                  </a:lnTo>
                  <a:lnTo>
                    <a:pt x="3703" y="7111"/>
                  </a:lnTo>
                  <a:lnTo>
                    <a:pt x="3718" y="7135"/>
                  </a:lnTo>
                  <a:lnTo>
                    <a:pt x="3732" y="7158"/>
                  </a:lnTo>
                  <a:lnTo>
                    <a:pt x="3748" y="7181"/>
                  </a:lnTo>
                  <a:lnTo>
                    <a:pt x="3764" y="7204"/>
                  </a:lnTo>
                  <a:lnTo>
                    <a:pt x="3782" y="7227"/>
                  </a:lnTo>
                  <a:lnTo>
                    <a:pt x="3801" y="7250"/>
                  </a:lnTo>
                  <a:lnTo>
                    <a:pt x="3821" y="7272"/>
                  </a:lnTo>
                  <a:lnTo>
                    <a:pt x="3841" y="7295"/>
                  </a:lnTo>
                  <a:lnTo>
                    <a:pt x="3862" y="7317"/>
                  </a:lnTo>
                  <a:lnTo>
                    <a:pt x="3885" y="7339"/>
                  </a:lnTo>
                  <a:lnTo>
                    <a:pt x="3908" y="7360"/>
                  </a:lnTo>
                  <a:lnTo>
                    <a:pt x="3932" y="7381"/>
                  </a:lnTo>
                  <a:lnTo>
                    <a:pt x="3957" y="7402"/>
                  </a:lnTo>
                  <a:lnTo>
                    <a:pt x="3983" y="7424"/>
                  </a:lnTo>
                  <a:lnTo>
                    <a:pt x="4009" y="7444"/>
                  </a:lnTo>
                  <a:lnTo>
                    <a:pt x="4037" y="7465"/>
                  </a:lnTo>
                  <a:lnTo>
                    <a:pt x="4065" y="7485"/>
                  </a:lnTo>
                  <a:lnTo>
                    <a:pt x="4094" y="7505"/>
                  </a:lnTo>
                  <a:lnTo>
                    <a:pt x="4123" y="7525"/>
                  </a:lnTo>
                  <a:lnTo>
                    <a:pt x="4186" y="7564"/>
                  </a:lnTo>
                  <a:lnTo>
                    <a:pt x="4186" y="7564"/>
                  </a:lnTo>
                  <a:close/>
                  <a:moveTo>
                    <a:pt x="4530" y="7739"/>
                  </a:moveTo>
                  <a:lnTo>
                    <a:pt x="4530" y="7739"/>
                  </a:lnTo>
                  <a:lnTo>
                    <a:pt x="4130" y="9336"/>
                  </a:lnTo>
                  <a:lnTo>
                    <a:pt x="4130" y="9336"/>
                  </a:lnTo>
                  <a:lnTo>
                    <a:pt x="4193" y="9362"/>
                  </a:lnTo>
                  <a:lnTo>
                    <a:pt x="4257" y="9389"/>
                  </a:lnTo>
                  <a:lnTo>
                    <a:pt x="4323" y="9414"/>
                  </a:lnTo>
                  <a:lnTo>
                    <a:pt x="4389" y="9439"/>
                  </a:lnTo>
                  <a:lnTo>
                    <a:pt x="4458" y="9463"/>
                  </a:lnTo>
                  <a:lnTo>
                    <a:pt x="4528" y="9487"/>
                  </a:lnTo>
                  <a:lnTo>
                    <a:pt x="4598" y="9509"/>
                  </a:lnTo>
                  <a:lnTo>
                    <a:pt x="4671" y="9532"/>
                  </a:lnTo>
                  <a:lnTo>
                    <a:pt x="4744" y="9553"/>
                  </a:lnTo>
                  <a:lnTo>
                    <a:pt x="4819" y="9574"/>
                  </a:lnTo>
                  <a:lnTo>
                    <a:pt x="4896" y="9592"/>
                  </a:lnTo>
                  <a:lnTo>
                    <a:pt x="4973" y="9612"/>
                  </a:lnTo>
                  <a:lnTo>
                    <a:pt x="5051" y="9630"/>
                  </a:lnTo>
                  <a:lnTo>
                    <a:pt x="5131" y="9647"/>
                  </a:lnTo>
                  <a:lnTo>
                    <a:pt x="5212" y="9663"/>
                  </a:lnTo>
                  <a:lnTo>
                    <a:pt x="5293" y="9679"/>
                  </a:lnTo>
                  <a:lnTo>
                    <a:pt x="5376" y="9694"/>
                  </a:lnTo>
                  <a:lnTo>
                    <a:pt x="5460" y="9708"/>
                  </a:lnTo>
                  <a:lnTo>
                    <a:pt x="5544" y="9721"/>
                  </a:lnTo>
                  <a:lnTo>
                    <a:pt x="5631" y="9733"/>
                  </a:lnTo>
                  <a:lnTo>
                    <a:pt x="5717" y="9744"/>
                  </a:lnTo>
                  <a:lnTo>
                    <a:pt x="5805" y="9755"/>
                  </a:lnTo>
                  <a:lnTo>
                    <a:pt x="5894" y="9764"/>
                  </a:lnTo>
                  <a:lnTo>
                    <a:pt x="5983" y="9773"/>
                  </a:lnTo>
                  <a:lnTo>
                    <a:pt x="6072" y="9781"/>
                  </a:lnTo>
                  <a:lnTo>
                    <a:pt x="6164" y="9787"/>
                  </a:lnTo>
                  <a:lnTo>
                    <a:pt x="6255" y="9792"/>
                  </a:lnTo>
                  <a:lnTo>
                    <a:pt x="6348" y="9798"/>
                  </a:lnTo>
                  <a:lnTo>
                    <a:pt x="6442" y="9801"/>
                  </a:lnTo>
                  <a:lnTo>
                    <a:pt x="6535" y="9804"/>
                  </a:lnTo>
                  <a:lnTo>
                    <a:pt x="6630" y="9805"/>
                  </a:lnTo>
                  <a:lnTo>
                    <a:pt x="6724" y="9806"/>
                  </a:lnTo>
                  <a:lnTo>
                    <a:pt x="6724" y="9806"/>
                  </a:lnTo>
                  <a:lnTo>
                    <a:pt x="6800" y="9805"/>
                  </a:lnTo>
                  <a:lnTo>
                    <a:pt x="6876" y="9804"/>
                  </a:lnTo>
                  <a:lnTo>
                    <a:pt x="6951" y="9803"/>
                  </a:lnTo>
                  <a:lnTo>
                    <a:pt x="7026" y="9800"/>
                  </a:lnTo>
                  <a:lnTo>
                    <a:pt x="7101" y="9798"/>
                  </a:lnTo>
                  <a:lnTo>
                    <a:pt x="7175" y="9793"/>
                  </a:lnTo>
                  <a:lnTo>
                    <a:pt x="7248" y="9789"/>
                  </a:lnTo>
                  <a:lnTo>
                    <a:pt x="7321" y="9784"/>
                  </a:lnTo>
                  <a:lnTo>
                    <a:pt x="7394" y="9779"/>
                  </a:lnTo>
                  <a:lnTo>
                    <a:pt x="7466" y="9773"/>
                  </a:lnTo>
                  <a:lnTo>
                    <a:pt x="7537" y="9766"/>
                  </a:lnTo>
                  <a:lnTo>
                    <a:pt x="7608" y="9759"/>
                  </a:lnTo>
                  <a:lnTo>
                    <a:pt x="7679" y="9751"/>
                  </a:lnTo>
                  <a:lnTo>
                    <a:pt x="7748" y="9742"/>
                  </a:lnTo>
                  <a:lnTo>
                    <a:pt x="7818" y="9733"/>
                  </a:lnTo>
                  <a:lnTo>
                    <a:pt x="7887" y="9724"/>
                  </a:lnTo>
                  <a:lnTo>
                    <a:pt x="7887" y="9724"/>
                  </a:lnTo>
                  <a:lnTo>
                    <a:pt x="7723" y="8057"/>
                  </a:lnTo>
                  <a:lnTo>
                    <a:pt x="7723" y="8057"/>
                  </a:lnTo>
                  <a:lnTo>
                    <a:pt x="7605" y="8074"/>
                  </a:lnTo>
                  <a:lnTo>
                    <a:pt x="7484" y="8088"/>
                  </a:lnTo>
                  <a:lnTo>
                    <a:pt x="7362" y="8100"/>
                  </a:lnTo>
                  <a:lnTo>
                    <a:pt x="7237" y="8110"/>
                  </a:lnTo>
                  <a:lnTo>
                    <a:pt x="7111" y="8118"/>
                  </a:lnTo>
                  <a:lnTo>
                    <a:pt x="6984" y="8123"/>
                  </a:lnTo>
                  <a:lnTo>
                    <a:pt x="6854" y="8127"/>
                  </a:lnTo>
                  <a:lnTo>
                    <a:pt x="6724" y="8128"/>
                  </a:lnTo>
                  <a:lnTo>
                    <a:pt x="6724" y="8128"/>
                  </a:lnTo>
                  <a:lnTo>
                    <a:pt x="6644" y="8127"/>
                  </a:lnTo>
                  <a:lnTo>
                    <a:pt x="6565" y="8126"/>
                  </a:lnTo>
                  <a:lnTo>
                    <a:pt x="6486" y="8124"/>
                  </a:lnTo>
                  <a:lnTo>
                    <a:pt x="6407" y="8121"/>
                  </a:lnTo>
                  <a:lnTo>
                    <a:pt x="6329" y="8117"/>
                  </a:lnTo>
                  <a:lnTo>
                    <a:pt x="6252" y="8113"/>
                  </a:lnTo>
                  <a:lnTo>
                    <a:pt x="6175" y="8108"/>
                  </a:lnTo>
                  <a:lnTo>
                    <a:pt x="6100" y="8101"/>
                  </a:lnTo>
                  <a:lnTo>
                    <a:pt x="6024" y="8094"/>
                  </a:lnTo>
                  <a:lnTo>
                    <a:pt x="5950" y="8087"/>
                  </a:lnTo>
                  <a:lnTo>
                    <a:pt x="5875" y="8077"/>
                  </a:lnTo>
                  <a:lnTo>
                    <a:pt x="5802" y="8068"/>
                  </a:lnTo>
                  <a:lnTo>
                    <a:pt x="5729" y="8059"/>
                  </a:lnTo>
                  <a:lnTo>
                    <a:pt x="5658" y="8047"/>
                  </a:lnTo>
                  <a:lnTo>
                    <a:pt x="5587" y="8036"/>
                  </a:lnTo>
                  <a:lnTo>
                    <a:pt x="5517" y="8023"/>
                  </a:lnTo>
                  <a:lnTo>
                    <a:pt x="5448" y="8011"/>
                  </a:lnTo>
                  <a:lnTo>
                    <a:pt x="5380" y="7997"/>
                  </a:lnTo>
                  <a:lnTo>
                    <a:pt x="5313" y="7982"/>
                  </a:lnTo>
                  <a:lnTo>
                    <a:pt x="5246" y="7968"/>
                  </a:lnTo>
                  <a:lnTo>
                    <a:pt x="5180" y="7952"/>
                  </a:lnTo>
                  <a:lnTo>
                    <a:pt x="5116" y="7936"/>
                  </a:lnTo>
                  <a:lnTo>
                    <a:pt x="5053" y="7919"/>
                  </a:lnTo>
                  <a:lnTo>
                    <a:pt x="4990" y="7901"/>
                  </a:lnTo>
                  <a:lnTo>
                    <a:pt x="4929" y="7882"/>
                  </a:lnTo>
                  <a:lnTo>
                    <a:pt x="4869" y="7864"/>
                  </a:lnTo>
                  <a:lnTo>
                    <a:pt x="4809" y="7845"/>
                  </a:lnTo>
                  <a:lnTo>
                    <a:pt x="4751" y="7824"/>
                  </a:lnTo>
                  <a:lnTo>
                    <a:pt x="4694" y="7804"/>
                  </a:lnTo>
                  <a:lnTo>
                    <a:pt x="4638" y="7782"/>
                  </a:lnTo>
                  <a:lnTo>
                    <a:pt x="4584" y="7761"/>
                  </a:lnTo>
                  <a:lnTo>
                    <a:pt x="4530" y="7739"/>
                  </a:lnTo>
                  <a:lnTo>
                    <a:pt x="4530" y="7739"/>
                  </a:lnTo>
                  <a:close/>
                  <a:moveTo>
                    <a:pt x="10347" y="8300"/>
                  </a:moveTo>
                  <a:lnTo>
                    <a:pt x="10347" y="8300"/>
                  </a:lnTo>
                  <a:lnTo>
                    <a:pt x="9833" y="6851"/>
                  </a:lnTo>
                  <a:lnTo>
                    <a:pt x="9833" y="6851"/>
                  </a:lnTo>
                  <a:lnTo>
                    <a:pt x="9831" y="6872"/>
                  </a:lnTo>
                  <a:lnTo>
                    <a:pt x="9827" y="6893"/>
                  </a:lnTo>
                  <a:lnTo>
                    <a:pt x="9824" y="6913"/>
                  </a:lnTo>
                  <a:lnTo>
                    <a:pt x="9818" y="6934"/>
                  </a:lnTo>
                  <a:lnTo>
                    <a:pt x="9813" y="6954"/>
                  </a:lnTo>
                  <a:lnTo>
                    <a:pt x="9807" y="6975"/>
                  </a:lnTo>
                  <a:lnTo>
                    <a:pt x="9800" y="6996"/>
                  </a:lnTo>
                  <a:lnTo>
                    <a:pt x="9792" y="7016"/>
                  </a:lnTo>
                  <a:lnTo>
                    <a:pt x="9784" y="7036"/>
                  </a:lnTo>
                  <a:lnTo>
                    <a:pt x="9775" y="7056"/>
                  </a:lnTo>
                  <a:lnTo>
                    <a:pt x="9765" y="7076"/>
                  </a:lnTo>
                  <a:lnTo>
                    <a:pt x="9755" y="7096"/>
                  </a:lnTo>
                  <a:lnTo>
                    <a:pt x="9743" y="7116"/>
                  </a:lnTo>
                  <a:lnTo>
                    <a:pt x="9732" y="7135"/>
                  </a:lnTo>
                  <a:lnTo>
                    <a:pt x="9720" y="7155"/>
                  </a:lnTo>
                  <a:lnTo>
                    <a:pt x="9706" y="7174"/>
                  </a:lnTo>
                  <a:lnTo>
                    <a:pt x="9678" y="7212"/>
                  </a:lnTo>
                  <a:lnTo>
                    <a:pt x="9647" y="7251"/>
                  </a:lnTo>
                  <a:lnTo>
                    <a:pt x="9613" y="7289"/>
                  </a:lnTo>
                  <a:lnTo>
                    <a:pt x="9577" y="7325"/>
                  </a:lnTo>
                  <a:lnTo>
                    <a:pt x="9539" y="7361"/>
                  </a:lnTo>
                  <a:lnTo>
                    <a:pt x="9498" y="7397"/>
                  </a:lnTo>
                  <a:lnTo>
                    <a:pt x="9455" y="7432"/>
                  </a:lnTo>
                  <a:lnTo>
                    <a:pt x="9410" y="7467"/>
                  </a:lnTo>
                  <a:lnTo>
                    <a:pt x="9410" y="7467"/>
                  </a:lnTo>
                  <a:lnTo>
                    <a:pt x="9864" y="9026"/>
                  </a:lnTo>
                  <a:lnTo>
                    <a:pt x="9864" y="9026"/>
                  </a:lnTo>
                  <a:lnTo>
                    <a:pt x="9917" y="8986"/>
                  </a:lnTo>
                  <a:lnTo>
                    <a:pt x="9967" y="8945"/>
                  </a:lnTo>
                  <a:lnTo>
                    <a:pt x="10014" y="8903"/>
                  </a:lnTo>
                  <a:lnTo>
                    <a:pt x="10037" y="8882"/>
                  </a:lnTo>
                  <a:lnTo>
                    <a:pt x="10058" y="8860"/>
                  </a:lnTo>
                  <a:lnTo>
                    <a:pt x="10079" y="8838"/>
                  </a:lnTo>
                  <a:lnTo>
                    <a:pt x="10100" y="8816"/>
                  </a:lnTo>
                  <a:lnTo>
                    <a:pt x="10120" y="8794"/>
                  </a:lnTo>
                  <a:lnTo>
                    <a:pt x="10139" y="8772"/>
                  </a:lnTo>
                  <a:lnTo>
                    <a:pt x="10156" y="8750"/>
                  </a:lnTo>
                  <a:lnTo>
                    <a:pt x="10174" y="8727"/>
                  </a:lnTo>
                  <a:lnTo>
                    <a:pt x="10190" y="8705"/>
                  </a:lnTo>
                  <a:lnTo>
                    <a:pt x="10206" y="8682"/>
                  </a:lnTo>
                  <a:lnTo>
                    <a:pt x="10222" y="8659"/>
                  </a:lnTo>
                  <a:lnTo>
                    <a:pt x="10235" y="8636"/>
                  </a:lnTo>
                  <a:lnTo>
                    <a:pt x="10249" y="8613"/>
                  </a:lnTo>
                  <a:lnTo>
                    <a:pt x="10261" y="8590"/>
                  </a:lnTo>
                  <a:lnTo>
                    <a:pt x="10274" y="8566"/>
                  </a:lnTo>
                  <a:lnTo>
                    <a:pt x="10284" y="8543"/>
                  </a:lnTo>
                  <a:lnTo>
                    <a:pt x="10294" y="8519"/>
                  </a:lnTo>
                  <a:lnTo>
                    <a:pt x="10304" y="8495"/>
                  </a:lnTo>
                  <a:lnTo>
                    <a:pt x="10312" y="8471"/>
                  </a:lnTo>
                  <a:lnTo>
                    <a:pt x="10319" y="8447"/>
                  </a:lnTo>
                  <a:lnTo>
                    <a:pt x="10327" y="8423"/>
                  </a:lnTo>
                  <a:lnTo>
                    <a:pt x="10332" y="8398"/>
                  </a:lnTo>
                  <a:lnTo>
                    <a:pt x="10337" y="8374"/>
                  </a:lnTo>
                  <a:lnTo>
                    <a:pt x="10341" y="8349"/>
                  </a:lnTo>
                  <a:lnTo>
                    <a:pt x="10344" y="8325"/>
                  </a:lnTo>
                  <a:lnTo>
                    <a:pt x="10347" y="8300"/>
                  </a:lnTo>
                  <a:lnTo>
                    <a:pt x="10347" y="8300"/>
                  </a:lnTo>
                  <a:close/>
                  <a:moveTo>
                    <a:pt x="6733" y="4679"/>
                  </a:moveTo>
                  <a:lnTo>
                    <a:pt x="6733" y="4679"/>
                  </a:lnTo>
                  <a:lnTo>
                    <a:pt x="6818" y="4678"/>
                  </a:lnTo>
                  <a:lnTo>
                    <a:pt x="6902" y="4676"/>
                  </a:lnTo>
                  <a:lnTo>
                    <a:pt x="6985" y="4672"/>
                  </a:lnTo>
                  <a:lnTo>
                    <a:pt x="7068" y="4668"/>
                  </a:lnTo>
                  <a:lnTo>
                    <a:pt x="7150" y="4661"/>
                  </a:lnTo>
                  <a:lnTo>
                    <a:pt x="7230" y="4653"/>
                  </a:lnTo>
                  <a:lnTo>
                    <a:pt x="7310" y="4644"/>
                  </a:lnTo>
                  <a:lnTo>
                    <a:pt x="7388" y="4634"/>
                  </a:lnTo>
                  <a:lnTo>
                    <a:pt x="7388" y="4634"/>
                  </a:lnTo>
                  <a:lnTo>
                    <a:pt x="7550" y="6292"/>
                  </a:lnTo>
                  <a:lnTo>
                    <a:pt x="7550" y="6292"/>
                  </a:lnTo>
                  <a:lnTo>
                    <a:pt x="7452" y="6305"/>
                  </a:lnTo>
                  <a:lnTo>
                    <a:pt x="7353" y="6316"/>
                  </a:lnTo>
                  <a:lnTo>
                    <a:pt x="7254" y="6326"/>
                  </a:lnTo>
                  <a:lnTo>
                    <a:pt x="7152" y="6334"/>
                  </a:lnTo>
                  <a:lnTo>
                    <a:pt x="7049" y="6340"/>
                  </a:lnTo>
                  <a:lnTo>
                    <a:pt x="6945" y="6345"/>
                  </a:lnTo>
                  <a:lnTo>
                    <a:pt x="6839" y="6348"/>
                  </a:lnTo>
                  <a:lnTo>
                    <a:pt x="6733" y="6349"/>
                  </a:lnTo>
                  <a:lnTo>
                    <a:pt x="6733" y="6349"/>
                  </a:lnTo>
                  <a:lnTo>
                    <a:pt x="6668" y="6349"/>
                  </a:lnTo>
                  <a:lnTo>
                    <a:pt x="6604" y="6348"/>
                  </a:lnTo>
                  <a:lnTo>
                    <a:pt x="6540" y="6346"/>
                  </a:lnTo>
                  <a:lnTo>
                    <a:pt x="6477" y="6343"/>
                  </a:lnTo>
                  <a:lnTo>
                    <a:pt x="6415" y="6340"/>
                  </a:lnTo>
                  <a:lnTo>
                    <a:pt x="6352" y="6337"/>
                  </a:lnTo>
                  <a:lnTo>
                    <a:pt x="6291" y="6333"/>
                  </a:lnTo>
                  <a:lnTo>
                    <a:pt x="6229" y="6328"/>
                  </a:lnTo>
                  <a:lnTo>
                    <a:pt x="6169" y="6323"/>
                  </a:lnTo>
                  <a:lnTo>
                    <a:pt x="6109" y="6316"/>
                  </a:lnTo>
                  <a:lnTo>
                    <a:pt x="6049" y="6309"/>
                  </a:lnTo>
                  <a:lnTo>
                    <a:pt x="5990" y="6302"/>
                  </a:lnTo>
                  <a:lnTo>
                    <a:pt x="5931" y="6295"/>
                  </a:lnTo>
                  <a:lnTo>
                    <a:pt x="5874" y="6286"/>
                  </a:lnTo>
                  <a:lnTo>
                    <a:pt x="5817" y="6277"/>
                  </a:lnTo>
                  <a:lnTo>
                    <a:pt x="5760" y="6267"/>
                  </a:lnTo>
                  <a:lnTo>
                    <a:pt x="5703" y="6257"/>
                  </a:lnTo>
                  <a:lnTo>
                    <a:pt x="5648" y="6247"/>
                  </a:lnTo>
                  <a:lnTo>
                    <a:pt x="5594" y="6235"/>
                  </a:lnTo>
                  <a:lnTo>
                    <a:pt x="5540" y="6224"/>
                  </a:lnTo>
                  <a:lnTo>
                    <a:pt x="5487" y="6212"/>
                  </a:lnTo>
                  <a:lnTo>
                    <a:pt x="5434" y="6199"/>
                  </a:lnTo>
                  <a:lnTo>
                    <a:pt x="5382" y="6186"/>
                  </a:lnTo>
                  <a:lnTo>
                    <a:pt x="5332" y="6172"/>
                  </a:lnTo>
                  <a:lnTo>
                    <a:pt x="5281" y="6158"/>
                  </a:lnTo>
                  <a:lnTo>
                    <a:pt x="5232" y="6143"/>
                  </a:lnTo>
                  <a:lnTo>
                    <a:pt x="5184" y="6128"/>
                  </a:lnTo>
                  <a:lnTo>
                    <a:pt x="5137" y="6112"/>
                  </a:lnTo>
                  <a:lnTo>
                    <a:pt x="5090" y="6097"/>
                  </a:lnTo>
                  <a:lnTo>
                    <a:pt x="5044" y="6080"/>
                  </a:lnTo>
                  <a:lnTo>
                    <a:pt x="5000" y="6062"/>
                  </a:lnTo>
                  <a:lnTo>
                    <a:pt x="4955" y="6045"/>
                  </a:lnTo>
                  <a:lnTo>
                    <a:pt x="4955" y="6045"/>
                  </a:lnTo>
                  <a:lnTo>
                    <a:pt x="5068" y="5600"/>
                  </a:lnTo>
                  <a:lnTo>
                    <a:pt x="5105" y="5455"/>
                  </a:lnTo>
                  <a:lnTo>
                    <a:pt x="5126" y="5372"/>
                  </a:lnTo>
                  <a:lnTo>
                    <a:pt x="5126" y="5372"/>
                  </a:lnTo>
                  <a:lnTo>
                    <a:pt x="5135" y="5340"/>
                  </a:lnTo>
                  <a:lnTo>
                    <a:pt x="5141" y="5311"/>
                  </a:lnTo>
                  <a:lnTo>
                    <a:pt x="5146" y="5284"/>
                  </a:lnTo>
                  <a:lnTo>
                    <a:pt x="5150" y="5258"/>
                  </a:lnTo>
                  <a:lnTo>
                    <a:pt x="5152" y="5235"/>
                  </a:lnTo>
                  <a:lnTo>
                    <a:pt x="5152" y="5214"/>
                  </a:lnTo>
                  <a:lnTo>
                    <a:pt x="5152" y="5194"/>
                  </a:lnTo>
                  <a:lnTo>
                    <a:pt x="5150" y="5178"/>
                  </a:lnTo>
                  <a:lnTo>
                    <a:pt x="5148" y="5162"/>
                  </a:lnTo>
                  <a:lnTo>
                    <a:pt x="5144" y="5148"/>
                  </a:lnTo>
                  <a:lnTo>
                    <a:pt x="5139" y="5138"/>
                  </a:lnTo>
                  <a:lnTo>
                    <a:pt x="5134" y="5129"/>
                  </a:lnTo>
                  <a:lnTo>
                    <a:pt x="5127" y="5121"/>
                  </a:lnTo>
                  <a:lnTo>
                    <a:pt x="5120" y="5115"/>
                  </a:lnTo>
                  <a:lnTo>
                    <a:pt x="5112" y="5112"/>
                  </a:lnTo>
                  <a:lnTo>
                    <a:pt x="5104" y="5110"/>
                  </a:lnTo>
                  <a:lnTo>
                    <a:pt x="5094" y="5110"/>
                  </a:lnTo>
                  <a:lnTo>
                    <a:pt x="5084" y="5111"/>
                  </a:lnTo>
                  <a:lnTo>
                    <a:pt x="5074" y="5115"/>
                  </a:lnTo>
                  <a:lnTo>
                    <a:pt x="5064" y="5120"/>
                  </a:lnTo>
                  <a:lnTo>
                    <a:pt x="5053" y="5126"/>
                  </a:lnTo>
                  <a:lnTo>
                    <a:pt x="5042" y="5135"/>
                  </a:lnTo>
                  <a:lnTo>
                    <a:pt x="5031" y="5145"/>
                  </a:lnTo>
                  <a:lnTo>
                    <a:pt x="5019" y="5158"/>
                  </a:lnTo>
                  <a:lnTo>
                    <a:pt x="5009" y="5171"/>
                  </a:lnTo>
                  <a:lnTo>
                    <a:pt x="4998" y="5186"/>
                  </a:lnTo>
                  <a:lnTo>
                    <a:pt x="4987" y="5203"/>
                  </a:lnTo>
                  <a:lnTo>
                    <a:pt x="4976" y="5220"/>
                  </a:lnTo>
                  <a:lnTo>
                    <a:pt x="4965" y="5240"/>
                  </a:lnTo>
                  <a:lnTo>
                    <a:pt x="4955" y="5262"/>
                  </a:lnTo>
                  <a:lnTo>
                    <a:pt x="4946" y="5284"/>
                  </a:lnTo>
                  <a:lnTo>
                    <a:pt x="4936" y="5309"/>
                  </a:lnTo>
                  <a:lnTo>
                    <a:pt x="4936" y="5309"/>
                  </a:lnTo>
                  <a:lnTo>
                    <a:pt x="4912" y="5380"/>
                  </a:lnTo>
                  <a:lnTo>
                    <a:pt x="4867" y="5514"/>
                  </a:lnTo>
                  <a:lnTo>
                    <a:pt x="4725" y="5939"/>
                  </a:lnTo>
                  <a:lnTo>
                    <a:pt x="4725" y="5939"/>
                  </a:lnTo>
                  <a:lnTo>
                    <a:pt x="4666" y="5907"/>
                  </a:lnTo>
                  <a:lnTo>
                    <a:pt x="4610" y="5874"/>
                  </a:lnTo>
                  <a:lnTo>
                    <a:pt x="4557" y="5839"/>
                  </a:lnTo>
                  <a:lnTo>
                    <a:pt x="4506" y="5805"/>
                  </a:lnTo>
                  <a:lnTo>
                    <a:pt x="4458" y="5768"/>
                  </a:lnTo>
                  <a:lnTo>
                    <a:pt x="4436" y="5751"/>
                  </a:lnTo>
                  <a:lnTo>
                    <a:pt x="4414" y="5732"/>
                  </a:lnTo>
                  <a:lnTo>
                    <a:pt x="4392" y="5713"/>
                  </a:lnTo>
                  <a:lnTo>
                    <a:pt x="4373" y="5694"/>
                  </a:lnTo>
                  <a:lnTo>
                    <a:pt x="4353" y="5676"/>
                  </a:lnTo>
                  <a:lnTo>
                    <a:pt x="4334" y="5657"/>
                  </a:lnTo>
                  <a:lnTo>
                    <a:pt x="4317" y="5637"/>
                  </a:lnTo>
                  <a:lnTo>
                    <a:pt x="4300" y="5617"/>
                  </a:lnTo>
                  <a:lnTo>
                    <a:pt x="4283" y="5598"/>
                  </a:lnTo>
                  <a:lnTo>
                    <a:pt x="4268" y="5579"/>
                  </a:lnTo>
                  <a:lnTo>
                    <a:pt x="4253" y="5558"/>
                  </a:lnTo>
                  <a:lnTo>
                    <a:pt x="4240" y="5538"/>
                  </a:lnTo>
                  <a:lnTo>
                    <a:pt x="4227" y="5517"/>
                  </a:lnTo>
                  <a:lnTo>
                    <a:pt x="4215" y="5497"/>
                  </a:lnTo>
                  <a:lnTo>
                    <a:pt x="4203" y="5477"/>
                  </a:lnTo>
                  <a:lnTo>
                    <a:pt x="4194" y="5456"/>
                  </a:lnTo>
                  <a:lnTo>
                    <a:pt x="4185" y="5435"/>
                  </a:lnTo>
                  <a:lnTo>
                    <a:pt x="4176" y="5414"/>
                  </a:lnTo>
                  <a:lnTo>
                    <a:pt x="4169" y="5393"/>
                  </a:lnTo>
                  <a:lnTo>
                    <a:pt x="4162" y="5371"/>
                  </a:lnTo>
                  <a:lnTo>
                    <a:pt x="4156" y="5351"/>
                  </a:lnTo>
                  <a:lnTo>
                    <a:pt x="4151" y="5329"/>
                  </a:lnTo>
                  <a:lnTo>
                    <a:pt x="4151" y="5329"/>
                  </a:lnTo>
                  <a:lnTo>
                    <a:pt x="4658" y="3900"/>
                  </a:lnTo>
                  <a:lnTo>
                    <a:pt x="4658" y="3900"/>
                  </a:lnTo>
                  <a:lnTo>
                    <a:pt x="4665" y="3920"/>
                  </a:lnTo>
                  <a:lnTo>
                    <a:pt x="4673" y="3941"/>
                  </a:lnTo>
                  <a:lnTo>
                    <a:pt x="4682" y="3961"/>
                  </a:lnTo>
                  <a:lnTo>
                    <a:pt x="4692" y="3981"/>
                  </a:lnTo>
                  <a:lnTo>
                    <a:pt x="4703" y="4001"/>
                  </a:lnTo>
                  <a:lnTo>
                    <a:pt x="4716" y="4021"/>
                  </a:lnTo>
                  <a:lnTo>
                    <a:pt x="4728" y="4040"/>
                  </a:lnTo>
                  <a:lnTo>
                    <a:pt x="4743" y="4060"/>
                  </a:lnTo>
                  <a:lnTo>
                    <a:pt x="4758" y="4078"/>
                  </a:lnTo>
                  <a:lnTo>
                    <a:pt x="4774" y="4098"/>
                  </a:lnTo>
                  <a:lnTo>
                    <a:pt x="4792" y="4117"/>
                  </a:lnTo>
                  <a:lnTo>
                    <a:pt x="4809" y="4135"/>
                  </a:lnTo>
                  <a:lnTo>
                    <a:pt x="4828" y="4153"/>
                  </a:lnTo>
                  <a:lnTo>
                    <a:pt x="4848" y="4171"/>
                  </a:lnTo>
                  <a:lnTo>
                    <a:pt x="4869" y="4190"/>
                  </a:lnTo>
                  <a:lnTo>
                    <a:pt x="4890" y="4207"/>
                  </a:lnTo>
                  <a:lnTo>
                    <a:pt x="4913" y="4224"/>
                  </a:lnTo>
                  <a:lnTo>
                    <a:pt x="4936" y="4242"/>
                  </a:lnTo>
                  <a:lnTo>
                    <a:pt x="4961" y="4259"/>
                  </a:lnTo>
                  <a:lnTo>
                    <a:pt x="4986" y="4275"/>
                  </a:lnTo>
                  <a:lnTo>
                    <a:pt x="5012" y="4292"/>
                  </a:lnTo>
                  <a:lnTo>
                    <a:pt x="5038" y="4308"/>
                  </a:lnTo>
                  <a:lnTo>
                    <a:pt x="5066" y="4324"/>
                  </a:lnTo>
                  <a:lnTo>
                    <a:pt x="5094" y="4340"/>
                  </a:lnTo>
                  <a:lnTo>
                    <a:pt x="5153" y="4370"/>
                  </a:lnTo>
                  <a:lnTo>
                    <a:pt x="5216" y="4399"/>
                  </a:lnTo>
                  <a:lnTo>
                    <a:pt x="5280" y="4427"/>
                  </a:lnTo>
                  <a:lnTo>
                    <a:pt x="5349" y="4454"/>
                  </a:lnTo>
                  <a:lnTo>
                    <a:pt x="5419" y="4479"/>
                  </a:lnTo>
                  <a:lnTo>
                    <a:pt x="5492" y="4504"/>
                  </a:lnTo>
                  <a:lnTo>
                    <a:pt x="5567" y="4527"/>
                  </a:lnTo>
                  <a:lnTo>
                    <a:pt x="5645" y="4548"/>
                  </a:lnTo>
                  <a:lnTo>
                    <a:pt x="5726" y="4568"/>
                  </a:lnTo>
                  <a:lnTo>
                    <a:pt x="5808" y="4587"/>
                  </a:lnTo>
                  <a:lnTo>
                    <a:pt x="5893" y="4603"/>
                  </a:lnTo>
                  <a:lnTo>
                    <a:pt x="5980" y="4619"/>
                  </a:lnTo>
                  <a:lnTo>
                    <a:pt x="6068" y="4633"/>
                  </a:lnTo>
                  <a:lnTo>
                    <a:pt x="6159" y="4645"/>
                  </a:lnTo>
                  <a:lnTo>
                    <a:pt x="6250" y="4656"/>
                  </a:lnTo>
                  <a:lnTo>
                    <a:pt x="6344" y="4664"/>
                  </a:lnTo>
                  <a:lnTo>
                    <a:pt x="6439" y="4670"/>
                  </a:lnTo>
                  <a:lnTo>
                    <a:pt x="6535" y="4675"/>
                  </a:lnTo>
                  <a:lnTo>
                    <a:pt x="6633" y="4678"/>
                  </a:lnTo>
                  <a:lnTo>
                    <a:pt x="6733" y="4679"/>
                  </a:lnTo>
                  <a:lnTo>
                    <a:pt x="6733" y="4679"/>
                  </a:lnTo>
                  <a:close/>
                  <a:moveTo>
                    <a:pt x="9305" y="5363"/>
                  </a:moveTo>
                  <a:lnTo>
                    <a:pt x="9305" y="5363"/>
                  </a:lnTo>
                  <a:lnTo>
                    <a:pt x="8795" y="3930"/>
                  </a:lnTo>
                  <a:lnTo>
                    <a:pt x="8795" y="3930"/>
                  </a:lnTo>
                  <a:lnTo>
                    <a:pt x="8786" y="3954"/>
                  </a:lnTo>
                  <a:lnTo>
                    <a:pt x="8775" y="3977"/>
                  </a:lnTo>
                  <a:lnTo>
                    <a:pt x="8762" y="4000"/>
                  </a:lnTo>
                  <a:lnTo>
                    <a:pt x="8747" y="4023"/>
                  </a:lnTo>
                  <a:lnTo>
                    <a:pt x="8732" y="4045"/>
                  </a:lnTo>
                  <a:lnTo>
                    <a:pt x="8715" y="4067"/>
                  </a:lnTo>
                  <a:lnTo>
                    <a:pt x="8698" y="4090"/>
                  </a:lnTo>
                  <a:lnTo>
                    <a:pt x="8679" y="4111"/>
                  </a:lnTo>
                  <a:lnTo>
                    <a:pt x="8658" y="4132"/>
                  </a:lnTo>
                  <a:lnTo>
                    <a:pt x="8636" y="4153"/>
                  </a:lnTo>
                  <a:lnTo>
                    <a:pt x="8613" y="4174"/>
                  </a:lnTo>
                  <a:lnTo>
                    <a:pt x="8589" y="4195"/>
                  </a:lnTo>
                  <a:lnTo>
                    <a:pt x="8563" y="4215"/>
                  </a:lnTo>
                  <a:lnTo>
                    <a:pt x="8537" y="4235"/>
                  </a:lnTo>
                  <a:lnTo>
                    <a:pt x="8509" y="4254"/>
                  </a:lnTo>
                  <a:lnTo>
                    <a:pt x="8481" y="4274"/>
                  </a:lnTo>
                  <a:lnTo>
                    <a:pt x="8481" y="4274"/>
                  </a:lnTo>
                  <a:lnTo>
                    <a:pt x="8931" y="5824"/>
                  </a:lnTo>
                  <a:lnTo>
                    <a:pt x="8931" y="5824"/>
                  </a:lnTo>
                  <a:lnTo>
                    <a:pt x="8968" y="5798"/>
                  </a:lnTo>
                  <a:lnTo>
                    <a:pt x="9002" y="5771"/>
                  </a:lnTo>
                  <a:lnTo>
                    <a:pt x="9035" y="5744"/>
                  </a:lnTo>
                  <a:lnTo>
                    <a:pt x="9067" y="5717"/>
                  </a:lnTo>
                  <a:lnTo>
                    <a:pt x="9097" y="5690"/>
                  </a:lnTo>
                  <a:lnTo>
                    <a:pt x="9125" y="5662"/>
                  </a:lnTo>
                  <a:lnTo>
                    <a:pt x="9151" y="5634"/>
                  </a:lnTo>
                  <a:lnTo>
                    <a:pt x="9176" y="5605"/>
                  </a:lnTo>
                  <a:lnTo>
                    <a:pt x="9199" y="5576"/>
                  </a:lnTo>
                  <a:lnTo>
                    <a:pt x="9219" y="5546"/>
                  </a:lnTo>
                  <a:lnTo>
                    <a:pt x="9238" y="5517"/>
                  </a:lnTo>
                  <a:lnTo>
                    <a:pt x="9256" y="5487"/>
                  </a:lnTo>
                  <a:lnTo>
                    <a:pt x="9270" y="5457"/>
                  </a:lnTo>
                  <a:lnTo>
                    <a:pt x="9284" y="5426"/>
                  </a:lnTo>
                  <a:lnTo>
                    <a:pt x="9295" y="5394"/>
                  </a:lnTo>
                  <a:lnTo>
                    <a:pt x="9305" y="5363"/>
                  </a:lnTo>
                  <a:lnTo>
                    <a:pt x="9305" y="5363"/>
                  </a:lnTo>
                  <a:close/>
                  <a:moveTo>
                    <a:pt x="7707" y="883"/>
                  </a:moveTo>
                  <a:lnTo>
                    <a:pt x="7707" y="883"/>
                  </a:lnTo>
                  <a:lnTo>
                    <a:pt x="7953" y="1569"/>
                  </a:lnTo>
                  <a:lnTo>
                    <a:pt x="8275" y="2471"/>
                  </a:lnTo>
                  <a:lnTo>
                    <a:pt x="8275" y="2471"/>
                  </a:lnTo>
                  <a:lnTo>
                    <a:pt x="8247" y="2493"/>
                  </a:lnTo>
                  <a:lnTo>
                    <a:pt x="8218" y="2516"/>
                  </a:lnTo>
                  <a:lnTo>
                    <a:pt x="8187" y="2538"/>
                  </a:lnTo>
                  <a:lnTo>
                    <a:pt x="8154" y="2559"/>
                  </a:lnTo>
                  <a:lnTo>
                    <a:pt x="8120" y="2580"/>
                  </a:lnTo>
                  <a:lnTo>
                    <a:pt x="8083" y="2600"/>
                  </a:lnTo>
                  <a:lnTo>
                    <a:pt x="8046" y="2620"/>
                  </a:lnTo>
                  <a:lnTo>
                    <a:pt x="8006" y="2639"/>
                  </a:lnTo>
                  <a:lnTo>
                    <a:pt x="8006" y="2639"/>
                  </a:lnTo>
                  <a:lnTo>
                    <a:pt x="7728" y="1676"/>
                  </a:lnTo>
                  <a:lnTo>
                    <a:pt x="7535" y="1010"/>
                  </a:lnTo>
                  <a:lnTo>
                    <a:pt x="7535" y="1010"/>
                  </a:lnTo>
                  <a:lnTo>
                    <a:pt x="7561" y="995"/>
                  </a:lnTo>
                  <a:lnTo>
                    <a:pt x="7587" y="981"/>
                  </a:lnTo>
                  <a:lnTo>
                    <a:pt x="7610" y="965"/>
                  </a:lnTo>
                  <a:lnTo>
                    <a:pt x="7633" y="949"/>
                  </a:lnTo>
                  <a:lnTo>
                    <a:pt x="7654" y="934"/>
                  </a:lnTo>
                  <a:lnTo>
                    <a:pt x="7672" y="917"/>
                  </a:lnTo>
                  <a:lnTo>
                    <a:pt x="7690" y="899"/>
                  </a:lnTo>
                  <a:lnTo>
                    <a:pt x="7707" y="883"/>
                  </a:lnTo>
                  <a:lnTo>
                    <a:pt x="7707" y="883"/>
                  </a:lnTo>
                  <a:close/>
                  <a:moveTo>
                    <a:pt x="5171" y="2455"/>
                  </a:moveTo>
                  <a:lnTo>
                    <a:pt x="5171" y="2455"/>
                  </a:lnTo>
                  <a:lnTo>
                    <a:pt x="5198" y="2479"/>
                  </a:lnTo>
                  <a:lnTo>
                    <a:pt x="5226" y="2502"/>
                  </a:lnTo>
                  <a:lnTo>
                    <a:pt x="5257" y="2524"/>
                  </a:lnTo>
                  <a:lnTo>
                    <a:pt x="5290" y="2546"/>
                  </a:lnTo>
                  <a:lnTo>
                    <a:pt x="5323" y="2567"/>
                  </a:lnTo>
                  <a:lnTo>
                    <a:pt x="5358" y="2588"/>
                  </a:lnTo>
                  <a:lnTo>
                    <a:pt x="5396" y="2608"/>
                  </a:lnTo>
                  <a:lnTo>
                    <a:pt x="5435" y="2628"/>
                  </a:lnTo>
                  <a:lnTo>
                    <a:pt x="5475" y="2647"/>
                  </a:lnTo>
                  <a:lnTo>
                    <a:pt x="5517" y="2665"/>
                  </a:lnTo>
                  <a:lnTo>
                    <a:pt x="5560" y="2683"/>
                  </a:lnTo>
                  <a:lnTo>
                    <a:pt x="5605" y="2700"/>
                  </a:lnTo>
                  <a:lnTo>
                    <a:pt x="5650" y="2716"/>
                  </a:lnTo>
                  <a:lnTo>
                    <a:pt x="5698" y="2732"/>
                  </a:lnTo>
                  <a:lnTo>
                    <a:pt x="5747" y="2748"/>
                  </a:lnTo>
                  <a:lnTo>
                    <a:pt x="5797" y="2762"/>
                  </a:lnTo>
                  <a:lnTo>
                    <a:pt x="5848" y="2776"/>
                  </a:lnTo>
                  <a:lnTo>
                    <a:pt x="5900" y="2788"/>
                  </a:lnTo>
                  <a:lnTo>
                    <a:pt x="5954" y="2801"/>
                  </a:lnTo>
                  <a:lnTo>
                    <a:pt x="6008" y="2812"/>
                  </a:lnTo>
                  <a:lnTo>
                    <a:pt x="6064" y="2823"/>
                  </a:lnTo>
                  <a:lnTo>
                    <a:pt x="6120" y="2832"/>
                  </a:lnTo>
                  <a:lnTo>
                    <a:pt x="6177" y="2842"/>
                  </a:lnTo>
                  <a:lnTo>
                    <a:pt x="6237" y="2849"/>
                  </a:lnTo>
                  <a:lnTo>
                    <a:pt x="6296" y="2856"/>
                  </a:lnTo>
                  <a:lnTo>
                    <a:pt x="6356" y="2862"/>
                  </a:lnTo>
                  <a:lnTo>
                    <a:pt x="6417" y="2868"/>
                  </a:lnTo>
                  <a:lnTo>
                    <a:pt x="6479" y="2873"/>
                  </a:lnTo>
                  <a:lnTo>
                    <a:pt x="6541" y="2876"/>
                  </a:lnTo>
                  <a:lnTo>
                    <a:pt x="6604" y="2878"/>
                  </a:lnTo>
                  <a:lnTo>
                    <a:pt x="6668" y="2880"/>
                  </a:lnTo>
                  <a:lnTo>
                    <a:pt x="6733" y="2880"/>
                  </a:lnTo>
                  <a:lnTo>
                    <a:pt x="6733" y="2880"/>
                  </a:lnTo>
                  <a:lnTo>
                    <a:pt x="6795" y="2880"/>
                  </a:lnTo>
                  <a:lnTo>
                    <a:pt x="6856" y="2878"/>
                  </a:lnTo>
                  <a:lnTo>
                    <a:pt x="6918" y="2876"/>
                  </a:lnTo>
                  <a:lnTo>
                    <a:pt x="6978" y="2873"/>
                  </a:lnTo>
                  <a:lnTo>
                    <a:pt x="7037" y="2869"/>
                  </a:lnTo>
                  <a:lnTo>
                    <a:pt x="7097" y="2863"/>
                  </a:lnTo>
                  <a:lnTo>
                    <a:pt x="7155" y="2857"/>
                  </a:lnTo>
                  <a:lnTo>
                    <a:pt x="7213" y="2851"/>
                  </a:lnTo>
                  <a:lnTo>
                    <a:pt x="7213" y="2851"/>
                  </a:lnTo>
                  <a:lnTo>
                    <a:pt x="7112" y="1812"/>
                  </a:lnTo>
                  <a:lnTo>
                    <a:pt x="7048" y="1151"/>
                  </a:lnTo>
                  <a:lnTo>
                    <a:pt x="7048" y="1151"/>
                  </a:lnTo>
                  <a:lnTo>
                    <a:pt x="7010" y="1157"/>
                  </a:lnTo>
                  <a:lnTo>
                    <a:pt x="6972" y="1161"/>
                  </a:lnTo>
                  <a:lnTo>
                    <a:pt x="6933" y="1165"/>
                  </a:lnTo>
                  <a:lnTo>
                    <a:pt x="6894" y="1167"/>
                  </a:lnTo>
                  <a:lnTo>
                    <a:pt x="6854" y="1170"/>
                  </a:lnTo>
                  <a:lnTo>
                    <a:pt x="6814" y="1171"/>
                  </a:lnTo>
                  <a:lnTo>
                    <a:pt x="6773" y="1172"/>
                  </a:lnTo>
                  <a:lnTo>
                    <a:pt x="6733" y="1173"/>
                  </a:lnTo>
                  <a:lnTo>
                    <a:pt x="6733" y="1173"/>
                  </a:lnTo>
                  <a:lnTo>
                    <a:pt x="6689" y="1172"/>
                  </a:lnTo>
                  <a:lnTo>
                    <a:pt x="6646" y="1171"/>
                  </a:lnTo>
                  <a:lnTo>
                    <a:pt x="6604" y="1169"/>
                  </a:lnTo>
                  <a:lnTo>
                    <a:pt x="6562" y="1167"/>
                  </a:lnTo>
                  <a:lnTo>
                    <a:pt x="6521" y="1164"/>
                  </a:lnTo>
                  <a:lnTo>
                    <a:pt x="6480" y="1160"/>
                  </a:lnTo>
                  <a:lnTo>
                    <a:pt x="6439" y="1155"/>
                  </a:lnTo>
                  <a:lnTo>
                    <a:pt x="6400" y="1149"/>
                  </a:lnTo>
                  <a:lnTo>
                    <a:pt x="6362" y="1143"/>
                  </a:lnTo>
                  <a:lnTo>
                    <a:pt x="6323" y="1137"/>
                  </a:lnTo>
                  <a:lnTo>
                    <a:pt x="6286" y="1130"/>
                  </a:lnTo>
                  <a:lnTo>
                    <a:pt x="6249" y="1122"/>
                  </a:lnTo>
                  <a:lnTo>
                    <a:pt x="6214" y="1113"/>
                  </a:lnTo>
                  <a:lnTo>
                    <a:pt x="6179" y="1105"/>
                  </a:lnTo>
                  <a:lnTo>
                    <a:pt x="6145" y="1095"/>
                  </a:lnTo>
                  <a:lnTo>
                    <a:pt x="6112" y="1085"/>
                  </a:lnTo>
                  <a:lnTo>
                    <a:pt x="6080" y="1074"/>
                  </a:lnTo>
                  <a:lnTo>
                    <a:pt x="6050" y="1063"/>
                  </a:lnTo>
                  <a:lnTo>
                    <a:pt x="6019" y="1051"/>
                  </a:lnTo>
                  <a:lnTo>
                    <a:pt x="5990" y="1039"/>
                  </a:lnTo>
                  <a:lnTo>
                    <a:pt x="5962" y="1026"/>
                  </a:lnTo>
                  <a:lnTo>
                    <a:pt x="5936" y="1013"/>
                  </a:lnTo>
                  <a:lnTo>
                    <a:pt x="5910" y="999"/>
                  </a:lnTo>
                  <a:lnTo>
                    <a:pt x="5886" y="986"/>
                  </a:lnTo>
                  <a:lnTo>
                    <a:pt x="5864" y="971"/>
                  </a:lnTo>
                  <a:lnTo>
                    <a:pt x="5842" y="957"/>
                  </a:lnTo>
                  <a:lnTo>
                    <a:pt x="5822" y="942"/>
                  </a:lnTo>
                  <a:lnTo>
                    <a:pt x="5802" y="926"/>
                  </a:lnTo>
                  <a:lnTo>
                    <a:pt x="5785" y="911"/>
                  </a:lnTo>
                  <a:lnTo>
                    <a:pt x="5769" y="894"/>
                  </a:lnTo>
                  <a:lnTo>
                    <a:pt x="5754" y="877"/>
                  </a:lnTo>
                  <a:lnTo>
                    <a:pt x="5741" y="861"/>
                  </a:lnTo>
                  <a:lnTo>
                    <a:pt x="5741" y="861"/>
                  </a:lnTo>
                  <a:lnTo>
                    <a:pt x="5499" y="1537"/>
                  </a:lnTo>
                  <a:lnTo>
                    <a:pt x="5171" y="2455"/>
                  </a:lnTo>
                  <a:lnTo>
                    <a:pt x="5171" y="2455"/>
                  </a:lnTo>
                  <a:close/>
                  <a:moveTo>
                    <a:pt x="6162" y="245"/>
                  </a:moveTo>
                  <a:lnTo>
                    <a:pt x="6162" y="245"/>
                  </a:lnTo>
                  <a:lnTo>
                    <a:pt x="6163" y="257"/>
                  </a:lnTo>
                  <a:lnTo>
                    <a:pt x="6165" y="270"/>
                  </a:lnTo>
                  <a:lnTo>
                    <a:pt x="6169" y="282"/>
                  </a:lnTo>
                  <a:lnTo>
                    <a:pt x="6173" y="294"/>
                  </a:lnTo>
                  <a:lnTo>
                    <a:pt x="6181" y="306"/>
                  </a:lnTo>
                  <a:lnTo>
                    <a:pt x="6188" y="318"/>
                  </a:lnTo>
                  <a:lnTo>
                    <a:pt x="6197" y="329"/>
                  </a:lnTo>
                  <a:lnTo>
                    <a:pt x="6207" y="340"/>
                  </a:lnTo>
                  <a:lnTo>
                    <a:pt x="6218" y="351"/>
                  </a:lnTo>
                  <a:lnTo>
                    <a:pt x="6231" y="362"/>
                  </a:lnTo>
                  <a:lnTo>
                    <a:pt x="6245" y="372"/>
                  </a:lnTo>
                  <a:lnTo>
                    <a:pt x="6260" y="381"/>
                  </a:lnTo>
                  <a:lnTo>
                    <a:pt x="6275" y="391"/>
                  </a:lnTo>
                  <a:lnTo>
                    <a:pt x="6292" y="400"/>
                  </a:lnTo>
                  <a:lnTo>
                    <a:pt x="6311" y="410"/>
                  </a:lnTo>
                  <a:lnTo>
                    <a:pt x="6329" y="418"/>
                  </a:lnTo>
                  <a:lnTo>
                    <a:pt x="6349" y="426"/>
                  </a:lnTo>
                  <a:lnTo>
                    <a:pt x="6370" y="434"/>
                  </a:lnTo>
                  <a:lnTo>
                    <a:pt x="6392" y="441"/>
                  </a:lnTo>
                  <a:lnTo>
                    <a:pt x="6413" y="448"/>
                  </a:lnTo>
                  <a:lnTo>
                    <a:pt x="6436" y="454"/>
                  </a:lnTo>
                  <a:lnTo>
                    <a:pt x="6460" y="461"/>
                  </a:lnTo>
                  <a:lnTo>
                    <a:pt x="6485" y="466"/>
                  </a:lnTo>
                  <a:lnTo>
                    <a:pt x="6510" y="470"/>
                  </a:lnTo>
                  <a:lnTo>
                    <a:pt x="6563" y="478"/>
                  </a:lnTo>
                  <a:lnTo>
                    <a:pt x="6617" y="485"/>
                  </a:lnTo>
                  <a:lnTo>
                    <a:pt x="6645" y="487"/>
                  </a:lnTo>
                  <a:lnTo>
                    <a:pt x="6674" y="489"/>
                  </a:lnTo>
                  <a:lnTo>
                    <a:pt x="6703" y="490"/>
                  </a:lnTo>
                  <a:lnTo>
                    <a:pt x="6733" y="490"/>
                  </a:lnTo>
                  <a:lnTo>
                    <a:pt x="6733" y="490"/>
                  </a:lnTo>
                  <a:lnTo>
                    <a:pt x="6762" y="490"/>
                  </a:lnTo>
                  <a:lnTo>
                    <a:pt x="6791" y="489"/>
                  </a:lnTo>
                  <a:lnTo>
                    <a:pt x="6819" y="487"/>
                  </a:lnTo>
                  <a:lnTo>
                    <a:pt x="6847" y="485"/>
                  </a:lnTo>
                  <a:lnTo>
                    <a:pt x="6902" y="478"/>
                  </a:lnTo>
                  <a:lnTo>
                    <a:pt x="6928" y="475"/>
                  </a:lnTo>
                  <a:lnTo>
                    <a:pt x="6954" y="470"/>
                  </a:lnTo>
                  <a:lnTo>
                    <a:pt x="6979" y="466"/>
                  </a:lnTo>
                  <a:lnTo>
                    <a:pt x="7004" y="461"/>
                  </a:lnTo>
                  <a:lnTo>
                    <a:pt x="7028" y="454"/>
                  </a:lnTo>
                  <a:lnTo>
                    <a:pt x="7051" y="448"/>
                  </a:lnTo>
                  <a:lnTo>
                    <a:pt x="7074" y="441"/>
                  </a:lnTo>
                  <a:lnTo>
                    <a:pt x="7094" y="434"/>
                  </a:lnTo>
                  <a:lnTo>
                    <a:pt x="7115" y="426"/>
                  </a:lnTo>
                  <a:lnTo>
                    <a:pt x="7135" y="418"/>
                  </a:lnTo>
                  <a:lnTo>
                    <a:pt x="7155" y="410"/>
                  </a:lnTo>
                  <a:lnTo>
                    <a:pt x="7172" y="400"/>
                  </a:lnTo>
                  <a:lnTo>
                    <a:pt x="7189" y="391"/>
                  </a:lnTo>
                  <a:lnTo>
                    <a:pt x="7205" y="381"/>
                  </a:lnTo>
                  <a:lnTo>
                    <a:pt x="7220" y="372"/>
                  </a:lnTo>
                  <a:lnTo>
                    <a:pt x="7234" y="362"/>
                  </a:lnTo>
                  <a:lnTo>
                    <a:pt x="7246" y="351"/>
                  </a:lnTo>
                  <a:lnTo>
                    <a:pt x="7258" y="340"/>
                  </a:lnTo>
                  <a:lnTo>
                    <a:pt x="7268" y="329"/>
                  </a:lnTo>
                  <a:lnTo>
                    <a:pt x="7276" y="318"/>
                  </a:lnTo>
                  <a:lnTo>
                    <a:pt x="7285" y="306"/>
                  </a:lnTo>
                  <a:lnTo>
                    <a:pt x="7291" y="294"/>
                  </a:lnTo>
                  <a:lnTo>
                    <a:pt x="7296" y="282"/>
                  </a:lnTo>
                  <a:lnTo>
                    <a:pt x="7299" y="270"/>
                  </a:lnTo>
                  <a:lnTo>
                    <a:pt x="7301" y="257"/>
                  </a:lnTo>
                  <a:lnTo>
                    <a:pt x="7302" y="245"/>
                  </a:lnTo>
                  <a:lnTo>
                    <a:pt x="7302" y="245"/>
                  </a:lnTo>
                  <a:lnTo>
                    <a:pt x="7301" y="232"/>
                  </a:lnTo>
                  <a:lnTo>
                    <a:pt x="7299" y="220"/>
                  </a:lnTo>
                  <a:lnTo>
                    <a:pt x="7296" y="207"/>
                  </a:lnTo>
                  <a:lnTo>
                    <a:pt x="7291" y="195"/>
                  </a:lnTo>
                  <a:lnTo>
                    <a:pt x="7285" y="183"/>
                  </a:lnTo>
                  <a:lnTo>
                    <a:pt x="7276" y="172"/>
                  </a:lnTo>
                  <a:lnTo>
                    <a:pt x="7268" y="161"/>
                  </a:lnTo>
                  <a:lnTo>
                    <a:pt x="7258" y="149"/>
                  </a:lnTo>
                  <a:lnTo>
                    <a:pt x="7246" y="139"/>
                  </a:lnTo>
                  <a:lnTo>
                    <a:pt x="7234" y="128"/>
                  </a:lnTo>
                  <a:lnTo>
                    <a:pt x="7220" y="118"/>
                  </a:lnTo>
                  <a:lnTo>
                    <a:pt x="7205" y="107"/>
                  </a:lnTo>
                  <a:lnTo>
                    <a:pt x="7189" y="98"/>
                  </a:lnTo>
                  <a:lnTo>
                    <a:pt x="7172" y="89"/>
                  </a:lnTo>
                  <a:lnTo>
                    <a:pt x="7155" y="80"/>
                  </a:lnTo>
                  <a:lnTo>
                    <a:pt x="7135" y="71"/>
                  </a:lnTo>
                  <a:lnTo>
                    <a:pt x="7115" y="64"/>
                  </a:lnTo>
                  <a:lnTo>
                    <a:pt x="7094" y="55"/>
                  </a:lnTo>
                  <a:lnTo>
                    <a:pt x="7074" y="48"/>
                  </a:lnTo>
                  <a:lnTo>
                    <a:pt x="7051" y="42"/>
                  </a:lnTo>
                  <a:lnTo>
                    <a:pt x="7028" y="36"/>
                  </a:lnTo>
                  <a:lnTo>
                    <a:pt x="7004" y="29"/>
                  </a:lnTo>
                  <a:lnTo>
                    <a:pt x="6979" y="24"/>
                  </a:lnTo>
                  <a:lnTo>
                    <a:pt x="6954" y="19"/>
                  </a:lnTo>
                  <a:lnTo>
                    <a:pt x="6902" y="11"/>
                  </a:lnTo>
                  <a:lnTo>
                    <a:pt x="6847" y="4"/>
                  </a:lnTo>
                  <a:lnTo>
                    <a:pt x="6819" y="2"/>
                  </a:lnTo>
                  <a:lnTo>
                    <a:pt x="6791" y="1"/>
                  </a:lnTo>
                  <a:lnTo>
                    <a:pt x="6762" y="0"/>
                  </a:lnTo>
                  <a:lnTo>
                    <a:pt x="6733" y="0"/>
                  </a:lnTo>
                  <a:lnTo>
                    <a:pt x="6733" y="0"/>
                  </a:lnTo>
                  <a:lnTo>
                    <a:pt x="6703" y="0"/>
                  </a:lnTo>
                  <a:lnTo>
                    <a:pt x="6674" y="1"/>
                  </a:lnTo>
                  <a:lnTo>
                    <a:pt x="6645" y="2"/>
                  </a:lnTo>
                  <a:lnTo>
                    <a:pt x="6617" y="4"/>
                  </a:lnTo>
                  <a:lnTo>
                    <a:pt x="6563" y="11"/>
                  </a:lnTo>
                  <a:lnTo>
                    <a:pt x="6510" y="19"/>
                  </a:lnTo>
                  <a:lnTo>
                    <a:pt x="6485" y="24"/>
                  </a:lnTo>
                  <a:lnTo>
                    <a:pt x="6460" y="29"/>
                  </a:lnTo>
                  <a:lnTo>
                    <a:pt x="6436" y="36"/>
                  </a:lnTo>
                  <a:lnTo>
                    <a:pt x="6413" y="42"/>
                  </a:lnTo>
                  <a:lnTo>
                    <a:pt x="6392" y="48"/>
                  </a:lnTo>
                  <a:lnTo>
                    <a:pt x="6370" y="55"/>
                  </a:lnTo>
                  <a:lnTo>
                    <a:pt x="6349" y="64"/>
                  </a:lnTo>
                  <a:lnTo>
                    <a:pt x="6329" y="71"/>
                  </a:lnTo>
                  <a:lnTo>
                    <a:pt x="6311" y="80"/>
                  </a:lnTo>
                  <a:lnTo>
                    <a:pt x="6292" y="89"/>
                  </a:lnTo>
                  <a:lnTo>
                    <a:pt x="6275" y="98"/>
                  </a:lnTo>
                  <a:lnTo>
                    <a:pt x="6260" y="107"/>
                  </a:lnTo>
                  <a:lnTo>
                    <a:pt x="6245" y="118"/>
                  </a:lnTo>
                  <a:lnTo>
                    <a:pt x="6231" y="128"/>
                  </a:lnTo>
                  <a:lnTo>
                    <a:pt x="6218" y="139"/>
                  </a:lnTo>
                  <a:lnTo>
                    <a:pt x="6207" y="149"/>
                  </a:lnTo>
                  <a:lnTo>
                    <a:pt x="6197" y="161"/>
                  </a:lnTo>
                  <a:lnTo>
                    <a:pt x="6188" y="172"/>
                  </a:lnTo>
                  <a:lnTo>
                    <a:pt x="6181" y="183"/>
                  </a:lnTo>
                  <a:lnTo>
                    <a:pt x="6173" y="195"/>
                  </a:lnTo>
                  <a:lnTo>
                    <a:pt x="6169" y="207"/>
                  </a:lnTo>
                  <a:lnTo>
                    <a:pt x="6165" y="220"/>
                  </a:lnTo>
                  <a:lnTo>
                    <a:pt x="6163" y="232"/>
                  </a:lnTo>
                  <a:lnTo>
                    <a:pt x="6162" y="245"/>
                  </a:lnTo>
                  <a:lnTo>
                    <a:pt x="6162" y="245"/>
                  </a:lnTo>
                  <a:close/>
                </a:path>
              </a:pathLst>
            </a:custGeom>
            <a:solidFill>
              <a:srgbClr val="F15A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7" name="Freeform 161"/>
            <p:cNvSpPr>
              <a:spLocks/>
            </p:cNvSpPr>
            <p:nvPr/>
          </p:nvSpPr>
          <p:spPr bwMode="auto">
            <a:xfrm flipH="1">
              <a:off x="800917" y="4977655"/>
              <a:ext cx="2480843" cy="469530"/>
            </a:xfrm>
            <a:custGeom>
              <a:avLst/>
              <a:gdLst>
                <a:gd name="T0" fmla="*/ 4 w 13458"/>
                <a:gd name="T1" fmla="*/ 40 h 3276"/>
                <a:gd name="T2" fmla="*/ 24 w 13458"/>
                <a:gd name="T3" fmla="*/ 116 h 3276"/>
                <a:gd name="T4" fmla="*/ 69 w 13458"/>
                <a:gd name="T5" fmla="*/ 202 h 3276"/>
                <a:gd name="T6" fmla="*/ 130 w 13458"/>
                <a:gd name="T7" fmla="*/ 262 h 3276"/>
                <a:gd name="T8" fmla="*/ 183 w 13458"/>
                <a:gd name="T9" fmla="*/ 298 h 3276"/>
                <a:gd name="T10" fmla="*/ 488 w 13458"/>
                <a:gd name="T11" fmla="*/ 446 h 3276"/>
                <a:gd name="T12" fmla="*/ 5091 w 13458"/>
                <a:gd name="T13" fmla="*/ 2620 h 3276"/>
                <a:gd name="T14" fmla="*/ 6027 w 13458"/>
                <a:gd name="T15" fmla="*/ 3055 h 3276"/>
                <a:gd name="T16" fmla="*/ 6189 w 13458"/>
                <a:gd name="T17" fmla="*/ 3104 h 3276"/>
                <a:gd name="T18" fmla="*/ 6431 w 13458"/>
                <a:gd name="T19" fmla="*/ 3153 h 3276"/>
                <a:gd name="T20" fmla="*/ 6612 w 13458"/>
                <a:gd name="T21" fmla="*/ 3171 h 3276"/>
                <a:gd name="T22" fmla="*/ 6728 w 13458"/>
                <a:gd name="T23" fmla="*/ 3174 h 3276"/>
                <a:gd name="T24" fmla="*/ 6845 w 13458"/>
                <a:gd name="T25" fmla="*/ 3171 h 3276"/>
                <a:gd name="T26" fmla="*/ 7026 w 13458"/>
                <a:gd name="T27" fmla="*/ 3153 h 3276"/>
                <a:gd name="T28" fmla="*/ 7268 w 13458"/>
                <a:gd name="T29" fmla="*/ 3104 h 3276"/>
                <a:gd name="T30" fmla="*/ 7431 w 13458"/>
                <a:gd name="T31" fmla="*/ 3055 h 3276"/>
                <a:gd name="T32" fmla="*/ 8366 w 13458"/>
                <a:gd name="T33" fmla="*/ 2620 h 3276"/>
                <a:gd name="T34" fmla="*/ 12968 w 13458"/>
                <a:gd name="T35" fmla="*/ 446 h 3276"/>
                <a:gd name="T36" fmla="*/ 13274 w 13458"/>
                <a:gd name="T37" fmla="*/ 298 h 3276"/>
                <a:gd name="T38" fmla="*/ 13328 w 13458"/>
                <a:gd name="T39" fmla="*/ 262 h 3276"/>
                <a:gd name="T40" fmla="*/ 13387 w 13458"/>
                <a:gd name="T41" fmla="*/ 202 h 3276"/>
                <a:gd name="T42" fmla="*/ 13434 w 13458"/>
                <a:gd name="T43" fmla="*/ 116 h 3276"/>
                <a:gd name="T44" fmla="*/ 13454 w 13458"/>
                <a:gd name="T45" fmla="*/ 40 h 3276"/>
                <a:gd name="T46" fmla="*/ 13457 w 13458"/>
                <a:gd name="T47" fmla="*/ 82 h 3276"/>
                <a:gd name="T48" fmla="*/ 13455 w 13458"/>
                <a:gd name="T49" fmla="*/ 134 h 3276"/>
                <a:gd name="T50" fmla="*/ 13431 w 13458"/>
                <a:gd name="T51" fmla="*/ 227 h 3276"/>
                <a:gd name="T52" fmla="*/ 13396 w 13458"/>
                <a:gd name="T53" fmla="*/ 292 h 3276"/>
                <a:gd name="T54" fmla="*/ 13352 w 13458"/>
                <a:gd name="T55" fmla="*/ 343 h 3276"/>
                <a:gd name="T56" fmla="*/ 13292 w 13458"/>
                <a:gd name="T57" fmla="*/ 389 h 3276"/>
                <a:gd name="T58" fmla="*/ 13176 w 13458"/>
                <a:gd name="T59" fmla="*/ 448 h 3276"/>
                <a:gd name="T60" fmla="*/ 10308 w 13458"/>
                <a:gd name="T61" fmla="*/ 1807 h 3276"/>
                <a:gd name="T62" fmla="*/ 7475 w 13458"/>
                <a:gd name="T63" fmla="*/ 3141 h 3276"/>
                <a:gd name="T64" fmla="*/ 7317 w 13458"/>
                <a:gd name="T65" fmla="*/ 3193 h 3276"/>
                <a:gd name="T66" fmla="*/ 7092 w 13458"/>
                <a:gd name="T67" fmla="*/ 3244 h 3276"/>
                <a:gd name="T68" fmla="*/ 6882 w 13458"/>
                <a:gd name="T69" fmla="*/ 3270 h 3276"/>
                <a:gd name="T70" fmla="*/ 6728 w 13458"/>
                <a:gd name="T71" fmla="*/ 3276 h 3276"/>
                <a:gd name="T72" fmla="*/ 6650 w 13458"/>
                <a:gd name="T73" fmla="*/ 3275 h 3276"/>
                <a:gd name="T74" fmla="*/ 6501 w 13458"/>
                <a:gd name="T75" fmla="*/ 3264 h 3276"/>
                <a:gd name="T76" fmla="*/ 6243 w 13458"/>
                <a:gd name="T77" fmla="*/ 3219 h 3276"/>
                <a:gd name="T78" fmla="*/ 6058 w 13458"/>
                <a:gd name="T79" fmla="*/ 3168 h 3276"/>
                <a:gd name="T80" fmla="*/ 5966 w 13458"/>
                <a:gd name="T81" fmla="*/ 3135 h 3276"/>
                <a:gd name="T82" fmla="*/ 1170 w 13458"/>
                <a:gd name="T83" fmla="*/ 872 h 3276"/>
                <a:gd name="T84" fmla="*/ 183 w 13458"/>
                <a:gd name="T85" fmla="*/ 400 h 3276"/>
                <a:gd name="T86" fmla="*/ 133 w 13458"/>
                <a:gd name="T87" fmla="*/ 367 h 3276"/>
                <a:gd name="T88" fmla="*/ 82 w 13458"/>
                <a:gd name="T89" fmla="*/ 318 h 3276"/>
                <a:gd name="T90" fmla="*/ 46 w 13458"/>
                <a:gd name="T91" fmla="*/ 265 h 3276"/>
                <a:gd name="T92" fmla="*/ 10 w 13458"/>
                <a:gd name="T93" fmla="*/ 177 h 3276"/>
                <a:gd name="T94" fmla="*/ 0 w 13458"/>
                <a:gd name="T95" fmla="*/ 91 h 3276"/>
                <a:gd name="T96" fmla="*/ 0 w 13458"/>
                <a:gd name="T97" fmla="*/ 0 h 3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458" h="3276">
                  <a:moveTo>
                    <a:pt x="0" y="0"/>
                  </a:moveTo>
                  <a:lnTo>
                    <a:pt x="0" y="0"/>
                  </a:lnTo>
                  <a:lnTo>
                    <a:pt x="2" y="25"/>
                  </a:lnTo>
                  <a:lnTo>
                    <a:pt x="4" y="40"/>
                  </a:lnTo>
                  <a:lnTo>
                    <a:pt x="7" y="57"/>
                  </a:lnTo>
                  <a:lnTo>
                    <a:pt x="11" y="76"/>
                  </a:lnTo>
                  <a:lnTo>
                    <a:pt x="16" y="95"/>
                  </a:lnTo>
                  <a:lnTo>
                    <a:pt x="24" y="116"/>
                  </a:lnTo>
                  <a:lnTo>
                    <a:pt x="32" y="137"/>
                  </a:lnTo>
                  <a:lnTo>
                    <a:pt x="42" y="158"/>
                  </a:lnTo>
                  <a:lnTo>
                    <a:pt x="55" y="180"/>
                  </a:lnTo>
                  <a:lnTo>
                    <a:pt x="69" y="202"/>
                  </a:lnTo>
                  <a:lnTo>
                    <a:pt x="87" y="223"/>
                  </a:lnTo>
                  <a:lnTo>
                    <a:pt x="107" y="242"/>
                  </a:lnTo>
                  <a:lnTo>
                    <a:pt x="117" y="253"/>
                  </a:lnTo>
                  <a:lnTo>
                    <a:pt x="130" y="262"/>
                  </a:lnTo>
                  <a:lnTo>
                    <a:pt x="141" y="272"/>
                  </a:lnTo>
                  <a:lnTo>
                    <a:pt x="155" y="280"/>
                  </a:lnTo>
                  <a:lnTo>
                    <a:pt x="168" y="289"/>
                  </a:lnTo>
                  <a:lnTo>
                    <a:pt x="183" y="298"/>
                  </a:lnTo>
                  <a:lnTo>
                    <a:pt x="183" y="298"/>
                  </a:lnTo>
                  <a:lnTo>
                    <a:pt x="217" y="314"/>
                  </a:lnTo>
                  <a:lnTo>
                    <a:pt x="281" y="346"/>
                  </a:lnTo>
                  <a:lnTo>
                    <a:pt x="488" y="446"/>
                  </a:lnTo>
                  <a:lnTo>
                    <a:pt x="1170" y="770"/>
                  </a:lnTo>
                  <a:lnTo>
                    <a:pt x="2100" y="1209"/>
                  </a:lnTo>
                  <a:lnTo>
                    <a:pt x="3149" y="1705"/>
                  </a:lnTo>
                  <a:lnTo>
                    <a:pt x="5091" y="2620"/>
                  </a:lnTo>
                  <a:lnTo>
                    <a:pt x="5966" y="3033"/>
                  </a:lnTo>
                  <a:lnTo>
                    <a:pt x="5966" y="3033"/>
                  </a:lnTo>
                  <a:lnTo>
                    <a:pt x="5982" y="3039"/>
                  </a:lnTo>
                  <a:lnTo>
                    <a:pt x="6027" y="3055"/>
                  </a:lnTo>
                  <a:lnTo>
                    <a:pt x="6058" y="3066"/>
                  </a:lnTo>
                  <a:lnTo>
                    <a:pt x="6096" y="3077"/>
                  </a:lnTo>
                  <a:lnTo>
                    <a:pt x="6140" y="3090"/>
                  </a:lnTo>
                  <a:lnTo>
                    <a:pt x="6189" y="3104"/>
                  </a:lnTo>
                  <a:lnTo>
                    <a:pt x="6243" y="3117"/>
                  </a:lnTo>
                  <a:lnTo>
                    <a:pt x="6301" y="3130"/>
                  </a:lnTo>
                  <a:lnTo>
                    <a:pt x="6364" y="3141"/>
                  </a:lnTo>
                  <a:lnTo>
                    <a:pt x="6431" y="3153"/>
                  </a:lnTo>
                  <a:lnTo>
                    <a:pt x="6501" y="3161"/>
                  </a:lnTo>
                  <a:lnTo>
                    <a:pt x="6537" y="3165"/>
                  </a:lnTo>
                  <a:lnTo>
                    <a:pt x="6574" y="3168"/>
                  </a:lnTo>
                  <a:lnTo>
                    <a:pt x="6612" y="3171"/>
                  </a:lnTo>
                  <a:lnTo>
                    <a:pt x="6650" y="3172"/>
                  </a:lnTo>
                  <a:lnTo>
                    <a:pt x="6689" y="3174"/>
                  </a:lnTo>
                  <a:lnTo>
                    <a:pt x="6728" y="3174"/>
                  </a:lnTo>
                  <a:lnTo>
                    <a:pt x="6728" y="3174"/>
                  </a:lnTo>
                  <a:lnTo>
                    <a:pt x="6728" y="3174"/>
                  </a:lnTo>
                  <a:lnTo>
                    <a:pt x="6768" y="3174"/>
                  </a:lnTo>
                  <a:lnTo>
                    <a:pt x="6806" y="3172"/>
                  </a:lnTo>
                  <a:lnTo>
                    <a:pt x="6845" y="3171"/>
                  </a:lnTo>
                  <a:lnTo>
                    <a:pt x="6882" y="3168"/>
                  </a:lnTo>
                  <a:lnTo>
                    <a:pt x="6920" y="3165"/>
                  </a:lnTo>
                  <a:lnTo>
                    <a:pt x="6956" y="3161"/>
                  </a:lnTo>
                  <a:lnTo>
                    <a:pt x="7026" y="3153"/>
                  </a:lnTo>
                  <a:lnTo>
                    <a:pt x="7092" y="3141"/>
                  </a:lnTo>
                  <a:lnTo>
                    <a:pt x="7156" y="3130"/>
                  </a:lnTo>
                  <a:lnTo>
                    <a:pt x="7214" y="3117"/>
                  </a:lnTo>
                  <a:lnTo>
                    <a:pt x="7268" y="3104"/>
                  </a:lnTo>
                  <a:lnTo>
                    <a:pt x="7317" y="3090"/>
                  </a:lnTo>
                  <a:lnTo>
                    <a:pt x="7360" y="3077"/>
                  </a:lnTo>
                  <a:lnTo>
                    <a:pt x="7399" y="3066"/>
                  </a:lnTo>
                  <a:lnTo>
                    <a:pt x="7431" y="3055"/>
                  </a:lnTo>
                  <a:lnTo>
                    <a:pt x="7475" y="3039"/>
                  </a:lnTo>
                  <a:lnTo>
                    <a:pt x="7490" y="3033"/>
                  </a:lnTo>
                  <a:lnTo>
                    <a:pt x="7490" y="3033"/>
                  </a:lnTo>
                  <a:lnTo>
                    <a:pt x="8366" y="2620"/>
                  </a:lnTo>
                  <a:lnTo>
                    <a:pt x="10308" y="1705"/>
                  </a:lnTo>
                  <a:lnTo>
                    <a:pt x="11357" y="1209"/>
                  </a:lnTo>
                  <a:lnTo>
                    <a:pt x="12287" y="770"/>
                  </a:lnTo>
                  <a:lnTo>
                    <a:pt x="12968" y="446"/>
                  </a:lnTo>
                  <a:lnTo>
                    <a:pt x="13176" y="346"/>
                  </a:lnTo>
                  <a:lnTo>
                    <a:pt x="13240" y="314"/>
                  </a:lnTo>
                  <a:lnTo>
                    <a:pt x="13274" y="298"/>
                  </a:lnTo>
                  <a:lnTo>
                    <a:pt x="13274" y="298"/>
                  </a:lnTo>
                  <a:lnTo>
                    <a:pt x="13288" y="289"/>
                  </a:lnTo>
                  <a:lnTo>
                    <a:pt x="13302" y="280"/>
                  </a:lnTo>
                  <a:lnTo>
                    <a:pt x="13315" y="272"/>
                  </a:lnTo>
                  <a:lnTo>
                    <a:pt x="13328" y="262"/>
                  </a:lnTo>
                  <a:lnTo>
                    <a:pt x="13339" y="253"/>
                  </a:lnTo>
                  <a:lnTo>
                    <a:pt x="13350" y="242"/>
                  </a:lnTo>
                  <a:lnTo>
                    <a:pt x="13370" y="223"/>
                  </a:lnTo>
                  <a:lnTo>
                    <a:pt x="13387" y="202"/>
                  </a:lnTo>
                  <a:lnTo>
                    <a:pt x="13402" y="180"/>
                  </a:lnTo>
                  <a:lnTo>
                    <a:pt x="13414" y="158"/>
                  </a:lnTo>
                  <a:lnTo>
                    <a:pt x="13425" y="137"/>
                  </a:lnTo>
                  <a:lnTo>
                    <a:pt x="13434" y="116"/>
                  </a:lnTo>
                  <a:lnTo>
                    <a:pt x="13440" y="95"/>
                  </a:lnTo>
                  <a:lnTo>
                    <a:pt x="13446" y="76"/>
                  </a:lnTo>
                  <a:lnTo>
                    <a:pt x="13451" y="57"/>
                  </a:lnTo>
                  <a:lnTo>
                    <a:pt x="13454" y="40"/>
                  </a:lnTo>
                  <a:lnTo>
                    <a:pt x="13455" y="25"/>
                  </a:lnTo>
                  <a:lnTo>
                    <a:pt x="13457" y="0"/>
                  </a:lnTo>
                  <a:lnTo>
                    <a:pt x="13457" y="0"/>
                  </a:lnTo>
                  <a:lnTo>
                    <a:pt x="13457" y="82"/>
                  </a:lnTo>
                  <a:lnTo>
                    <a:pt x="13457" y="82"/>
                  </a:lnTo>
                  <a:lnTo>
                    <a:pt x="13458" y="91"/>
                  </a:lnTo>
                  <a:lnTo>
                    <a:pt x="13456" y="116"/>
                  </a:lnTo>
                  <a:lnTo>
                    <a:pt x="13455" y="134"/>
                  </a:lnTo>
                  <a:lnTo>
                    <a:pt x="13452" y="154"/>
                  </a:lnTo>
                  <a:lnTo>
                    <a:pt x="13446" y="177"/>
                  </a:lnTo>
                  <a:lnTo>
                    <a:pt x="13439" y="201"/>
                  </a:lnTo>
                  <a:lnTo>
                    <a:pt x="13431" y="227"/>
                  </a:lnTo>
                  <a:lnTo>
                    <a:pt x="13418" y="253"/>
                  </a:lnTo>
                  <a:lnTo>
                    <a:pt x="13411" y="265"/>
                  </a:lnTo>
                  <a:lnTo>
                    <a:pt x="13404" y="279"/>
                  </a:lnTo>
                  <a:lnTo>
                    <a:pt x="13396" y="292"/>
                  </a:lnTo>
                  <a:lnTo>
                    <a:pt x="13386" y="305"/>
                  </a:lnTo>
                  <a:lnTo>
                    <a:pt x="13376" y="318"/>
                  </a:lnTo>
                  <a:lnTo>
                    <a:pt x="13364" y="331"/>
                  </a:lnTo>
                  <a:lnTo>
                    <a:pt x="13352" y="343"/>
                  </a:lnTo>
                  <a:lnTo>
                    <a:pt x="13338" y="356"/>
                  </a:lnTo>
                  <a:lnTo>
                    <a:pt x="13324" y="367"/>
                  </a:lnTo>
                  <a:lnTo>
                    <a:pt x="13308" y="379"/>
                  </a:lnTo>
                  <a:lnTo>
                    <a:pt x="13292" y="389"/>
                  </a:lnTo>
                  <a:lnTo>
                    <a:pt x="13274" y="400"/>
                  </a:lnTo>
                  <a:lnTo>
                    <a:pt x="13274" y="400"/>
                  </a:lnTo>
                  <a:lnTo>
                    <a:pt x="13240" y="416"/>
                  </a:lnTo>
                  <a:lnTo>
                    <a:pt x="13176" y="448"/>
                  </a:lnTo>
                  <a:lnTo>
                    <a:pt x="12968" y="548"/>
                  </a:lnTo>
                  <a:lnTo>
                    <a:pt x="12287" y="872"/>
                  </a:lnTo>
                  <a:lnTo>
                    <a:pt x="11357" y="1311"/>
                  </a:lnTo>
                  <a:lnTo>
                    <a:pt x="10308" y="1807"/>
                  </a:lnTo>
                  <a:lnTo>
                    <a:pt x="8366" y="2723"/>
                  </a:lnTo>
                  <a:lnTo>
                    <a:pt x="7490" y="3135"/>
                  </a:lnTo>
                  <a:lnTo>
                    <a:pt x="7490" y="3135"/>
                  </a:lnTo>
                  <a:lnTo>
                    <a:pt x="7475" y="3141"/>
                  </a:lnTo>
                  <a:lnTo>
                    <a:pt x="7431" y="3158"/>
                  </a:lnTo>
                  <a:lnTo>
                    <a:pt x="7399" y="3168"/>
                  </a:lnTo>
                  <a:lnTo>
                    <a:pt x="7360" y="3180"/>
                  </a:lnTo>
                  <a:lnTo>
                    <a:pt x="7317" y="3193"/>
                  </a:lnTo>
                  <a:lnTo>
                    <a:pt x="7268" y="3206"/>
                  </a:lnTo>
                  <a:lnTo>
                    <a:pt x="7214" y="3219"/>
                  </a:lnTo>
                  <a:lnTo>
                    <a:pt x="7156" y="3232"/>
                  </a:lnTo>
                  <a:lnTo>
                    <a:pt x="7092" y="3244"/>
                  </a:lnTo>
                  <a:lnTo>
                    <a:pt x="7026" y="3255"/>
                  </a:lnTo>
                  <a:lnTo>
                    <a:pt x="6956" y="3264"/>
                  </a:lnTo>
                  <a:lnTo>
                    <a:pt x="6920" y="3267"/>
                  </a:lnTo>
                  <a:lnTo>
                    <a:pt x="6882" y="3270"/>
                  </a:lnTo>
                  <a:lnTo>
                    <a:pt x="6845" y="3273"/>
                  </a:lnTo>
                  <a:lnTo>
                    <a:pt x="6806" y="3275"/>
                  </a:lnTo>
                  <a:lnTo>
                    <a:pt x="6768" y="3276"/>
                  </a:lnTo>
                  <a:lnTo>
                    <a:pt x="6728" y="3276"/>
                  </a:lnTo>
                  <a:lnTo>
                    <a:pt x="6728" y="3276"/>
                  </a:lnTo>
                  <a:lnTo>
                    <a:pt x="6728" y="3276"/>
                  </a:lnTo>
                  <a:lnTo>
                    <a:pt x="6689" y="3276"/>
                  </a:lnTo>
                  <a:lnTo>
                    <a:pt x="6650" y="3275"/>
                  </a:lnTo>
                  <a:lnTo>
                    <a:pt x="6612" y="3273"/>
                  </a:lnTo>
                  <a:lnTo>
                    <a:pt x="6574" y="3270"/>
                  </a:lnTo>
                  <a:lnTo>
                    <a:pt x="6537" y="3267"/>
                  </a:lnTo>
                  <a:lnTo>
                    <a:pt x="6501" y="3264"/>
                  </a:lnTo>
                  <a:lnTo>
                    <a:pt x="6431" y="3255"/>
                  </a:lnTo>
                  <a:lnTo>
                    <a:pt x="6364" y="3244"/>
                  </a:lnTo>
                  <a:lnTo>
                    <a:pt x="6301" y="3232"/>
                  </a:lnTo>
                  <a:lnTo>
                    <a:pt x="6243" y="3219"/>
                  </a:lnTo>
                  <a:lnTo>
                    <a:pt x="6189" y="3206"/>
                  </a:lnTo>
                  <a:lnTo>
                    <a:pt x="6140" y="3193"/>
                  </a:lnTo>
                  <a:lnTo>
                    <a:pt x="6096" y="3180"/>
                  </a:lnTo>
                  <a:lnTo>
                    <a:pt x="6058" y="3168"/>
                  </a:lnTo>
                  <a:lnTo>
                    <a:pt x="6027" y="3158"/>
                  </a:lnTo>
                  <a:lnTo>
                    <a:pt x="5982" y="3141"/>
                  </a:lnTo>
                  <a:lnTo>
                    <a:pt x="5966" y="3135"/>
                  </a:lnTo>
                  <a:lnTo>
                    <a:pt x="5966" y="3135"/>
                  </a:lnTo>
                  <a:lnTo>
                    <a:pt x="5091" y="2723"/>
                  </a:lnTo>
                  <a:lnTo>
                    <a:pt x="3149" y="1807"/>
                  </a:lnTo>
                  <a:lnTo>
                    <a:pt x="2100" y="1311"/>
                  </a:lnTo>
                  <a:lnTo>
                    <a:pt x="1170" y="872"/>
                  </a:lnTo>
                  <a:lnTo>
                    <a:pt x="488" y="548"/>
                  </a:lnTo>
                  <a:lnTo>
                    <a:pt x="281" y="448"/>
                  </a:lnTo>
                  <a:lnTo>
                    <a:pt x="217" y="416"/>
                  </a:lnTo>
                  <a:lnTo>
                    <a:pt x="183" y="400"/>
                  </a:lnTo>
                  <a:lnTo>
                    <a:pt x="183" y="400"/>
                  </a:lnTo>
                  <a:lnTo>
                    <a:pt x="165" y="389"/>
                  </a:lnTo>
                  <a:lnTo>
                    <a:pt x="148" y="379"/>
                  </a:lnTo>
                  <a:lnTo>
                    <a:pt x="133" y="367"/>
                  </a:lnTo>
                  <a:lnTo>
                    <a:pt x="118" y="356"/>
                  </a:lnTo>
                  <a:lnTo>
                    <a:pt x="105" y="343"/>
                  </a:lnTo>
                  <a:lnTo>
                    <a:pt x="93" y="331"/>
                  </a:lnTo>
                  <a:lnTo>
                    <a:pt x="82" y="318"/>
                  </a:lnTo>
                  <a:lnTo>
                    <a:pt x="72" y="305"/>
                  </a:lnTo>
                  <a:lnTo>
                    <a:pt x="62" y="292"/>
                  </a:lnTo>
                  <a:lnTo>
                    <a:pt x="53" y="279"/>
                  </a:lnTo>
                  <a:lnTo>
                    <a:pt x="46" y="265"/>
                  </a:lnTo>
                  <a:lnTo>
                    <a:pt x="38" y="253"/>
                  </a:lnTo>
                  <a:lnTo>
                    <a:pt x="27" y="227"/>
                  </a:lnTo>
                  <a:lnTo>
                    <a:pt x="17" y="201"/>
                  </a:lnTo>
                  <a:lnTo>
                    <a:pt x="10" y="177"/>
                  </a:lnTo>
                  <a:lnTo>
                    <a:pt x="6" y="154"/>
                  </a:lnTo>
                  <a:lnTo>
                    <a:pt x="3" y="134"/>
                  </a:lnTo>
                  <a:lnTo>
                    <a:pt x="1" y="116"/>
                  </a:lnTo>
                  <a:lnTo>
                    <a:pt x="0" y="91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47" name="Groupe 1319"/>
          <p:cNvGrpSpPr/>
          <p:nvPr/>
        </p:nvGrpSpPr>
        <p:grpSpPr>
          <a:xfrm>
            <a:off x="1632011" y="4404888"/>
            <a:ext cx="1026866" cy="799919"/>
            <a:chOff x="3088245" y="3403956"/>
            <a:chExt cx="1851279" cy="1442128"/>
          </a:xfrm>
        </p:grpSpPr>
        <p:sp>
          <p:nvSpPr>
            <p:cNvPr id="124" name="Freeform 84"/>
            <p:cNvSpPr>
              <a:spLocks/>
            </p:cNvSpPr>
            <p:nvPr/>
          </p:nvSpPr>
          <p:spPr bwMode="auto">
            <a:xfrm flipH="1">
              <a:off x="3088245" y="3403956"/>
              <a:ext cx="1456512" cy="1133837"/>
            </a:xfrm>
            <a:custGeom>
              <a:avLst/>
              <a:gdLst>
                <a:gd name="T0" fmla="*/ 7534 w 7898"/>
                <a:gd name="T1" fmla="*/ 7821 h 7916"/>
                <a:gd name="T2" fmla="*/ 7511 w 7898"/>
                <a:gd name="T3" fmla="*/ 7843 h 7916"/>
                <a:gd name="T4" fmla="*/ 7475 w 7898"/>
                <a:gd name="T5" fmla="*/ 7869 h 7916"/>
                <a:gd name="T6" fmla="*/ 7415 w 7898"/>
                <a:gd name="T7" fmla="*/ 7897 h 7916"/>
                <a:gd name="T8" fmla="*/ 7349 w 7898"/>
                <a:gd name="T9" fmla="*/ 7913 h 7916"/>
                <a:gd name="T10" fmla="*/ 7297 w 7898"/>
                <a:gd name="T11" fmla="*/ 7916 h 7916"/>
                <a:gd name="T12" fmla="*/ 7257 w 7898"/>
                <a:gd name="T13" fmla="*/ 7911 h 7916"/>
                <a:gd name="T14" fmla="*/ 814 w 7898"/>
                <a:gd name="T15" fmla="*/ 2963 h 7916"/>
                <a:gd name="T16" fmla="*/ 3 w 7898"/>
                <a:gd name="T17" fmla="*/ 635 h 7916"/>
                <a:gd name="T18" fmla="*/ 0 w 7898"/>
                <a:gd name="T19" fmla="*/ 587 h 7916"/>
                <a:gd name="T20" fmla="*/ 5 w 7898"/>
                <a:gd name="T21" fmla="*/ 529 h 7916"/>
                <a:gd name="T22" fmla="*/ 27 w 7898"/>
                <a:gd name="T23" fmla="*/ 460 h 7916"/>
                <a:gd name="T24" fmla="*/ 54 w 7898"/>
                <a:gd name="T25" fmla="*/ 412 h 7916"/>
                <a:gd name="T26" fmla="*/ 82 w 7898"/>
                <a:gd name="T27" fmla="*/ 375 h 7916"/>
                <a:gd name="T28" fmla="*/ 371 w 7898"/>
                <a:gd name="T29" fmla="*/ 87 h 7916"/>
                <a:gd name="T30" fmla="*/ 391 w 7898"/>
                <a:gd name="T31" fmla="*/ 68 h 7916"/>
                <a:gd name="T32" fmla="*/ 429 w 7898"/>
                <a:gd name="T33" fmla="*/ 40 h 7916"/>
                <a:gd name="T34" fmla="*/ 486 w 7898"/>
                <a:gd name="T35" fmla="*/ 13 h 7916"/>
                <a:gd name="T36" fmla="*/ 546 w 7898"/>
                <a:gd name="T37" fmla="*/ 0 h 7916"/>
                <a:gd name="T38" fmla="*/ 587 w 7898"/>
                <a:gd name="T39" fmla="*/ 0 h 7916"/>
                <a:gd name="T40" fmla="*/ 632 w 7898"/>
                <a:gd name="T41" fmla="*/ 8 h 7916"/>
                <a:gd name="T42" fmla="*/ 727 w 7898"/>
                <a:gd name="T43" fmla="*/ 40 h 7916"/>
                <a:gd name="T44" fmla="*/ 2210 w 7898"/>
                <a:gd name="T45" fmla="*/ 570 h 7916"/>
                <a:gd name="T46" fmla="*/ 5355 w 7898"/>
                <a:gd name="T47" fmla="*/ 1705 h 7916"/>
                <a:gd name="T48" fmla="*/ 5399 w 7898"/>
                <a:gd name="T49" fmla="*/ 1725 h 7916"/>
                <a:gd name="T50" fmla="*/ 5516 w 7898"/>
                <a:gd name="T51" fmla="*/ 1788 h 7916"/>
                <a:gd name="T52" fmla="*/ 5634 w 7898"/>
                <a:gd name="T53" fmla="*/ 1864 h 7916"/>
                <a:gd name="T54" fmla="*/ 5764 w 7898"/>
                <a:gd name="T55" fmla="*/ 1967 h 7916"/>
                <a:gd name="T56" fmla="*/ 5854 w 7898"/>
                <a:gd name="T57" fmla="*/ 2049 h 7916"/>
                <a:gd name="T58" fmla="*/ 5876 w 7898"/>
                <a:gd name="T59" fmla="*/ 2071 h 7916"/>
                <a:gd name="T60" fmla="*/ 5972 w 7898"/>
                <a:gd name="T61" fmla="*/ 2182 h 7916"/>
                <a:gd name="T62" fmla="*/ 6065 w 7898"/>
                <a:gd name="T63" fmla="*/ 2309 h 7916"/>
                <a:gd name="T64" fmla="*/ 6132 w 7898"/>
                <a:gd name="T65" fmla="*/ 2421 h 7916"/>
                <a:gd name="T66" fmla="*/ 6192 w 7898"/>
                <a:gd name="T67" fmla="*/ 2536 h 7916"/>
                <a:gd name="T68" fmla="*/ 6454 w 7898"/>
                <a:gd name="T69" fmla="*/ 3263 h 7916"/>
                <a:gd name="T70" fmla="*/ 7600 w 7898"/>
                <a:gd name="T71" fmla="*/ 6458 h 7916"/>
                <a:gd name="T72" fmla="*/ 7885 w 7898"/>
                <a:gd name="T73" fmla="*/ 7266 h 7916"/>
                <a:gd name="T74" fmla="*/ 7893 w 7898"/>
                <a:gd name="T75" fmla="*/ 7297 h 7916"/>
                <a:gd name="T76" fmla="*/ 7898 w 7898"/>
                <a:gd name="T77" fmla="*/ 7341 h 7916"/>
                <a:gd name="T78" fmla="*/ 7896 w 7898"/>
                <a:gd name="T79" fmla="*/ 7380 h 7916"/>
                <a:gd name="T80" fmla="*/ 7876 w 7898"/>
                <a:gd name="T81" fmla="*/ 7449 h 7916"/>
                <a:gd name="T82" fmla="*/ 7848 w 7898"/>
                <a:gd name="T83" fmla="*/ 7500 h 7916"/>
                <a:gd name="T84" fmla="*/ 7817 w 7898"/>
                <a:gd name="T85" fmla="*/ 7539 h 7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898" h="7916">
                  <a:moveTo>
                    <a:pt x="7811" y="7544"/>
                  </a:moveTo>
                  <a:lnTo>
                    <a:pt x="7811" y="7544"/>
                  </a:lnTo>
                  <a:lnTo>
                    <a:pt x="7534" y="7821"/>
                  </a:lnTo>
                  <a:lnTo>
                    <a:pt x="7534" y="7821"/>
                  </a:lnTo>
                  <a:lnTo>
                    <a:pt x="7522" y="7833"/>
                  </a:lnTo>
                  <a:lnTo>
                    <a:pt x="7511" y="7843"/>
                  </a:lnTo>
                  <a:lnTo>
                    <a:pt x="7499" y="7852"/>
                  </a:lnTo>
                  <a:lnTo>
                    <a:pt x="7487" y="7861"/>
                  </a:lnTo>
                  <a:lnTo>
                    <a:pt x="7475" y="7869"/>
                  </a:lnTo>
                  <a:lnTo>
                    <a:pt x="7462" y="7876"/>
                  </a:lnTo>
                  <a:lnTo>
                    <a:pt x="7438" y="7888"/>
                  </a:lnTo>
                  <a:lnTo>
                    <a:pt x="7415" y="7897"/>
                  </a:lnTo>
                  <a:lnTo>
                    <a:pt x="7391" y="7905"/>
                  </a:lnTo>
                  <a:lnTo>
                    <a:pt x="7370" y="7910"/>
                  </a:lnTo>
                  <a:lnTo>
                    <a:pt x="7349" y="7913"/>
                  </a:lnTo>
                  <a:lnTo>
                    <a:pt x="7330" y="7915"/>
                  </a:lnTo>
                  <a:lnTo>
                    <a:pt x="7312" y="7916"/>
                  </a:lnTo>
                  <a:lnTo>
                    <a:pt x="7297" y="7916"/>
                  </a:lnTo>
                  <a:lnTo>
                    <a:pt x="7283" y="7915"/>
                  </a:lnTo>
                  <a:lnTo>
                    <a:pt x="7265" y="7913"/>
                  </a:lnTo>
                  <a:lnTo>
                    <a:pt x="7257" y="7911"/>
                  </a:lnTo>
                  <a:lnTo>
                    <a:pt x="4941" y="7100"/>
                  </a:lnTo>
                  <a:lnTo>
                    <a:pt x="4146" y="3761"/>
                  </a:lnTo>
                  <a:lnTo>
                    <a:pt x="814" y="2963"/>
                  </a:lnTo>
                  <a:lnTo>
                    <a:pt x="4" y="641"/>
                  </a:lnTo>
                  <a:lnTo>
                    <a:pt x="4" y="641"/>
                  </a:lnTo>
                  <a:lnTo>
                    <a:pt x="3" y="635"/>
                  </a:lnTo>
                  <a:lnTo>
                    <a:pt x="1" y="615"/>
                  </a:lnTo>
                  <a:lnTo>
                    <a:pt x="0" y="603"/>
                  </a:lnTo>
                  <a:lnTo>
                    <a:pt x="0" y="587"/>
                  </a:lnTo>
                  <a:lnTo>
                    <a:pt x="0" y="569"/>
                  </a:lnTo>
                  <a:lnTo>
                    <a:pt x="2" y="549"/>
                  </a:lnTo>
                  <a:lnTo>
                    <a:pt x="5" y="529"/>
                  </a:lnTo>
                  <a:lnTo>
                    <a:pt x="10" y="507"/>
                  </a:lnTo>
                  <a:lnTo>
                    <a:pt x="17" y="484"/>
                  </a:lnTo>
                  <a:lnTo>
                    <a:pt x="27" y="460"/>
                  </a:lnTo>
                  <a:lnTo>
                    <a:pt x="39" y="436"/>
                  </a:lnTo>
                  <a:lnTo>
                    <a:pt x="46" y="423"/>
                  </a:lnTo>
                  <a:lnTo>
                    <a:pt x="54" y="412"/>
                  </a:lnTo>
                  <a:lnTo>
                    <a:pt x="62" y="399"/>
                  </a:lnTo>
                  <a:lnTo>
                    <a:pt x="71" y="388"/>
                  </a:lnTo>
                  <a:lnTo>
                    <a:pt x="82" y="375"/>
                  </a:lnTo>
                  <a:lnTo>
                    <a:pt x="93" y="364"/>
                  </a:lnTo>
                  <a:lnTo>
                    <a:pt x="93" y="364"/>
                  </a:lnTo>
                  <a:lnTo>
                    <a:pt x="371" y="87"/>
                  </a:lnTo>
                  <a:lnTo>
                    <a:pt x="371" y="87"/>
                  </a:lnTo>
                  <a:lnTo>
                    <a:pt x="375" y="81"/>
                  </a:lnTo>
                  <a:lnTo>
                    <a:pt x="391" y="68"/>
                  </a:lnTo>
                  <a:lnTo>
                    <a:pt x="401" y="59"/>
                  </a:lnTo>
                  <a:lnTo>
                    <a:pt x="413" y="49"/>
                  </a:lnTo>
                  <a:lnTo>
                    <a:pt x="429" y="40"/>
                  </a:lnTo>
                  <a:lnTo>
                    <a:pt x="446" y="31"/>
                  </a:lnTo>
                  <a:lnTo>
                    <a:pt x="465" y="21"/>
                  </a:lnTo>
                  <a:lnTo>
                    <a:pt x="486" y="13"/>
                  </a:lnTo>
                  <a:lnTo>
                    <a:pt x="509" y="7"/>
                  </a:lnTo>
                  <a:lnTo>
                    <a:pt x="533" y="2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3" y="0"/>
                  </a:lnTo>
                  <a:lnTo>
                    <a:pt x="587" y="0"/>
                  </a:lnTo>
                  <a:lnTo>
                    <a:pt x="602" y="2"/>
                  </a:lnTo>
                  <a:lnTo>
                    <a:pt x="616" y="5"/>
                  </a:lnTo>
                  <a:lnTo>
                    <a:pt x="632" y="8"/>
                  </a:lnTo>
                  <a:lnTo>
                    <a:pt x="647" y="12"/>
                  </a:lnTo>
                  <a:lnTo>
                    <a:pt x="647" y="12"/>
                  </a:lnTo>
                  <a:lnTo>
                    <a:pt x="727" y="40"/>
                  </a:lnTo>
                  <a:lnTo>
                    <a:pt x="898" y="99"/>
                  </a:lnTo>
                  <a:lnTo>
                    <a:pt x="1453" y="298"/>
                  </a:lnTo>
                  <a:lnTo>
                    <a:pt x="2210" y="570"/>
                  </a:lnTo>
                  <a:lnTo>
                    <a:pt x="3063" y="878"/>
                  </a:lnTo>
                  <a:lnTo>
                    <a:pt x="4643" y="1448"/>
                  </a:lnTo>
                  <a:lnTo>
                    <a:pt x="5355" y="1705"/>
                  </a:lnTo>
                  <a:lnTo>
                    <a:pt x="5355" y="1705"/>
                  </a:lnTo>
                  <a:lnTo>
                    <a:pt x="5366" y="1709"/>
                  </a:lnTo>
                  <a:lnTo>
                    <a:pt x="5399" y="1725"/>
                  </a:lnTo>
                  <a:lnTo>
                    <a:pt x="5450" y="1752"/>
                  </a:lnTo>
                  <a:lnTo>
                    <a:pt x="5482" y="1769"/>
                  </a:lnTo>
                  <a:lnTo>
                    <a:pt x="5516" y="1788"/>
                  </a:lnTo>
                  <a:lnTo>
                    <a:pt x="5553" y="1811"/>
                  </a:lnTo>
                  <a:lnTo>
                    <a:pt x="5593" y="1836"/>
                  </a:lnTo>
                  <a:lnTo>
                    <a:pt x="5634" y="1864"/>
                  </a:lnTo>
                  <a:lnTo>
                    <a:pt x="5677" y="1896"/>
                  </a:lnTo>
                  <a:lnTo>
                    <a:pt x="5721" y="1930"/>
                  </a:lnTo>
                  <a:lnTo>
                    <a:pt x="5764" y="1967"/>
                  </a:lnTo>
                  <a:lnTo>
                    <a:pt x="5809" y="2006"/>
                  </a:lnTo>
                  <a:lnTo>
                    <a:pt x="5832" y="2027"/>
                  </a:lnTo>
                  <a:lnTo>
                    <a:pt x="5854" y="2049"/>
                  </a:lnTo>
                  <a:lnTo>
                    <a:pt x="5854" y="2049"/>
                  </a:lnTo>
                  <a:lnTo>
                    <a:pt x="5854" y="2049"/>
                  </a:lnTo>
                  <a:lnTo>
                    <a:pt x="5876" y="2071"/>
                  </a:lnTo>
                  <a:lnTo>
                    <a:pt x="5896" y="2093"/>
                  </a:lnTo>
                  <a:lnTo>
                    <a:pt x="5936" y="2137"/>
                  </a:lnTo>
                  <a:lnTo>
                    <a:pt x="5972" y="2182"/>
                  </a:lnTo>
                  <a:lnTo>
                    <a:pt x="6006" y="2226"/>
                  </a:lnTo>
                  <a:lnTo>
                    <a:pt x="6037" y="2269"/>
                  </a:lnTo>
                  <a:lnTo>
                    <a:pt x="6065" y="2309"/>
                  </a:lnTo>
                  <a:lnTo>
                    <a:pt x="6090" y="2349"/>
                  </a:lnTo>
                  <a:lnTo>
                    <a:pt x="6113" y="2386"/>
                  </a:lnTo>
                  <a:lnTo>
                    <a:pt x="6132" y="2421"/>
                  </a:lnTo>
                  <a:lnTo>
                    <a:pt x="6150" y="2452"/>
                  </a:lnTo>
                  <a:lnTo>
                    <a:pt x="6176" y="2503"/>
                  </a:lnTo>
                  <a:lnTo>
                    <a:pt x="6192" y="2536"/>
                  </a:lnTo>
                  <a:lnTo>
                    <a:pt x="6197" y="2549"/>
                  </a:lnTo>
                  <a:lnTo>
                    <a:pt x="6197" y="2549"/>
                  </a:lnTo>
                  <a:lnTo>
                    <a:pt x="6454" y="3263"/>
                  </a:lnTo>
                  <a:lnTo>
                    <a:pt x="7022" y="4844"/>
                  </a:lnTo>
                  <a:lnTo>
                    <a:pt x="7329" y="5700"/>
                  </a:lnTo>
                  <a:lnTo>
                    <a:pt x="7600" y="6458"/>
                  </a:lnTo>
                  <a:lnTo>
                    <a:pt x="7798" y="7016"/>
                  </a:lnTo>
                  <a:lnTo>
                    <a:pt x="7858" y="7186"/>
                  </a:lnTo>
                  <a:lnTo>
                    <a:pt x="7885" y="7266"/>
                  </a:lnTo>
                  <a:lnTo>
                    <a:pt x="7885" y="7266"/>
                  </a:lnTo>
                  <a:lnTo>
                    <a:pt x="7889" y="7281"/>
                  </a:lnTo>
                  <a:lnTo>
                    <a:pt x="7893" y="7297"/>
                  </a:lnTo>
                  <a:lnTo>
                    <a:pt x="7896" y="7312"/>
                  </a:lnTo>
                  <a:lnTo>
                    <a:pt x="7897" y="7326"/>
                  </a:lnTo>
                  <a:lnTo>
                    <a:pt x="7898" y="7341"/>
                  </a:lnTo>
                  <a:lnTo>
                    <a:pt x="7898" y="7354"/>
                  </a:lnTo>
                  <a:lnTo>
                    <a:pt x="7897" y="7368"/>
                  </a:lnTo>
                  <a:lnTo>
                    <a:pt x="7896" y="7380"/>
                  </a:lnTo>
                  <a:lnTo>
                    <a:pt x="7890" y="7405"/>
                  </a:lnTo>
                  <a:lnTo>
                    <a:pt x="7884" y="7428"/>
                  </a:lnTo>
                  <a:lnTo>
                    <a:pt x="7876" y="7449"/>
                  </a:lnTo>
                  <a:lnTo>
                    <a:pt x="7868" y="7468"/>
                  </a:lnTo>
                  <a:lnTo>
                    <a:pt x="7858" y="7486"/>
                  </a:lnTo>
                  <a:lnTo>
                    <a:pt x="7848" y="7500"/>
                  </a:lnTo>
                  <a:lnTo>
                    <a:pt x="7838" y="7513"/>
                  </a:lnTo>
                  <a:lnTo>
                    <a:pt x="7830" y="7524"/>
                  </a:lnTo>
                  <a:lnTo>
                    <a:pt x="7817" y="7539"/>
                  </a:lnTo>
                  <a:lnTo>
                    <a:pt x="7811" y="7544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5" name="Freeform 85"/>
            <p:cNvSpPr>
              <a:spLocks/>
            </p:cNvSpPr>
            <p:nvPr/>
          </p:nvSpPr>
          <p:spPr bwMode="auto">
            <a:xfrm flipH="1">
              <a:off x="3088245" y="3403956"/>
              <a:ext cx="1456512" cy="1133837"/>
            </a:xfrm>
            <a:custGeom>
              <a:avLst/>
              <a:gdLst>
                <a:gd name="T0" fmla="*/ 7534 w 7898"/>
                <a:gd name="T1" fmla="*/ 7821 h 7916"/>
                <a:gd name="T2" fmla="*/ 7511 w 7898"/>
                <a:gd name="T3" fmla="*/ 7843 h 7916"/>
                <a:gd name="T4" fmla="*/ 7475 w 7898"/>
                <a:gd name="T5" fmla="*/ 7869 h 7916"/>
                <a:gd name="T6" fmla="*/ 7415 w 7898"/>
                <a:gd name="T7" fmla="*/ 7897 h 7916"/>
                <a:gd name="T8" fmla="*/ 7349 w 7898"/>
                <a:gd name="T9" fmla="*/ 7913 h 7916"/>
                <a:gd name="T10" fmla="*/ 7297 w 7898"/>
                <a:gd name="T11" fmla="*/ 7916 h 7916"/>
                <a:gd name="T12" fmla="*/ 7257 w 7898"/>
                <a:gd name="T13" fmla="*/ 7911 h 7916"/>
                <a:gd name="T14" fmla="*/ 814 w 7898"/>
                <a:gd name="T15" fmla="*/ 2963 h 7916"/>
                <a:gd name="T16" fmla="*/ 3 w 7898"/>
                <a:gd name="T17" fmla="*/ 635 h 7916"/>
                <a:gd name="T18" fmla="*/ 0 w 7898"/>
                <a:gd name="T19" fmla="*/ 587 h 7916"/>
                <a:gd name="T20" fmla="*/ 5 w 7898"/>
                <a:gd name="T21" fmla="*/ 529 h 7916"/>
                <a:gd name="T22" fmla="*/ 27 w 7898"/>
                <a:gd name="T23" fmla="*/ 460 h 7916"/>
                <a:gd name="T24" fmla="*/ 54 w 7898"/>
                <a:gd name="T25" fmla="*/ 412 h 7916"/>
                <a:gd name="T26" fmla="*/ 82 w 7898"/>
                <a:gd name="T27" fmla="*/ 375 h 7916"/>
                <a:gd name="T28" fmla="*/ 371 w 7898"/>
                <a:gd name="T29" fmla="*/ 87 h 7916"/>
                <a:gd name="T30" fmla="*/ 391 w 7898"/>
                <a:gd name="T31" fmla="*/ 68 h 7916"/>
                <a:gd name="T32" fmla="*/ 429 w 7898"/>
                <a:gd name="T33" fmla="*/ 40 h 7916"/>
                <a:gd name="T34" fmla="*/ 486 w 7898"/>
                <a:gd name="T35" fmla="*/ 13 h 7916"/>
                <a:gd name="T36" fmla="*/ 546 w 7898"/>
                <a:gd name="T37" fmla="*/ 0 h 7916"/>
                <a:gd name="T38" fmla="*/ 587 w 7898"/>
                <a:gd name="T39" fmla="*/ 0 h 7916"/>
                <a:gd name="T40" fmla="*/ 632 w 7898"/>
                <a:gd name="T41" fmla="*/ 8 h 7916"/>
                <a:gd name="T42" fmla="*/ 727 w 7898"/>
                <a:gd name="T43" fmla="*/ 40 h 7916"/>
                <a:gd name="T44" fmla="*/ 2210 w 7898"/>
                <a:gd name="T45" fmla="*/ 570 h 7916"/>
                <a:gd name="T46" fmla="*/ 5355 w 7898"/>
                <a:gd name="T47" fmla="*/ 1705 h 7916"/>
                <a:gd name="T48" fmla="*/ 5399 w 7898"/>
                <a:gd name="T49" fmla="*/ 1725 h 7916"/>
                <a:gd name="T50" fmla="*/ 5516 w 7898"/>
                <a:gd name="T51" fmla="*/ 1788 h 7916"/>
                <a:gd name="T52" fmla="*/ 5634 w 7898"/>
                <a:gd name="T53" fmla="*/ 1864 h 7916"/>
                <a:gd name="T54" fmla="*/ 5764 w 7898"/>
                <a:gd name="T55" fmla="*/ 1967 h 7916"/>
                <a:gd name="T56" fmla="*/ 5854 w 7898"/>
                <a:gd name="T57" fmla="*/ 2049 h 7916"/>
                <a:gd name="T58" fmla="*/ 5876 w 7898"/>
                <a:gd name="T59" fmla="*/ 2071 h 7916"/>
                <a:gd name="T60" fmla="*/ 5972 w 7898"/>
                <a:gd name="T61" fmla="*/ 2182 h 7916"/>
                <a:gd name="T62" fmla="*/ 6065 w 7898"/>
                <a:gd name="T63" fmla="*/ 2309 h 7916"/>
                <a:gd name="T64" fmla="*/ 6132 w 7898"/>
                <a:gd name="T65" fmla="*/ 2421 h 7916"/>
                <a:gd name="T66" fmla="*/ 6192 w 7898"/>
                <a:gd name="T67" fmla="*/ 2536 h 7916"/>
                <a:gd name="T68" fmla="*/ 6454 w 7898"/>
                <a:gd name="T69" fmla="*/ 3263 h 7916"/>
                <a:gd name="T70" fmla="*/ 7600 w 7898"/>
                <a:gd name="T71" fmla="*/ 6458 h 7916"/>
                <a:gd name="T72" fmla="*/ 7885 w 7898"/>
                <a:gd name="T73" fmla="*/ 7266 h 7916"/>
                <a:gd name="T74" fmla="*/ 7893 w 7898"/>
                <a:gd name="T75" fmla="*/ 7297 h 7916"/>
                <a:gd name="T76" fmla="*/ 7898 w 7898"/>
                <a:gd name="T77" fmla="*/ 7341 h 7916"/>
                <a:gd name="T78" fmla="*/ 7896 w 7898"/>
                <a:gd name="T79" fmla="*/ 7380 h 7916"/>
                <a:gd name="T80" fmla="*/ 7876 w 7898"/>
                <a:gd name="T81" fmla="*/ 7449 h 7916"/>
                <a:gd name="T82" fmla="*/ 7848 w 7898"/>
                <a:gd name="T83" fmla="*/ 7500 h 7916"/>
                <a:gd name="T84" fmla="*/ 7817 w 7898"/>
                <a:gd name="T85" fmla="*/ 7539 h 79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898" h="7916">
                  <a:moveTo>
                    <a:pt x="7811" y="7544"/>
                  </a:moveTo>
                  <a:lnTo>
                    <a:pt x="7811" y="7544"/>
                  </a:lnTo>
                  <a:lnTo>
                    <a:pt x="7534" y="7821"/>
                  </a:lnTo>
                  <a:lnTo>
                    <a:pt x="7534" y="7821"/>
                  </a:lnTo>
                  <a:lnTo>
                    <a:pt x="7522" y="7833"/>
                  </a:lnTo>
                  <a:lnTo>
                    <a:pt x="7511" y="7843"/>
                  </a:lnTo>
                  <a:lnTo>
                    <a:pt x="7499" y="7852"/>
                  </a:lnTo>
                  <a:lnTo>
                    <a:pt x="7487" y="7861"/>
                  </a:lnTo>
                  <a:lnTo>
                    <a:pt x="7475" y="7869"/>
                  </a:lnTo>
                  <a:lnTo>
                    <a:pt x="7462" y="7876"/>
                  </a:lnTo>
                  <a:lnTo>
                    <a:pt x="7438" y="7888"/>
                  </a:lnTo>
                  <a:lnTo>
                    <a:pt x="7415" y="7897"/>
                  </a:lnTo>
                  <a:lnTo>
                    <a:pt x="7391" y="7905"/>
                  </a:lnTo>
                  <a:lnTo>
                    <a:pt x="7370" y="7910"/>
                  </a:lnTo>
                  <a:lnTo>
                    <a:pt x="7349" y="7913"/>
                  </a:lnTo>
                  <a:lnTo>
                    <a:pt x="7330" y="7915"/>
                  </a:lnTo>
                  <a:lnTo>
                    <a:pt x="7312" y="7916"/>
                  </a:lnTo>
                  <a:lnTo>
                    <a:pt x="7297" y="7916"/>
                  </a:lnTo>
                  <a:lnTo>
                    <a:pt x="7283" y="7915"/>
                  </a:lnTo>
                  <a:lnTo>
                    <a:pt x="7265" y="7913"/>
                  </a:lnTo>
                  <a:lnTo>
                    <a:pt x="7257" y="7911"/>
                  </a:lnTo>
                  <a:lnTo>
                    <a:pt x="4941" y="7100"/>
                  </a:lnTo>
                  <a:lnTo>
                    <a:pt x="4146" y="3761"/>
                  </a:lnTo>
                  <a:lnTo>
                    <a:pt x="814" y="2963"/>
                  </a:lnTo>
                  <a:lnTo>
                    <a:pt x="4" y="641"/>
                  </a:lnTo>
                  <a:lnTo>
                    <a:pt x="4" y="641"/>
                  </a:lnTo>
                  <a:lnTo>
                    <a:pt x="3" y="635"/>
                  </a:lnTo>
                  <a:lnTo>
                    <a:pt x="1" y="615"/>
                  </a:lnTo>
                  <a:lnTo>
                    <a:pt x="0" y="603"/>
                  </a:lnTo>
                  <a:lnTo>
                    <a:pt x="0" y="587"/>
                  </a:lnTo>
                  <a:lnTo>
                    <a:pt x="0" y="569"/>
                  </a:lnTo>
                  <a:lnTo>
                    <a:pt x="2" y="549"/>
                  </a:lnTo>
                  <a:lnTo>
                    <a:pt x="5" y="529"/>
                  </a:lnTo>
                  <a:lnTo>
                    <a:pt x="10" y="507"/>
                  </a:lnTo>
                  <a:lnTo>
                    <a:pt x="17" y="484"/>
                  </a:lnTo>
                  <a:lnTo>
                    <a:pt x="27" y="460"/>
                  </a:lnTo>
                  <a:lnTo>
                    <a:pt x="39" y="436"/>
                  </a:lnTo>
                  <a:lnTo>
                    <a:pt x="46" y="423"/>
                  </a:lnTo>
                  <a:lnTo>
                    <a:pt x="54" y="412"/>
                  </a:lnTo>
                  <a:lnTo>
                    <a:pt x="62" y="399"/>
                  </a:lnTo>
                  <a:lnTo>
                    <a:pt x="71" y="388"/>
                  </a:lnTo>
                  <a:lnTo>
                    <a:pt x="82" y="375"/>
                  </a:lnTo>
                  <a:lnTo>
                    <a:pt x="93" y="364"/>
                  </a:lnTo>
                  <a:lnTo>
                    <a:pt x="93" y="364"/>
                  </a:lnTo>
                  <a:lnTo>
                    <a:pt x="371" y="87"/>
                  </a:lnTo>
                  <a:lnTo>
                    <a:pt x="371" y="87"/>
                  </a:lnTo>
                  <a:lnTo>
                    <a:pt x="375" y="81"/>
                  </a:lnTo>
                  <a:lnTo>
                    <a:pt x="391" y="68"/>
                  </a:lnTo>
                  <a:lnTo>
                    <a:pt x="401" y="59"/>
                  </a:lnTo>
                  <a:lnTo>
                    <a:pt x="413" y="49"/>
                  </a:lnTo>
                  <a:lnTo>
                    <a:pt x="429" y="40"/>
                  </a:lnTo>
                  <a:lnTo>
                    <a:pt x="446" y="31"/>
                  </a:lnTo>
                  <a:lnTo>
                    <a:pt x="465" y="21"/>
                  </a:lnTo>
                  <a:lnTo>
                    <a:pt x="486" y="13"/>
                  </a:lnTo>
                  <a:lnTo>
                    <a:pt x="509" y="7"/>
                  </a:lnTo>
                  <a:lnTo>
                    <a:pt x="533" y="2"/>
                  </a:lnTo>
                  <a:lnTo>
                    <a:pt x="546" y="0"/>
                  </a:lnTo>
                  <a:lnTo>
                    <a:pt x="559" y="0"/>
                  </a:lnTo>
                  <a:lnTo>
                    <a:pt x="573" y="0"/>
                  </a:lnTo>
                  <a:lnTo>
                    <a:pt x="587" y="0"/>
                  </a:lnTo>
                  <a:lnTo>
                    <a:pt x="602" y="2"/>
                  </a:lnTo>
                  <a:lnTo>
                    <a:pt x="616" y="5"/>
                  </a:lnTo>
                  <a:lnTo>
                    <a:pt x="632" y="8"/>
                  </a:lnTo>
                  <a:lnTo>
                    <a:pt x="647" y="12"/>
                  </a:lnTo>
                  <a:lnTo>
                    <a:pt x="647" y="12"/>
                  </a:lnTo>
                  <a:lnTo>
                    <a:pt x="727" y="40"/>
                  </a:lnTo>
                  <a:lnTo>
                    <a:pt x="898" y="99"/>
                  </a:lnTo>
                  <a:lnTo>
                    <a:pt x="1453" y="298"/>
                  </a:lnTo>
                  <a:lnTo>
                    <a:pt x="2210" y="570"/>
                  </a:lnTo>
                  <a:lnTo>
                    <a:pt x="3063" y="878"/>
                  </a:lnTo>
                  <a:lnTo>
                    <a:pt x="4643" y="1448"/>
                  </a:lnTo>
                  <a:lnTo>
                    <a:pt x="5355" y="1705"/>
                  </a:lnTo>
                  <a:lnTo>
                    <a:pt x="5355" y="1705"/>
                  </a:lnTo>
                  <a:lnTo>
                    <a:pt x="5366" y="1709"/>
                  </a:lnTo>
                  <a:lnTo>
                    <a:pt x="5399" y="1725"/>
                  </a:lnTo>
                  <a:lnTo>
                    <a:pt x="5450" y="1752"/>
                  </a:lnTo>
                  <a:lnTo>
                    <a:pt x="5482" y="1769"/>
                  </a:lnTo>
                  <a:lnTo>
                    <a:pt x="5516" y="1788"/>
                  </a:lnTo>
                  <a:lnTo>
                    <a:pt x="5553" y="1811"/>
                  </a:lnTo>
                  <a:lnTo>
                    <a:pt x="5593" y="1836"/>
                  </a:lnTo>
                  <a:lnTo>
                    <a:pt x="5634" y="1864"/>
                  </a:lnTo>
                  <a:lnTo>
                    <a:pt x="5677" y="1896"/>
                  </a:lnTo>
                  <a:lnTo>
                    <a:pt x="5721" y="1930"/>
                  </a:lnTo>
                  <a:lnTo>
                    <a:pt x="5764" y="1967"/>
                  </a:lnTo>
                  <a:lnTo>
                    <a:pt x="5809" y="2006"/>
                  </a:lnTo>
                  <a:lnTo>
                    <a:pt x="5832" y="2027"/>
                  </a:lnTo>
                  <a:lnTo>
                    <a:pt x="5854" y="2049"/>
                  </a:lnTo>
                  <a:lnTo>
                    <a:pt x="5854" y="2049"/>
                  </a:lnTo>
                  <a:lnTo>
                    <a:pt x="5854" y="2049"/>
                  </a:lnTo>
                  <a:lnTo>
                    <a:pt x="5876" y="2071"/>
                  </a:lnTo>
                  <a:lnTo>
                    <a:pt x="5896" y="2093"/>
                  </a:lnTo>
                  <a:lnTo>
                    <a:pt x="5936" y="2137"/>
                  </a:lnTo>
                  <a:lnTo>
                    <a:pt x="5972" y="2182"/>
                  </a:lnTo>
                  <a:lnTo>
                    <a:pt x="6006" y="2226"/>
                  </a:lnTo>
                  <a:lnTo>
                    <a:pt x="6037" y="2269"/>
                  </a:lnTo>
                  <a:lnTo>
                    <a:pt x="6065" y="2309"/>
                  </a:lnTo>
                  <a:lnTo>
                    <a:pt x="6090" y="2349"/>
                  </a:lnTo>
                  <a:lnTo>
                    <a:pt x="6113" y="2386"/>
                  </a:lnTo>
                  <a:lnTo>
                    <a:pt x="6132" y="2421"/>
                  </a:lnTo>
                  <a:lnTo>
                    <a:pt x="6150" y="2452"/>
                  </a:lnTo>
                  <a:lnTo>
                    <a:pt x="6176" y="2503"/>
                  </a:lnTo>
                  <a:lnTo>
                    <a:pt x="6192" y="2536"/>
                  </a:lnTo>
                  <a:lnTo>
                    <a:pt x="6197" y="2549"/>
                  </a:lnTo>
                  <a:lnTo>
                    <a:pt x="6197" y="2549"/>
                  </a:lnTo>
                  <a:lnTo>
                    <a:pt x="6454" y="3263"/>
                  </a:lnTo>
                  <a:lnTo>
                    <a:pt x="7022" y="4844"/>
                  </a:lnTo>
                  <a:lnTo>
                    <a:pt x="7329" y="5700"/>
                  </a:lnTo>
                  <a:lnTo>
                    <a:pt x="7600" y="6458"/>
                  </a:lnTo>
                  <a:lnTo>
                    <a:pt x="7798" y="7016"/>
                  </a:lnTo>
                  <a:lnTo>
                    <a:pt x="7858" y="7186"/>
                  </a:lnTo>
                  <a:lnTo>
                    <a:pt x="7885" y="7266"/>
                  </a:lnTo>
                  <a:lnTo>
                    <a:pt x="7885" y="7266"/>
                  </a:lnTo>
                  <a:lnTo>
                    <a:pt x="7889" y="7281"/>
                  </a:lnTo>
                  <a:lnTo>
                    <a:pt x="7893" y="7297"/>
                  </a:lnTo>
                  <a:lnTo>
                    <a:pt x="7896" y="7312"/>
                  </a:lnTo>
                  <a:lnTo>
                    <a:pt x="7897" y="7326"/>
                  </a:lnTo>
                  <a:lnTo>
                    <a:pt x="7898" y="7341"/>
                  </a:lnTo>
                  <a:lnTo>
                    <a:pt x="7898" y="7354"/>
                  </a:lnTo>
                  <a:lnTo>
                    <a:pt x="7897" y="7368"/>
                  </a:lnTo>
                  <a:lnTo>
                    <a:pt x="7896" y="7380"/>
                  </a:lnTo>
                  <a:lnTo>
                    <a:pt x="7890" y="7405"/>
                  </a:lnTo>
                  <a:lnTo>
                    <a:pt x="7884" y="7428"/>
                  </a:lnTo>
                  <a:lnTo>
                    <a:pt x="7876" y="7449"/>
                  </a:lnTo>
                  <a:lnTo>
                    <a:pt x="7868" y="7468"/>
                  </a:lnTo>
                  <a:lnTo>
                    <a:pt x="7858" y="7486"/>
                  </a:lnTo>
                  <a:lnTo>
                    <a:pt x="7848" y="7500"/>
                  </a:lnTo>
                  <a:lnTo>
                    <a:pt x="7838" y="7513"/>
                  </a:lnTo>
                  <a:lnTo>
                    <a:pt x="7830" y="7524"/>
                  </a:lnTo>
                  <a:lnTo>
                    <a:pt x="7817" y="7539"/>
                  </a:lnTo>
                  <a:lnTo>
                    <a:pt x="7811" y="754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6" name="Freeform 86"/>
            <p:cNvSpPr>
              <a:spLocks/>
            </p:cNvSpPr>
            <p:nvPr/>
          </p:nvSpPr>
          <p:spPr bwMode="auto">
            <a:xfrm flipH="1">
              <a:off x="3995179" y="3670969"/>
              <a:ext cx="176743" cy="55467"/>
            </a:xfrm>
            <a:custGeom>
              <a:avLst/>
              <a:gdLst>
                <a:gd name="T0" fmla="*/ 958 w 958"/>
                <a:gd name="T1" fmla="*/ 382 h 382"/>
                <a:gd name="T2" fmla="*/ 958 w 958"/>
                <a:gd name="T3" fmla="*/ 382 h 382"/>
                <a:gd name="T4" fmla="*/ 907 w 958"/>
                <a:gd name="T5" fmla="*/ 355 h 382"/>
                <a:gd name="T6" fmla="*/ 855 w 958"/>
                <a:gd name="T7" fmla="*/ 329 h 382"/>
                <a:gd name="T8" fmla="*/ 801 w 958"/>
                <a:gd name="T9" fmla="*/ 302 h 382"/>
                <a:gd name="T10" fmla="*/ 747 w 958"/>
                <a:gd name="T11" fmla="*/ 276 h 382"/>
                <a:gd name="T12" fmla="*/ 691 w 958"/>
                <a:gd name="T13" fmla="*/ 250 h 382"/>
                <a:gd name="T14" fmla="*/ 633 w 958"/>
                <a:gd name="T15" fmla="*/ 225 h 382"/>
                <a:gd name="T16" fmla="*/ 575 w 958"/>
                <a:gd name="T17" fmla="*/ 199 h 382"/>
                <a:gd name="T18" fmla="*/ 515 w 958"/>
                <a:gd name="T19" fmla="*/ 174 h 382"/>
                <a:gd name="T20" fmla="*/ 454 w 958"/>
                <a:gd name="T21" fmla="*/ 150 h 382"/>
                <a:gd name="T22" fmla="*/ 393 w 958"/>
                <a:gd name="T23" fmla="*/ 126 h 382"/>
                <a:gd name="T24" fmla="*/ 329 w 958"/>
                <a:gd name="T25" fmla="*/ 103 h 382"/>
                <a:gd name="T26" fmla="*/ 266 w 958"/>
                <a:gd name="T27" fmla="*/ 81 h 382"/>
                <a:gd name="T28" fmla="*/ 200 w 958"/>
                <a:gd name="T29" fmla="*/ 59 h 382"/>
                <a:gd name="T30" fmla="*/ 135 w 958"/>
                <a:gd name="T31" fmla="*/ 38 h 382"/>
                <a:gd name="T32" fmla="*/ 67 w 958"/>
                <a:gd name="T33" fmla="*/ 18 h 382"/>
                <a:gd name="T34" fmla="*/ 0 w 958"/>
                <a:gd name="T35" fmla="*/ 0 h 382"/>
                <a:gd name="T36" fmla="*/ 0 w 958"/>
                <a:gd name="T37" fmla="*/ 0 h 382"/>
                <a:gd name="T38" fmla="*/ 54 w 958"/>
                <a:gd name="T39" fmla="*/ 11 h 382"/>
                <a:gd name="T40" fmla="*/ 109 w 958"/>
                <a:gd name="T41" fmla="*/ 24 h 382"/>
                <a:gd name="T42" fmla="*/ 165 w 958"/>
                <a:gd name="T43" fmla="*/ 38 h 382"/>
                <a:gd name="T44" fmla="*/ 221 w 958"/>
                <a:gd name="T45" fmla="*/ 56 h 382"/>
                <a:gd name="T46" fmla="*/ 279 w 958"/>
                <a:gd name="T47" fmla="*/ 75 h 382"/>
                <a:gd name="T48" fmla="*/ 338 w 958"/>
                <a:gd name="T49" fmla="*/ 96 h 382"/>
                <a:gd name="T50" fmla="*/ 397 w 958"/>
                <a:gd name="T51" fmla="*/ 117 h 382"/>
                <a:gd name="T52" fmla="*/ 456 w 958"/>
                <a:gd name="T53" fmla="*/ 141 h 382"/>
                <a:gd name="T54" fmla="*/ 517 w 958"/>
                <a:gd name="T55" fmla="*/ 167 h 382"/>
                <a:gd name="T56" fmla="*/ 578 w 958"/>
                <a:gd name="T57" fmla="*/ 193 h 382"/>
                <a:gd name="T58" fmla="*/ 640 w 958"/>
                <a:gd name="T59" fmla="*/ 223 h 382"/>
                <a:gd name="T60" fmla="*/ 703 w 958"/>
                <a:gd name="T61" fmla="*/ 252 h 382"/>
                <a:gd name="T62" fmla="*/ 766 w 958"/>
                <a:gd name="T63" fmla="*/ 283 h 382"/>
                <a:gd name="T64" fmla="*/ 829 w 958"/>
                <a:gd name="T65" fmla="*/ 314 h 382"/>
                <a:gd name="T66" fmla="*/ 894 w 958"/>
                <a:gd name="T67" fmla="*/ 348 h 382"/>
                <a:gd name="T68" fmla="*/ 958 w 958"/>
                <a:gd name="T69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58" h="382">
                  <a:moveTo>
                    <a:pt x="958" y="382"/>
                  </a:moveTo>
                  <a:lnTo>
                    <a:pt x="958" y="382"/>
                  </a:lnTo>
                  <a:lnTo>
                    <a:pt x="907" y="355"/>
                  </a:lnTo>
                  <a:lnTo>
                    <a:pt x="855" y="329"/>
                  </a:lnTo>
                  <a:lnTo>
                    <a:pt x="801" y="302"/>
                  </a:lnTo>
                  <a:lnTo>
                    <a:pt x="747" y="276"/>
                  </a:lnTo>
                  <a:lnTo>
                    <a:pt x="691" y="250"/>
                  </a:lnTo>
                  <a:lnTo>
                    <a:pt x="633" y="225"/>
                  </a:lnTo>
                  <a:lnTo>
                    <a:pt x="575" y="199"/>
                  </a:lnTo>
                  <a:lnTo>
                    <a:pt x="515" y="174"/>
                  </a:lnTo>
                  <a:lnTo>
                    <a:pt x="454" y="150"/>
                  </a:lnTo>
                  <a:lnTo>
                    <a:pt x="393" y="126"/>
                  </a:lnTo>
                  <a:lnTo>
                    <a:pt x="329" y="103"/>
                  </a:lnTo>
                  <a:lnTo>
                    <a:pt x="266" y="81"/>
                  </a:lnTo>
                  <a:lnTo>
                    <a:pt x="200" y="59"/>
                  </a:lnTo>
                  <a:lnTo>
                    <a:pt x="135" y="38"/>
                  </a:lnTo>
                  <a:lnTo>
                    <a:pt x="67" y="18"/>
                  </a:lnTo>
                  <a:lnTo>
                    <a:pt x="0" y="0"/>
                  </a:lnTo>
                  <a:lnTo>
                    <a:pt x="0" y="0"/>
                  </a:lnTo>
                  <a:lnTo>
                    <a:pt x="54" y="11"/>
                  </a:lnTo>
                  <a:lnTo>
                    <a:pt x="109" y="24"/>
                  </a:lnTo>
                  <a:lnTo>
                    <a:pt x="165" y="38"/>
                  </a:lnTo>
                  <a:lnTo>
                    <a:pt x="221" y="56"/>
                  </a:lnTo>
                  <a:lnTo>
                    <a:pt x="279" y="75"/>
                  </a:lnTo>
                  <a:lnTo>
                    <a:pt x="338" y="96"/>
                  </a:lnTo>
                  <a:lnTo>
                    <a:pt x="397" y="117"/>
                  </a:lnTo>
                  <a:lnTo>
                    <a:pt x="456" y="141"/>
                  </a:lnTo>
                  <a:lnTo>
                    <a:pt x="517" y="167"/>
                  </a:lnTo>
                  <a:lnTo>
                    <a:pt x="578" y="193"/>
                  </a:lnTo>
                  <a:lnTo>
                    <a:pt x="640" y="223"/>
                  </a:lnTo>
                  <a:lnTo>
                    <a:pt x="703" y="252"/>
                  </a:lnTo>
                  <a:lnTo>
                    <a:pt x="766" y="283"/>
                  </a:lnTo>
                  <a:lnTo>
                    <a:pt x="829" y="314"/>
                  </a:lnTo>
                  <a:lnTo>
                    <a:pt x="894" y="348"/>
                  </a:lnTo>
                  <a:lnTo>
                    <a:pt x="958" y="38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7" name="Freeform 87"/>
            <p:cNvSpPr>
              <a:spLocks/>
            </p:cNvSpPr>
            <p:nvPr/>
          </p:nvSpPr>
          <p:spPr bwMode="auto">
            <a:xfrm flipH="1">
              <a:off x="3995179" y="3670969"/>
              <a:ext cx="176743" cy="55467"/>
            </a:xfrm>
            <a:custGeom>
              <a:avLst/>
              <a:gdLst>
                <a:gd name="T0" fmla="*/ 958 w 958"/>
                <a:gd name="T1" fmla="*/ 382 h 382"/>
                <a:gd name="T2" fmla="*/ 958 w 958"/>
                <a:gd name="T3" fmla="*/ 382 h 382"/>
                <a:gd name="T4" fmla="*/ 907 w 958"/>
                <a:gd name="T5" fmla="*/ 355 h 382"/>
                <a:gd name="T6" fmla="*/ 855 w 958"/>
                <a:gd name="T7" fmla="*/ 329 h 382"/>
                <a:gd name="T8" fmla="*/ 801 w 958"/>
                <a:gd name="T9" fmla="*/ 302 h 382"/>
                <a:gd name="T10" fmla="*/ 747 w 958"/>
                <a:gd name="T11" fmla="*/ 276 h 382"/>
                <a:gd name="T12" fmla="*/ 691 w 958"/>
                <a:gd name="T13" fmla="*/ 250 h 382"/>
                <a:gd name="T14" fmla="*/ 633 w 958"/>
                <a:gd name="T15" fmla="*/ 225 h 382"/>
                <a:gd name="T16" fmla="*/ 575 w 958"/>
                <a:gd name="T17" fmla="*/ 199 h 382"/>
                <a:gd name="T18" fmla="*/ 515 w 958"/>
                <a:gd name="T19" fmla="*/ 174 h 382"/>
                <a:gd name="T20" fmla="*/ 454 w 958"/>
                <a:gd name="T21" fmla="*/ 150 h 382"/>
                <a:gd name="T22" fmla="*/ 393 w 958"/>
                <a:gd name="T23" fmla="*/ 126 h 382"/>
                <a:gd name="T24" fmla="*/ 329 w 958"/>
                <a:gd name="T25" fmla="*/ 103 h 382"/>
                <a:gd name="T26" fmla="*/ 266 w 958"/>
                <a:gd name="T27" fmla="*/ 81 h 382"/>
                <a:gd name="T28" fmla="*/ 200 w 958"/>
                <a:gd name="T29" fmla="*/ 59 h 382"/>
                <a:gd name="T30" fmla="*/ 135 w 958"/>
                <a:gd name="T31" fmla="*/ 38 h 382"/>
                <a:gd name="T32" fmla="*/ 67 w 958"/>
                <a:gd name="T33" fmla="*/ 18 h 382"/>
                <a:gd name="T34" fmla="*/ 0 w 958"/>
                <a:gd name="T35" fmla="*/ 0 h 382"/>
                <a:gd name="T36" fmla="*/ 0 w 958"/>
                <a:gd name="T37" fmla="*/ 0 h 382"/>
                <a:gd name="T38" fmla="*/ 54 w 958"/>
                <a:gd name="T39" fmla="*/ 11 h 382"/>
                <a:gd name="T40" fmla="*/ 109 w 958"/>
                <a:gd name="T41" fmla="*/ 24 h 382"/>
                <a:gd name="T42" fmla="*/ 165 w 958"/>
                <a:gd name="T43" fmla="*/ 38 h 382"/>
                <a:gd name="T44" fmla="*/ 221 w 958"/>
                <a:gd name="T45" fmla="*/ 56 h 382"/>
                <a:gd name="T46" fmla="*/ 279 w 958"/>
                <a:gd name="T47" fmla="*/ 75 h 382"/>
                <a:gd name="T48" fmla="*/ 338 w 958"/>
                <a:gd name="T49" fmla="*/ 96 h 382"/>
                <a:gd name="T50" fmla="*/ 397 w 958"/>
                <a:gd name="T51" fmla="*/ 117 h 382"/>
                <a:gd name="T52" fmla="*/ 456 w 958"/>
                <a:gd name="T53" fmla="*/ 141 h 382"/>
                <a:gd name="T54" fmla="*/ 517 w 958"/>
                <a:gd name="T55" fmla="*/ 167 h 382"/>
                <a:gd name="T56" fmla="*/ 578 w 958"/>
                <a:gd name="T57" fmla="*/ 193 h 382"/>
                <a:gd name="T58" fmla="*/ 640 w 958"/>
                <a:gd name="T59" fmla="*/ 223 h 382"/>
                <a:gd name="T60" fmla="*/ 703 w 958"/>
                <a:gd name="T61" fmla="*/ 252 h 382"/>
                <a:gd name="T62" fmla="*/ 766 w 958"/>
                <a:gd name="T63" fmla="*/ 283 h 382"/>
                <a:gd name="T64" fmla="*/ 829 w 958"/>
                <a:gd name="T65" fmla="*/ 314 h 382"/>
                <a:gd name="T66" fmla="*/ 894 w 958"/>
                <a:gd name="T67" fmla="*/ 348 h 382"/>
                <a:gd name="T68" fmla="*/ 958 w 958"/>
                <a:gd name="T69" fmla="*/ 38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58" h="382">
                  <a:moveTo>
                    <a:pt x="958" y="382"/>
                  </a:moveTo>
                  <a:lnTo>
                    <a:pt x="958" y="382"/>
                  </a:lnTo>
                  <a:lnTo>
                    <a:pt x="907" y="355"/>
                  </a:lnTo>
                  <a:lnTo>
                    <a:pt x="855" y="329"/>
                  </a:lnTo>
                  <a:lnTo>
                    <a:pt x="801" y="302"/>
                  </a:lnTo>
                  <a:lnTo>
                    <a:pt x="747" y="276"/>
                  </a:lnTo>
                  <a:lnTo>
                    <a:pt x="691" y="250"/>
                  </a:lnTo>
                  <a:lnTo>
                    <a:pt x="633" y="225"/>
                  </a:lnTo>
                  <a:lnTo>
                    <a:pt x="575" y="199"/>
                  </a:lnTo>
                  <a:lnTo>
                    <a:pt x="515" y="174"/>
                  </a:lnTo>
                  <a:lnTo>
                    <a:pt x="454" y="150"/>
                  </a:lnTo>
                  <a:lnTo>
                    <a:pt x="393" y="126"/>
                  </a:lnTo>
                  <a:lnTo>
                    <a:pt x="329" y="103"/>
                  </a:lnTo>
                  <a:lnTo>
                    <a:pt x="266" y="81"/>
                  </a:lnTo>
                  <a:lnTo>
                    <a:pt x="200" y="59"/>
                  </a:lnTo>
                  <a:lnTo>
                    <a:pt x="135" y="38"/>
                  </a:lnTo>
                  <a:lnTo>
                    <a:pt x="67" y="18"/>
                  </a:lnTo>
                  <a:lnTo>
                    <a:pt x="0" y="0"/>
                  </a:lnTo>
                  <a:lnTo>
                    <a:pt x="0" y="0"/>
                  </a:lnTo>
                  <a:lnTo>
                    <a:pt x="54" y="11"/>
                  </a:lnTo>
                  <a:lnTo>
                    <a:pt x="109" y="24"/>
                  </a:lnTo>
                  <a:lnTo>
                    <a:pt x="165" y="38"/>
                  </a:lnTo>
                  <a:lnTo>
                    <a:pt x="221" y="56"/>
                  </a:lnTo>
                  <a:lnTo>
                    <a:pt x="279" y="75"/>
                  </a:lnTo>
                  <a:lnTo>
                    <a:pt x="338" y="96"/>
                  </a:lnTo>
                  <a:lnTo>
                    <a:pt x="397" y="117"/>
                  </a:lnTo>
                  <a:lnTo>
                    <a:pt x="456" y="141"/>
                  </a:lnTo>
                  <a:lnTo>
                    <a:pt x="517" y="167"/>
                  </a:lnTo>
                  <a:lnTo>
                    <a:pt x="578" y="193"/>
                  </a:lnTo>
                  <a:lnTo>
                    <a:pt x="640" y="223"/>
                  </a:lnTo>
                  <a:lnTo>
                    <a:pt x="703" y="252"/>
                  </a:lnTo>
                  <a:lnTo>
                    <a:pt x="766" y="283"/>
                  </a:lnTo>
                  <a:lnTo>
                    <a:pt x="829" y="314"/>
                  </a:lnTo>
                  <a:lnTo>
                    <a:pt x="894" y="348"/>
                  </a:lnTo>
                  <a:lnTo>
                    <a:pt x="958" y="38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8" name="Freeform 88"/>
            <p:cNvSpPr>
              <a:spLocks/>
            </p:cNvSpPr>
            <p:nvPr/>
          </p:nvSpPr>
          <p:spPr bwMode="auto">
            <a:xfrm flipH="1">
              <a:off x="3990018" y="3726435"/>
              <a:ext cx="3871" cy="2580"/>
            </a:xfrm>
            <a:custGeom>
              <a:avLst/>
              <a:gdLst>
                <a:gd name="T0" fmla="*/ 11 w 22"/>
                <a:gd name="T1" fmla="*/ 6 h 13"/>
                <a:gd name="T2" fmla="*/ 11 w 22"/>
                <a:gd name="T3" fmla="*/ 6 h 13"/>
                <a:gd name="T4" fmla="*/ 22 w 22"/>
                <a:gd name="T5" fmla="*/ 13 h 13"/>
                <a:gd name="T6" fmla="*/ 22 w 22"/>
                <a:gd name="T7" fmla="*/ 13 h 13"/>
                <a:gd name="T8" fmla="*/ 0 w 22"/>
                <a:gd name="T9" fmla="*/ 0 h 13"/>
                <a:gd name="T10" fmla="*/ 0 w 22"/>
                <a:gd name="T11" fmla="*/ 0 h 13"/>
                <a:gd name="T12" fmla="*/ 11 w 22"/>
                <a:gd name="T13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3">
                  <a:moveTo>
                    <a:pt x="11" y="6"/>
                  </a:moveTo>
                  <a:lnTo>
                    <a:pt x="11" y="6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1" y="6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9" name="Freeform 89"/>
            <p:cNvSpPr>
              <a:spLocks/>
            </p:cNvSpPr>
            <p:nvPr/>
          </p:nvSpPr>
          <p:spPr bwMode="auto">
            <a:xfrm flipH="1">
              <a:off x="3990018" y="3726435"/>
              <a:ext cx="3871" cy="2580"/>
            </a:xfrm>
            <a:custGeom>
              <a:avLst/>
              <a:gdLst>
                <a:gd name="T0" fmla="*/ 11 w 22"/>
                <a:gd name="T1" fmla="*/ 6 h 13"/>
                <a:gd name="T2" fmla="*/ 11 w 22"/>
                <a:gd name="T3" fmla="*/ 6 h 13"/>
                <a:gd name="T4" fmla="*/ 22 w 22"/>
                <a:gd name="T5" fmla="*/ 13 h 13"/>
                <a:gd name="T6" fmla="*/ 22 w 22"/>
                <a:gd name="T7" fmla="*/ 13 h 13"/>
                <a:gd name="T8" fmla="*/ 0 w 22"/>
                <a:gd name="T9" fmla="*/ 0 h 13"/>
                <a:gd name="T10" fmla="*/ 0 w 22"/>
                <a:gd name="T11" fmla="*/ 0 h 13"/>
                <a:gd name="T12" fmla="*/ 11 w 22"/>
                <a:gd name="T13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3">
                  <a:moveTo>
                    <a:pt x="11" y="6"/>
                  </a:moveTo>
                  <a:lnTo>
                    <a:pt x="11" y="6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11" y="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0" name="Freeform 90"/>
            <p:cNvSpPr>
              <a:spLocks/>
            </p:cNvSpPr>
            <p:nvPr/>
          </p:nvSpPr>
          <p:spPr bwMode="auto">
            <a:xfrm flipH="1">
              <a:off x="3433990" y="4190805"/>
              <a:ext cx="20641" cy="51597"/>
            </a:xfrm>
            <a:custGeom>
              <a:avLst/>
              <a:gdLst>
                <a:gd name="T0" fmla="*/ 108 w 108"/>
                <a:gd name="T1" fmla="*/ 356 h 356"/>
                <a:gd name="T2" fmla="*/ 108 w 108"/>
                <a:gd name="T3" fmla="*/ 356 h 356"/>
                <a:gd name="T4" fmla="*/ 100 w 108"/>
                <a:gd name="T5" fmla="*/ 320 h 356"/>
                <a:gd name="T6" fmla="*/ 77 w 108"/>
                <a:gd name="T7" fmla="*/ 239 h 356"/>
                <a:gd name="T8" fmla="*/ 61 w 108"/>
                <a:gd name="T9" fmla="*/ 185 h 356"/>
                <a:gd name="T10" fmla="*/ 43 w 108"/>
                <a:gd name="T11" fmla="*/ 127 h 356"/>
                <a:gd name="T12" fmla="*/ 23 w 108"/>
                <a:gd name="T13" fmla="*/ 64 h 356"/>
                <a:gd name="T14" fmla="*/ 0 w 108"/>
                <a:gd name="T15" fmla="*/ 0 h 356"/>
                <a:gd name="T16" fmla="*/ 0 w 108"/>
                <a:gd name="T17" fmla="*/ 0 h 356"/>
                <a:gd name="T18" fmla="*/ 18 w 108"/>
                <a:gd name="T19" fmla="*/ 46 h 356"/>
                <a:gd name="T20" fmla="*/ 33 w 108"/>
                <a:gd name="T21" fmla="*/ 92 h 356"/>
                <a:gd name="T22" fmla="*/ 49 w 108"/>
                <a:gd name="T23" fmla="*/ 137 h 356"/>
                <a:gd name="T24" fmla="*/ 64 w 108"/>
                <a:gd name="T25" fmla="*/ 182 h 356"/>
                <a:gd name="T26" fmla="*/ 76 w 108"/>
                <a:gd name="T27" fmla="*/ 226 h 356"/>
                <a:gd name="T28" fmla="*/ 89 w 108"/>
                <a:gd name="T29" fmla="*/ 269 h 356"/>
                <a:gd name="T30" fmla="*/ 99 w 108"/>
                <a:gd name="T31" fmla="*/ 313 h 356"/>
                <a:gd name="T32" fmla="*/ 108 w 108"/>
                <a:gd name="T33" fmla="*/ 356 h 356"/>
                <a:gd name="T34" fmla="*/ 108 w 108"/>
                <a:gd name="T35" fmla="*/ 35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8" h="356">
                  <a:moveTo>
                    <a:pt x="108" y="356"/>
                  </a:moveTo>
                  <a:lnTo>
                    <a:pt x="108" y="356"/>
                  </a:lnTo>
                  <a:lnTo>
                    <a:pt x="100" y="320"/>
                  </a:lnTo>
                  <a:lnTo>
                    <a:pt x="77" y="239"/>
                  </a:lnTo>
                  <a:lnTo>
                    <a:pt x="61" y="185"/>
                  </a:lnTo>
                  <a:lnTo>
                    <a:pt x="43" y="127"/>
                  </a:lnTo>
                  <a:lnTo>
                    <a:pt x="23" y="64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46"/>
                  </a:lnTo>
                  <a:lnTo>
                    <a:pt x="33" y="92"/>
                  </a:lnTo>
                  <a:lnTo>
                    <a:pt x="49" y="137"/>
                  </a:lnTo>
                  <a:lnTo>
                    <a:pt x="64" y="182"/>
                  </a:lnTo>
                  <a:lnTo>
                    <a:pt x="76" y="226"/>
                  </a:lnTo>
                  <a:lnTo>
                    <a:pt x="89" y="269"/>
                  </a:lnTo>
                  <a:lnTo>
                    <a:pt x="99" y="313"/>
                  </a:lnTo>
                  <a:lnTo>
                    <a:pt x="108" y="356"/>
                  </a:lnTo>
                  <a:lnTo>
                    <a:pt x="108" y="356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1" name="Freeform 91"/>
            <p:cNvSpPr>
              <a:spLocks/>
            </p:cNvSpPr>
            <p:nvPr/>
          </p:nvSpPr>
          <p:spPr bwMode="auto">
            <a:xfrm flipH="1">
              <a:off x="3983568" y="3729015"/>
              <a:ext cx="2580" cy="1290"/>
            </a:xfrm>
            <a:custGeom>
              <a:avLst/>
              <a:gdLst>
                <a:gd name="T0" fmla="*/ 16 w 16"/>
                <a:gd name="T1" fmla="*/ 9 h 9"/>
                <a:gd name="T2" fmla="*/ 16 w 16"/>
                <a:gd name="T3" fmla="*/ 9 h 9"/>
                <a:gd name="T4" fmla="*/ 0 w 16"/>
                <a:gd name="T5" fmla="*/ 0 h 9"/>
                <a:gd name="T6" fmla="*/ 0 w 16"/>
                <a:gd name="T7" fmla="*/ 0 h 9"/>
                <a:gd name="T8" fmla="*/ 16 w 16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16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2" name="Freeform 92"/>
            <p:cNvSpPr>
              <a:spLocks/>
            </p:cNvSpPr>
            <p:nvPr/>
          </p:nvSpPr>
          <p:spPr bwMode="auto">
            <a:xfrm flipH="1">
              <a:off x="3983568" y="3729015"/>
              <a:ext cx="2580" cy="1290"/>
            </a:xfrm>
            <a:custGeom>
              <a:avLst/>
              <a:gdLst>
                <a:gd name="T0" fmla="*/ 16 w 16"/>
                <a:gd name="T1" fmla="*/ 9 h 9"/>
                <a:gd name="T2" fmla="*/ 16 w 16"/>
                <a:gd name="T3" fmla="*/ 9 h 9"/>
                <a:gd name="T4" fmla="*/ 0 w 16"/>
                <a:gd name="T5" fmla="*/ 0 h 9"/>
                <a:gd name="T6" fmla="*/ 0 w 16"/>
                <a:gd name="T7" fmla="*/ 0 h 9"/>
                <a:gd name="T8" fmla="*/ 16 w 16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9">
                  <a:moveTo>
                    <a:pt x="16" y="9"/>
                  </a:moveTo>
                  <a:lnTo>
                    <a:pt x="16" y="9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3" name="Freeform 93"/>
            <p:cNvSpPr>
              <a:spLocks noEditPoints="1"/>
            </p:cNvSpPr>
            <p:nvPr/>
          </p:nvSpPr>
          <p:spPr bwMode="auto">
            <a:xfrm flipH="1">
              <a:off x="3428830" y="3668389"/>
              <a:ext cx="985628" cy="768791"/>
            </a:xfrm>
            <a:custGeom>
              <a:avLst/>
              <a:gdLst>
                <a:gd name="T0" fmla="*/ 5139 w 5350"/>
                <a:gd name="T1" fmla="*/ 3468 h 5363"/>
                <a:gd name="T2" fmla="*/ 5001 w 5350"/>
                <a:gd name="T3" fmla="*/ 3180 h 5363"/>
                <a:gd name="T4" fmla="*/ 4854 w 5350"/>
                <a:gd name="T5" fmla="*/ 2908 h 5363"/>
                <a:gd name="T6" fmla="*/ 4671 w 5350"/>
                <a:gd name="T7" fmla="*/ 2616 h 5363"/>
                <a:gd name="T8" fmla="*/ 4479 w 5350"/>
                <a:gd name="T9" fmla="*/ 2347 h 5363"/>
                <a:gd name="T10" fmla="*/ 4291 w 5350"/>
                <a:gd name="T11" fmla="*/ 2108 h 5363"/>
                <a:gd name="T12" fmla="*/ 4040 w 5350"/>
                <a:gd name="T13" fmla="*/ 1818 h 5363"/>
                <a:gd name="T14" fmla="*/ 3824 w 5350"/>
                <a:gd name="T15" fmla="*/ 1591 h 5363"/>
                <a:gd name="T16" fmla="*/ 3736 w 5350"/>
                <a:gd name="T17" fmla="*/ 1502 h 5363"/>
                <a:gd name="T18" fmla="*/ 3521 w 5350"/>
                <a:gd name="T19" fmla="*/ 1298 h 5363"/>
                <a:gd name="T20" fmla="*/ 3252 w 5350"/>
                <a:gd name="T21" fmla="*/ 1066 h 5363"/>
                <a:gd name="T22" fmla="*/ 3007 w 5350"/>
                <a:gd name="T23" fmla="*/ 871 h 5363"/>
                <a:gd name="T24" fmla="*/ 2319 w 5350"/>
                <a:gd name="T25" fmla="*/ 2058 h 5363"/>
                <a:gd name="T26" fmla="*/ 2664 w 5350"/>
                <a:gd name="T27" fmla="*/ 2357 h 5363"/>
                <a:gd name="T28" fmla="*/ 2886 w 5350"/>
                <a:gd name="T29" fmla="*/ 2574 h 5363"/>
                <a:gd name="T30" fmla="*/ 3086 w 5350"/>
                <a:gd name="T31" fmla="*/ 2788 h 5363"/>
                <a:gd name="T32" fmla="*/ 3270 w 5350"/>
                <a:gd name="T33" fmla="*/ 3005 h 5363"/>
                <a:gd name="T34" fmla="*/ 3440 w 5350"/>
                <a:gd name="T35" fmla="*/ 3222 h 5363"/>
                <a:gd name="T36" fmla="*/ 3592 w 5350"/>
                <a:gd name="T37" fmla="*/ 3438 h 5363"/>
                <a:gd name="T38" fmla="*/ 3727 w 5350"/>
                <a:gd name="T39" fmla="*/ 3653 h 5363"/>
                <a:gd name="T40" fmla="*/ 3846 w 5350"/>
                <a:gd name="T41" fmla="*/ 3863 h 5363"/>
                <a:gd name="T42" fmla="*/ 3946 w 5350"/>
                <a:gd name="T43" fmla="*/ 4069 h 5363"/>
                <a:gd name="T44" fmla="*/ 4009 w 5350"/>
                <a:gd name="T45" fmla="*/ 4219 h 5363"/>
                <a:gd name="T46" fmla="*/ 4005 w 5350"/>
                <a:gd name="T47" fmla="*/ 5363 h 5363"/>
                <a:gd name="T48" fmla="*/ 4044 w 5350"/>
                <a:gd name="T49" fmla="*/ 5312 h 5363"/>
                <a:gd name="T50" fmla="*/ 4087 w 5350"/>
                <a:gd name="T51" fmla="*/ 5236 h 5363"/>
                <a:gd name="T52" fmla="*/ 4119 w 5350"/>
                <a:gd name="T53" fmla="*/ 5152 h 5363"/>
                <a:gd name="T54" fmla="*/ 4141 w 5350"/>
                <a:gd name="T55" fmla="*/ 5062 h 5363"/>
                <a:gd name="T56" fmla="*/ 4153 w 5350"/>
                <a:gd name="T57" fmla="*/ 4964 h 5363"/>
                <a:gd name="T58" fmla="*/ 4151 w 5350"/>
                <a:gd name="T59" fmla="*/ 4777 h 5363"/>
                <a:gd name="T60" fmla="*/ 4125 w 5350"/>
                <a:gd name="T61" fmla="*/ 4603 h 5363"/>
                <a:gd name="T62" fmla="*/ 5336 w 5350"/>
                <a:gd name="T63" fmla="*/ 4076 h 5363"/>
                <a:gd name="T64" fmla="*/ 5349 w 5350"/>
                <a:gd name="T65" fmla="*/ 4221 h 5363"/>
                <a:gd name="T66" fmla="*/ 5344 w 5350"/>
                <a:gd name="T67" fmla="*/ 4358 h 5363"/>
                <a:gd name="T68" fmla="*/ 5317 w 5350"/>
                <a:gd name="T69" fmla="*/ 4486 h 5363"/>
                <a:gd name="T70" fmla="*/ 5267 w 5350"/>
                <a:gd name="T71" fmla="*/ 4606 h 5363"/>
                <a:gd name="T72" fmla="*/ 5192 w 5350"/>
                <a:gd name="T73" fmla="*/ 4716 h 5363"/>
                <a:gd name="T74" fmla="*/ 5091 w 5350"/>
                <a:gd name="T75" fmla="*/ 4815 h 5363"/>
                <a:gd name="T76" fmla="*/ 4962 w 5350"/>
                <a:gd name="T77" fmla="*/ 4902 h 5363"/>
                <a:gd name="T78" fmla="*/ 0 w 5350"/>
                <a:gd name="T79" fmla="*/ 1346 h 5363"/>
                <a:gd name="T80" fmla="*/ 457 w 5350"/>
                <a:gd name="T81" fmla="*/ 391 h 5363"/>
                <a:gd name="T82" fmla="*/ 541 w 5350"/>
                <a:gd name="T83" fmla="*/ 264 h 5363"/>
                <a:gd name="T84" fmla="*/ 637 w 5350"/>
                <a:gd name="T85" fmla="*/ 164 h 5363"/>
                <a:gd name="T86" fmla="*/ 742 w 5350"/>
                <a:gd name="T87" fmla="*/ 89 h 5363"/>
                <a:gd name="T88" fmla="*/ 855 w 5350"/>
                <a:gd name="T89" fmla="*/ 38 h 5363"/>
                <a:gd name="T90" fmla="*/ 979 w 5350"/>
                <a:gd name="T91" fmla="*/ 9 h 5363"/>
                <a:gd name="T92" fmla="*/ 1110 w 5350"/>
                <a:gd name="T93" fmla="*/ 0 h 5363"/>
                <a:gd name="T94" fmla="*/ 1248 w 5350"/>
                <a:gd name="T95" fmla="*/ 9 h 5363"/>
                <a:gd name="T96" fmla="*/ 669 w 5350"/>
                <a:gd name="T97" fmla="*/ 1213 h 5363"/>
                <a:gd name="T98" fmla="*/ 517 w 5350"/>
                <a:gd name="T99" fmla="*/ 1198 h 5363"/>
                <a:gd name="T100" fmla="*/ 332 w 5350"/>
                <a:gd name="T101" fmla="*/ 1206 h 5363"/>
                <a:gd name="T102" fmla="*/ 169 w 5350"/>
                <a:gd name="T103" fmla="*/ 1247 h 5363"/>
                <a:gd name="T104" fmla="*/ 96 w 5350"/>
                <a:gd name="T105" fmla="*/ 1280 h 5363"/>
                <a:gd name="T106" fmla="*/ 31 w 5350"/>
                <a:gd name="T107" fmla="*/ 1322 h 5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50" h="5363">
                  <a:moveTo>
                    <a:pt x="5164" y="3525"/>
                  </a:moveTo>
                  <a:lnTo>
                    <a:pt x="5164" y="3525"/>
                  </a:lnTo>
                  <a:lnTo>
                    <a:pt x="5164" y="3525"/>
                  </a:lnTo>
                  <a:lnTo>
                    <a:pt x="5139" y="3468"/>
                  </a:lnTo>
                  <a:lnTo>
                    <a:pt x="5114" y="3412"/>
                  </a:lnTo>
                  <a:lnTo>
                    <a:pt x="5087" y="3355"/>
                  </a:lnTo>
                  <a:lnTo>
                    <a:pt x="5059" y="3297"/>
                  </a:lnTo>
                  <a:lnTo>
                    <a:pt x="5001" y="3180"/>
                  </a:lnTo>
                  <a:lnTo>
                    <a:pt x="4940" y="3061"/>
                  </a:lnTo>
                  <a:lnTo>
                    <a:pt x="4940" y="3061"/>
                  </a:lnTo>
                  <a:lnTo>
                    <a:pt x="4897" y="2984"/>
                  </a:lnTo>
                  <a:lnTo>
                    <a:pt x="4854" y="2908"/>
                  </a:lnTo>
                  <a:lnTo>
                    <a:pt x="4810" y="2834"/>
                  </a:lnTo>
                  <a:lnTo>
                    <a:pt x="4764" y="2760"/>
                  </a:lnTo>
                  <a:lnTo>
                    <a:pt x="4718" y="2687"/>
                  </a:lnTo>
                  <a:lnTo>
                    <a:pt x="4671" y="2616"/>
                  </a:lnTo>
                  <a:lnTo>
                    <a:pt x="4624" y="2546"/>
                  </a:lnTo>
                  <a:lnTo>
                    <a:pt x="4576" y="2479"/>
                  </a:lnTo>
                  <a:lnTo>
                    <a:pt x="4528" y="2412"/>
                  </a:lnTo>
                  <a:lnTo>
                    <a:pt x="4479" y="2347"/>
                  </a:lnTo>
                  <a:lnTo>
                    <a:pt x="4431" y="2285"/>
                  </a:lnTo>
                  <a:lnTo>
                    <a:pt x="4385" y="2223"/>
                  </a:lnTo>
                  <a:lnTo>
                    <a:pt x="4338" y="2165"/>
                  </a:lnTo>
                  <a:lnTo>
                    <a:pt x="4291" y="2108"/>
                  </a:lnTo>
                  <a:lnTo>
                    <a:pt x="4246" y="2054"/>
                  </a:lnTo>
                  <a:lnTo>
                    <a:pt x="4202" y="2001"/>
                  </a:lnTo>
                  <a:lnTo>
                    <a:pt x="4117" y="1905"/>
                  </a:lnTo>
                  <a:lnTo>
                    <a:pt x="4040" y="1818"/>
                  </a:lnTo>
                  <a:lnTo>
                    <a:pt x="3971" y="1742"/>
                  </a:lnTo>
                  <a:lnTo>
                    <a:pt x="3910" y="1678"/>
                  </a:lnTo>
                  <a:lnTo>
                    <a:pt x="3862" y="1628"/>
                  </a:lnTo>
                  <a:lnTo>
                    <a:pt x="3824" y="1591"/>
                  </a:lnTo>
                  <a:lnTo>
                    <a:pt x="3793" y="1561"/>
                  </a:lnTo>
                  <a:lnTo>
                    <a:pt x="3793" y="1561"/>
                  </a:lnTo>
                  <a:lnTo>
                    <a:pt x="3778" y="1545"/>
                  </a:lnTo>
                  <a:lnTo>
                    <a:pt x="3736" y="1502"/>
                  </a:lnTo>
                  <a:lnTo>
                    <a:pt x="3667" y="1436"/>
                  </a:lnTo>
                  <a:lnTo>
                    <a:pt x="3624" y="1394"/>
                  </a:lnTo>
                  <a:lnTo>
                    <a:pt x="3575" y="1348"/>
                  </a:lnTo>
                  <a:lnTo>
                    <a:pt x="3521" y="1298"/>
                  </a:lnTo>
                  <a:lnTo>
                    <a:pt x="3460" y="1244"/>
                  </a:lnTo>
                  <a:lnTo>
                    <a:pt x="3396" y="1188"/>
                  </a:lnTo>
                  <a:lnTo>
                    <a:pt x="3326" y="1127"/>
                  </a:lnTo>
                  <a:lnTo>
                    <a:pt x="3252" y="1066"/>
                  </a:lnTo>
                  <a:lnTo>
                    <a:pt x="3174" y="1002"/>
                  </a:lnTo>
                  <a:lnTo>
                    <a:pt x="3092" y="938"/>
                  </a:lnTo>
                  <a:lnTo>
                    <a:pt x="3007" y="871"/>
                  </a:lnTo>
                  <a:lnTo>
                    <a:pt x="3007" y="871"/>
                  </a:lnTo>
                  <a:lnTo>
                    <a:pt x="2146" y="1922"/>
                  </a:lnTo>
                  <a:lnTo>
                    <a:pt x="2146" y="1922"/>
                  </a:lnTo>
                  <a:lnTo>
                    <a:pt x="2232" y="1989"/>
                  </a:lnTo>
                  <a:lnTo>
                    <a:pt x="2319" y="2058"/>
                  </a:lnTo>
                  <a:lnTo>
                    <a:pt x="2406" y="2129"/>
                  </a:lnTo>
                  <a:lnTo>
                    <a:pt x="2492" y="2203"/>
                  </a:lnTo>
                  <a:lnTo>
                    <a:pt x="2579" y="2279"/>
                  </a:lnTo>
                  <a:lnTo>
                    <a:pt x="2664" y="2357"/>
                  </a:lnTo>
                  <a:lnTo>
                    <a:pt x="2749" y="2438"/>
                  </a:lnTo>
                  <a:lnTo>
                    <a:pt x="2833" y="2521"/>
                  </a:lnTo>
                  <a:lnTo>
                    <a:pt x="2833" y="2521"/>
                  </a:lnTo>
                  <a:lnTo>
                    <a:pt x="2886" y="2574"/>
                  </a:lnTo>
                  <a:lnTo>
                    <a:pt x="2937" y="2628"/>
                  </a:lnTo>
                  <a:lnTo>
                    <a:pt x="2988" y="2681"/>
                  </a:lnTo>
                  <a:lnTo>
                    <a:pt x="3037" y="2735"/>
                  </a:lnTo>
                  <a:lnTo>
                    <a:pt x="3086" y="2788"/>
                  </a:lnTo>
                  <a:lnTo>
                    <a:pt x="3134" y="2842"/>
                  </a:lnTo>
                  <a:lnTo>
                    <a:pt x="3181" y="2896"/>
                  </a:lnTo>
                  <a:lnTo>
                    <a:pt x="3225" y="2951"/>
                  </a:lnTo>
                  <a:lnTo>
                    <a:pt x="3270" y="3005"/>
                  </a:lnTo>
                  <a:lnTo>
                    <a:pt x="3315" y="3059"/>
                  </a:lnTo>
                  <a:lnTo>
                    <a:pt x="3357" y="3113"/>
                  </a:lnTo>
                  <a:lnTo>
                    <a:pt x="3399" y="3167"/>
                  </a:lnTo>
                  <a:lnTo>
                    <a:pt x="3440" y="3222"/>
                  </a:lnTo>
                  <a:lnTo>
                    <a:pt x="3479" y="3276"/>
                  </a:lnTo>
                  <a:lnTo>
                    <a:pt x="3517" y="3330"/>
                  </a:lnTo>
                  <a:lnTo>
                    <a:pt x="3556" y="3384"/>
                  </a:lnTo>
                  <a:lnTo>
                    <a:pt x="3592" y="3438"/>
                  </a:lnTo>
                  <a:lnTo>
                    <a:pt x="3628" y="3492"/>
                  </a:lnTo>
                  <a:lnTo>
                    <a:pt x="3662" y="3546"/>
                  </a:lnTo>
                  <a:lnTo>
                    <a:pt x="3695" y="3600"/>
                  </a:lnTo>
                  <a:lnTo>
                    <a:pt x="3727" y="3653"/>
                  </a:lnTo>
                  <a:lnTo>
                    <a:pt x="3759" y="3706"/>
                  </a:lnTo>
                  <a:lnTo>
                    <a:pt x="3789" y="3758"/>
                  </a:lnTo>
                  <a:lnTo>
                    <a:pt x="3818" y="3811"/>
                  </a:lnTo>
                  <a:lnTo>
                    <a:pt x="3846" y="3863"/>
                  </a:lnTo>
                  <a:lnTo>
                    <a:pt x="3873" y="3915"/>
                  </a:lnTo>
                  <a:lnTo>
                    <a:pt x="3898" y="3967"/>
                  </a:lnTo>
                  <a:lnTo>
                    <a:pt x="3923" y="4018"/>
                  </a:lnTo>
                  <a:lnTo>
                    <a:pt x="3946" y="4069"/>
                  </a:lnTo>
                  <a:lnTo>
                    <a:pt x="3968" y="4120"/>
                  </a:lnTo>
                  <a:lnTo>
                    <a:pt x="3989" y="4169"/>
                  </a:lnTo>
                  <a:lnTo>
                    <a:pt x="4009" y="4219"/>
                  </a:lnTo>
                  <a:lnTo>
                    <a:pt x="4009" y="4219"/>
                  </a:lnTo>
                  <a:lnTo>
                    <a:pt x="5164" y="3525"/>
                  </a:lnTo>
                  <a:close/>
                  <a:moveTo>
                    <a:pt x="4886" y="4942"/>
                  </a:moveTo>
                  <a:lnTo>
                    <a:pt x="4886" y="4942"/>
                  </a:lnTo>
                  <a:lnTo>
                    <a:pt x="4005" y="5363"/>
                  </a:lnTo>
                  <a:lnTo>
                    <a:pt x="4005" y="5363"/>
                  </a:lnTo>
                  <a:lnTo>
                    <a:pt x="4019" y="5346"/>
                  </a:lnTo>
                  <a:lnTo>
                    <a:pt x="4032" y="5329"/>
                  </a:lnTo>
                  <a:lnTo>
                    <a:pt x="4044" y="5312"/>
                  </a:lnTo>
                  <a:lnTo>
                    <a:pt x="4056" y="5294"/>
                  </a:lnTo>
                  <a:lnTo>
                    <a:pt x="4066" y="5275"/>
                  </a:lnTo>
                  <a:lnTo>
                    <a:pt x="4077" y="5255"/>
                  </a:lnTo>
                  <a:lnTo>
                    <a:pt x="4087" y="5236"/>
                  </a:lnTo>
                  <a:lnTo>
                    <a:pt x="4096" y="5216"/>
                  </a:lnTo>
                  <a:lnTo>
                    <a:pt x="4104" y="5195"/>
                  </a:lnTo>
                  <a:lnTo>
                    <a:pt x="4112" y="5174"/>
                  </a:lnTo>
                  <a:lnTo>
                    <a:pt x="4119" y="5152"/>
                  </a:lnTo>
                  <a:lnTo>
                    <a:pt x="4126" y="5130"/>
                  </a:lnTo>
                  <a:lnTo>
                    <a:pt x="4131" y="5107"/>
                  </a:lnTo>
                  <a:lnTo>
                    <a:pt x="4136" y="5085"/>
                  </a:lnTo>
                  <a:lnTo>
                    <a:pt x="4141" y="5062"/>
                  </a:lnTo>
                  <a:lnTo>
                    <a:pt x="4145" y="5038"/>
                  </a:lnTo>
                  <a:lnTo>
                    <a:pt x="4149" y="5014"/>
                  </a:lnTo>
                  <a:lnTo>
                    <a:pt x="4151" y="4989"/>
                  </a:lnTo>
                  <a:lnTo>
                    <a:pt x="4153" y="4964"/>
                  </a:lnTo>
                  <a:lnTo>
                    <a:pt x="4155" y="4938"/>
                  </a:lnTo>
                  <a:lnTo>
                    <a:pt x="4156" y="4886"/>
                  </a:lnTo>
                  <a:lnTo>
                    <a:pt x="4154" y="4832"/>
                  </a:lnTo>
                  <a:lnTo>
                    <a:pt x="4151" y="4777"/>
                  </a:lnTo>
                  <a:lnTo>
                    <a:pt x="4144" y="4720"/>
                  </a:lnTo>
                  <a:lnTo>
                    <a:pt x="4135" y="4663"/>
                  </a:lnTo>
                  <a:lnTo>
                    <a:pt x="4125" y="4603"/>
                  </a:lnTo>
                  <a:lnTo>
                    <a:pt x="4125" y="4603"/>
                  </a:lnTo>
                  <a:lnTo>
                    <a:pt x="5321" y="4000"/>
                  </a:lnTo>
                  <a:lnTo>
                    <a:pt x="5321" y="4000"/>
                  </a:lnTo>
                  <a:lnTo>
                    <a:pt x="5329" y="4038"/>
                  </a:lnTo>
                  <a:lnTo>
                    <a:pt x="5336" y="4076"/>
                  </a:lnTo>
                  <a:lnTo>
                    <a:pt x="5341" y="4112"/>
                  </a:lnTo>
                  <a:lnTo>
                    <a:pt x="5345" y="4149"/>
                  </a:lnTo>
                  <a:lnTo>
                    <a:pt x="5347" y="4185"/>
                  </a:lnTo>
                  <a:lnTo>
                    <a:pt x="5349" y="4221"/>
                  </a:lnTo>
                  <a:lnTo>
                    <a:pt x="5350" y="4256"/>
                  </a:lnTo>
                  <a:lnTo>
                    <a:pt x="5349" y="4291"/>
                  </a:lnTo>
                  <a:lnTo>
                    <a:pt x="5347" y="4325"/>
                  </a:lnTo>
                  <a:lnTo>
                    <a:pt x="5344" y="4358"/>
                  </a:lnTo>
                  <a:lnTo>
                    <a:pt x="5339" y="4392"/>
                  </a:lnTo>
                  <a:lnTo>
                    <a:pt x="5334" y="4424"/>
                  </a:lnTo>
                  <a:lnTo>
                    <a:pt x="5326" y="4455"/>
                  </a:lnTo>
                  <a:lnTo>
                    <a:pt x="5317" y="4486"/>
                  </a:lnTo>
                  <a:lnTo>
                    <a:pt x="5307" y="4518"/>
                  </a:lnTo>
                  <a:lnTo>
                    <a:pt x="5295" y="4548"/>
                  </a:lnTo>
                  <a:lnTo>
                    <a:pt x="5282" y="4577"/>
                  </a:lnTo>
                  <a:lnTo>
                    <a:pt x="5267" y="4606"/>
                  </a:lnTo>
                  <a:lnTo>
                    <a:pt x="5252" y="4634"/>
                  </a:lnTo>
                  <a:lnTo>
                    <a:pt x="5233" y="4663"/>
                  </a:lnTo>
                  <a:lnTo>
                    <a:pt x="5214" y="4689"/>
                  </a:lnTo>
                  <a:lnTo>
                    <a:pt x="5192" y="4716"/>
                  </a:lnTo>
                  <a:lnTo>
                    <a:pt x="5171" y="4742"/>
                  </a:lnTo>
                  <a:lnTo>
                    <a:pt x="5146" y="4767"/>
                  </a:lnTo>
                  <a:lnTo>
                    <a:pt x="5120" y="4791"/>
                  </a:lnTo>
                  <a:lnTo>
                    <a:pt x="5091" y="4815"/>
                  </a:lnTo>
                  <a:lnTo>
                    <a:pt x="5061" y="4838"/>
                  </a:lnTo>
                  <a:lnTo>
                    <a:pt x="5030" y="4859"/>
                  </a:lnTo>
                  <a:lnTo>
                    <a:pt x="4997" y="4881"/>
                  </a:lnTo>
                  <a:lnTo>
                    <a:pt x="4962" y="4902"/>
                  </a:lnTo>
                  <a:lnTo>
                    <a:pt x="4924" y="4922"/>
                  </a:lnTo>
                  <a:lnTo>
                    <a:pt x="4886" y="4942"/>
                  </a:lnTo>
                  <a:close/>
                  <a:moveTo>
                    <a:pt x="0" y="1346"/>
                  </a:moveTo>
                  <a:lnTo>
                    <a:pt x="0" y="1346"/>
                  </a:lnTo>
                  <a:lnTo>
                    <a:pt x="418" y="465"/>
                  </a:lnTo>
                  <a:lnTo>
                    <a:pt x="418" y="465"/>
                  </a:lnTo>
                  <a:lnTo>
                    <a:pt x="437" y="427"/>
                  </a:lnTo>
                  <a:lnTo>
                    <a:pt x="457" y="391"/>
                  </a:lnTo>
                  <a:lnTo>
                    <a:pt x="477" y="356"/>
                  </a:lnTo>
                  <a:lnTo>
                    <a:pt x="497" y="324"/>
                  </a:lnTo>
                  <a:lnTo>
                    <a:pt x="519" y="294"/>
                  </a:lnTo>
                  <a:lnTo>
                    <a:pt x="541" y="264"/>
                  </a:lnTo>
                  <a:lnTo>
                    <a:pt x="564" y="236"/>
                  </a:lnTo>
                  <a:lnTo>
                    <a:pt x="588" y="211"/>
                  </a:lnTo>
                  <a:lnTo>
                    <a:pt x="612" y="186"/>
                  </a:lnTo>
                  <a:lnTo>
                    <a:pt x="637" y="164"/>
                  </a:lnTo>
                  <a:lnTo>
                    <a:pt x="662" y="143"/>
                  </a:lnTo>
                  <a:lnTo>
                    <a:pt x="688" y="124"/>
                  </a:lnTo>
                  <a:lnTo>
                    <a:pt x="715" y="106"/>
                  </a:lnTo>
                  <a:lnTo>
                    <a:pt x="742" y="89"/>
                  </a:lnTo>
                  <a:lnTo>
                    <a:pt x="769" y="75"/>
                  </a:lnTo>
                  <a:lnTo>
                    <a:pt x="797" y="61"/>
                  </a:lnTo>
                  <a:lnTo>
                    <a:pt x="826" y="49"/>
                  </a:lnTo>
                  <a:lnTo>
                    <a:pt x="855" y="38"/>
                  </a:lnTo>
                  <a:lnTo>
                    <a:pt x="885" y="29"/>
                  </a:lnTo>
                  <a:lnTo>
                    <a:pt x="916" y="21"/>
                  </a:lnTo>
                  <a:lnTo>
                    <a:pt x="946" y="14"/>
                  </a:lnTo>
                  <a:lnTo>
                    <a:pt x="979" y="9"/>
                  </a:lnTo>
                  <a:lnTo>
                    <a:pt x="1011" y="5"/>
                  </a:lnTo>
                  <a:lnTo>
                    <a:pt x="1043" y="2"/>
                  </a:lnTo>
                  <a:lnTo>
                    <a:pt x="1076" y="0"/>
                  </a:lnTo>
                  <a:lnTo>
                    <a:pt x="1110" y="0"/>
                  </a:lnTo>
                  <a:lnTo>
                    <a:pt x="1144" y="1"/>
                  </a:lnTo>
                  <a:lnTo>
                    <a:pt x="1178" y="2"/>
                  </a:lnTo>
                  <a:lnTo>
                    <a:pt x="1213" y="5"/>
                  </a:lnTo>
                  <a:lnTo>
                    <a:pt x="1248" y="9"/>
                  </a:lnTo>
                  <a:lnTo>
                    <a:pt x="1284" y="14"/>
                  </a:lnTo>
                  <a:lnTo>
                    <a:pt x="1321" y="21"/>
                  </a:lnTo>
                  <a:lnTo>
                    <a:pt x="1321" y="21"/>
                  </a:lnTo>
                  <a:lnTo>
                    <a:pt x="669" y="1213"/>
                  </a:lnTo>
                  <a:lnTo>
                    <a:pt x="669" y="1213"/>
                  </a:lnTo>
                  <a:lnTo>
                    <a:pt x="617" y="1205"/>
                  </a:lnTo>
                  <a:lnTo>
                    <a:pt x="566" y="1200"/>
                  </a:lnTo>
                  <a:lnTo>
                    <a:pt x="517" y="1198"/>
                  </a:lnTo>
                  <a:lnTo>
                    <a:pt x="468" y="1197"/>
                  </a:lnTo>
                  <a:lnTo>
                    <a:pt x="421" y="1198"/>
                  </a:lnTo>
                  <a:lnTo>
                    <a:pt x="376" y="1201"/>
                  </a:lnTo>
                  <a:lnTo>
                    <a:pt x="332" y="1206"/>
                  </a:lnTo>
                  <a:lnTo>
                    <a:pt x="288" y="1213"/>
                  </a:lnTo>
                  <a:lnTo>
                    <a:pt x="247" y="1222"/>
                  </a:lnTo>
                  <a:lnTo>
                    <a:pt x="207" y="1233"/>
                  </a:lnTo>
                  <a:lnTo>
                    <a:pt x="169" y="1247"/>
                  </a:lnTo>
                  <a:lnTo>
                    <a:pt x="150" y="1254"/>
                  </a:lnTo>
                  <a:lnTo>
                    <a:pt x="131" y="1263"/>
                  </a:lnTo>
                  <a:lnTo>
                    <a:pt x="114" y="1271"/>
                  </a:lnTo>
                  <a:lnTo>
                    <a:pt x="96" y="1280"/>
                  </a:lnTo>
                  <a:lnTo>
                    <a:pt x="79" y="1290"/>
                  </a:lnTo>
                  <a:lnTo>
                    <a:pt x="63" y="1300"/>
                  </a:lnTo>
                  <a:lnTo>
                    <a:pt x="46" y="1311"/>
                  </a:lnTo>
                  <a:lnTo>
                    <a:pt x="31" y="1322"/>
                  </a:lnTo>
                  <a:lnTo>
                    <a:pt x="15" y="1334"/>
                  </a:lnTo>
                  <a:lnTo>
                    <a:pt x="0" y="1346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4" name="Freeform 94"/>
            <p:cNvSpPr>
              <a:spLocks/>
            </p:cNvSpPr>
            <p:nvPr/>
          </p:nvSpPr>
          <p:spPr bwMode="auto">
            <a:xfrm flipH="1">
              <a:off x="3463662" y="3793511"/>
              <a:ext cx="556029" cy="479849"/>
            </a:xfrm>
            <a:custGeom>
              <a:avLst/>
              <a:gdLst>
                <a:gd name="T0" fmla="*/ 3018 w 3018"/>
                <a:gd name="T1" fmla="*/ 2654 h 3348"/>
                <a:gd name="T2" fmla="*/ 2993 w 3018"/>
                <a:gd name="T3" fmla="*/ 2597 h 3348"/>
                <a:gd name="T4" fmla="*/ 2941 w 3018"/>
                <a:gd name="T5" fmla="*/ 2484 h 3348"/>
                <a:gd name="T6" fmla="*/ 2855 w 3018"/>
                <a:gd name="T7" fmla="*/ 2309 h 3348"/>
                <a:gd name="T8" fmla="*/ 2794 w 3018"/>
                <a:gd name="T9" fmla="*/ 2190 h 3348"/>
                <a:gd name="T10" fmla="*/ 2708 w 3018"/>
                <a:gd name="T11" fmla="*/ 2037 h 3348"/>
                <a:gd name="T12" fmla="*/ 2618 w 3018"/>
                <a:gd name="T13" fmla="*/ 1889 h 3348"/>
                <a:gd name="T14" fmla="*/ 2525 w 3018"/>
                <a:gd name="T15" fmla="*/ 1745 h 3348"/>
                <a:gd name="T16" fmla="*/ 2430 w 3018"/>
                <a:gd name="T17" fmla="*/ 1608 h 3348"/>
                <a:gd name="T18" fmla="*/ 2333 w 3018"/>
                <a:gd name="T19" fmla="*/ 1476 h 3348"/>
                <a:gd name="T20" fmla="*/ 2239 w 3018"/>
                <a:gd name="T21" fmla="*/ 1352 h 3348"/>
                <a:gd name="T22" fmla="*/ 2145 w 3018"/>
                <a:gd name="T23" fmla="*/ 1237 h 3348"/>
                <a:gd name="T24" fmla="*/ 2056 w 3018"/>
                <a:gd name="T25" fmla="*/ 1130 h 3348"/>
                <a:gd name="T26" fmla="*/ 1894 w 3018"/>
                <a:gd name="T27" fmla="*/ 947 h 3348"/>
                <a:gd name="T28" fmla="*/ 1764 w 3018"/>
                <a:gd name="T29" fmla="*/ 807 h 3348"/>
                <a:gd name="T30" fmla="*/ 1678 w 3018"/>
                <a:gd name="T31" fmla="*/ 720 h 3348"/>
                <a:gd name="T32" fmla="*/ 1647 w 3018"/>
                <a:gd name="T33" fmla="*/ 690 h 3348"/>
                <a:gd name="T34" fmla="*/ 1590 w 3018"/>
                <a:gd name="T35" fmla="*/ 631 h 3348"/>
                <a:gd name="T36" fmla="*/ 1478 w 3018"/>
                <a:gd name="T37" fmla="*/ 523 h 3348"/>
                <a:gd name="T38" fmla="*/ 1375 w 3018"/>
                <a:gd name="T39" fmla="*/ 427 h 3348"/>
                <a:gd name="T40" fmla="*/ 1250 w 3018"/>
                <a:gd name="T41" fmla="*/ 317 h 3348"/>
                <a:gd name="T42" fmla="*/ 1106 w 3018"/>
                <a:gd name="T43" fmla="*/ 195 h 3348"/>
                <a:gd name="T44" fmla="*/ 946 w 3018"/>
                <a:gd name="T45" fmla="*/ 67 h 3348"/>
                <a:gd name="T46" fmla="*/ 861 w 3018"/>
                <a:gd name="T47" fmla="*/ 0 h 3348"/>
                <a:gd name="T48" fmla="*/ 0 w 3018"/>
                <a:gd name="T49" fmla="*/ 1051 h 3348"/>
                <a:gd name="T50" fmla="*/ 173 w 3018"/>
                <a:gd name="T51" fmla="*/ 1187 h 3348"/>
                <a:gd name="T52" fmla="*/ 346 w 3018"/>
                <a:gd name="T53" fmla="*/ 1332 h 3348"/>
                <a:gd name="T54" fmla="*/ 518 w 3018"/>
                <a:gd name="T55" fmla="*/ 1486 h 3348"/>
                <a:gd name="T56" fmla="*/ 687 w 3018"/>
                <a:gd name="T57" fmla="*/ 1650 h 3348"/>
                <a:gd name="T58" fmla="*/ 740 w 3018"/>
                <a:gd name="T59" fmla="*/ 1703 h 3348"/>
                <a:gd name="T60" fmla="*/ 842 w 3018"/>
                <a:gd name="T61" fmla="*/ 1810 h 3348"/>
                <a:gd name="T62" fmla="*/ 940 w 3018"/>
                <a:gd name="T63" fmla="*/ 1917 h 3348"/>
                <a:gd name="T64" fmla="*/ 1035 w 3018"/>
                <a:gd name="T65" fmla="*/ 2025 h 3348"/>
                <a:gd name="T66" fmla="*/ 1124 w 3018"/>
                <a:gd name="T67" fmla="*/ 2134 h 3348"/>
                <a:gd name="T68" fmla="*/ 1211 w 3018"/>
                <a:gd name="T69" fmla="*/ 2242 h 3348"/>
                <a:gd name="T70" fmla="*/ 1294 w 3018"/>
                <a:gd name="T71" fmla="*/ 2351 h 3348"/>
                <a:gd name="T72" fmla="*/ 1371 w 3018"/>
                <a:gd name="T73" fmla="*/ 2459 h 3348"/>
                <a:gd name="T74" fmla="*/ 1446 w 3018"/>
                <a:gd name="T75" fmla="*/ 2567 h 3348"/>
                <a:gd name="T76" fmla="*/ 1516 w 3018"/>
                <a:gd name="T77" fmla="*/ 2675 h 3348"/>
                <a:gd name="T78" fmla="*/ 1581 w 3018"/>
                <a:gd name="T79" fmla="*/ 2782 h 3348"/>
                <a:gd name="T80" fmla="*/ 1643 w 3018"/>
                <a:gd name="T81" fmla="*/ 2887 h 3348"/>
                <a:gd name="T82" fmla="*/ 1700 w 3018"/>
                <a:gd name="T83" fmla="*/ 2992 h 3348"/>
                <a:gd name="T84" fmla="*/ 1752 w 3018"/>
                <a:gd name="T85" fmla="*/ 3096 h 3348"/>
                <a:gd name="T86" fmla="*/ 1800 w 3018"/>
                <a:gd name="T87" fmla="*/ 3198 h 3348"/>
                <a:gd name="T88" fmla="*/ 1843 w 3018"/>
                <a:gd name="T89" fmla="*/ 3298 h 3348"/>
                <a:gd name="T90" fmla="*/ 1863 w 3018"/>
                <a:gd name="T91" fmla="*/ 3348 h 3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18" h="3348">
                  <a:moveTo>
                    <a:pt x="3018" y="2654"/>
                  </a:moveTo>
                  <a:lnTo>
                    <a:pt x="3018" y="2654"/>
                  </a:lnTo>
                  <a:lnTo>
                    <a:pt x="3018" y="2654"/>
                  </a:lnTo>
                  <a:lnTo>
                    <a:pt x="2993" y="2597"/>
                  </a:lnTo>
                  <a:lnTo>
                    <a:pt x="2968" y="2541"/>
                  </a:lnTo>
                  <a:lnTo>
                    <a:pt x="2941" y="2484"/>
                  </a:lnTo>
                  <a:lnTo>
                    <a:pt x="2913" y="2426"/>
                  </a:lnTo>
                  <a:lnTo>
                    <a:pt x="2855" y="2309"/>
                  </a:lnTo>
                  <a:lnTo>
                    <a:pt x="2794" y="2190"/>
                  </a:lnTo>
                  <a:lnTo>
                    <a:pt x="2794" y="2190"/>
                  </a:lnTo>
                  <a:lnTo>
                    <a:pt x="2751" y="2113"/>
                  </a:lnTo>
                  <a:lnTo>
                    <a:pt x="2708" y="2037"/>
                  </a:lnTo>
                  <a:lnTo>
                    <a:pt x="2664" y="1963"/>
                  </a:lnTo>
                  <a:lnTo>
                    <a:pt x="2618" y="1889"/>
                  </a:lnTo>
                  <a:lnTo>
                    <a:pt x="2572" y="1816"/>
                  </a:lnTo>
                  <a:lnTo>
                    <a:pt x="2525" y="1745"/>
                  </a:lnTo>
                  <a:lnTo>
                    <a:pt x="2478" y="1675"/>
                  </a:lnTo>
                  <a:lnTo>
                    <a:pt x="2430" y="1608"/>
                  </a:lnTo>
                  <a:lnTo>
                    <a:pt x="2382" y="1541"/>
                  </a:lnTo>
                  <a:lnTo>
                    <a:pt x="2333" y="1476"/>
                  </a:lnTo>
                  <a:lnTo>
                    <a:pt x="2285" y="1414"/>
                  </a:lnTo>
                  <a:lnTo>
                    <a:pt x="2239" y="1352"/>
                  </a:lnTo>
                  <a:lnTo>
                    <a:pt x="2192" y="1294"/>
                  </a:lnTo>
                  <a:lnTo>
                    <a:pt x="2145" y="1237"/>
                  </a:lnTo>
                  <a:lnTo>
                    <a:pt x="2100" y="1183"/>
                  </a:lnTo>
                  <a:lnTo>
                    <a:pt x="2056" y="1130"/>
                  </a:lnTo>
                  <a:lnTo>
                    <a:pt x="1971" y="1034"/>
                  </a:lnTo>
                  <a:lnTo>
                    <a:pt x="1894" y="947"/>
                  </a:lnTo>
                  <a:lnTo>
                    <a:pt x="1825" y="871"/>
                  </a:lnTo>
                  <a:lnTo>
                    <a:pt x="1764" y="807"/>
                  </a:lnTo>
                  <a:lnTo>
                    <a:pt x="1716" y="757"/>
                  </a:lnTo>
                  <a:lnTo>
                    <a:pt x="1678" y="720"/>
                  </a:lnTo>
                  <a:lnTo>
                    <a:pt x="1647" y="690"/>
                  </a:lnTo>
                  <a:lnTo>
                    <a:pt x="1647" y="690"/>
                  </a:lnTo>
                  <a:lnTo>
                    <a:pt x="1632" y="674"/>
                  </a:lnTo>
                  <a:lnTo>
                    <a:pt x="1590" y="631"/>
                  </a:lnTo>
                  <a:lnTo>
                    <a:pt x="1521" y="565"/>
                  </a:lnTo>
                  <a:lnTo>
                    <a:pt x="1478" y="523"/>
                  </a:lnTo>
                  <a:lnTo>
                    <a:pt x="1429" y="477"/>
                  </a:lnTo>
                  <a:lnTo>
                    <a:pt x="1375" y="427"/>
                  </a:lnTo>
                  <a:lnTo>
                    <a:pt x="1314" y="373"/>
                  </a:lnTo>
                  <a:lnTo>
                    <a:pt x="1250" y="317"/>
                  </a:lnTo>
                  <a:lnTo>
                    <a:pt x="1180" y="256"/>
                  </a:lnTo>
                  <a:lnTo>
                    <a:pt x="1106" y="195"/>
                  </a:lnTo>
                  <a:lnTo>
                    <a:pt x="1028" y="131"/>
                  </a:lnTo>
                  <a:lnTo>
                    <a:pt x="946" y="67"/>
                  </a:lnTo>
                  <a:lnTo>
                    <a:pt x="861" y="0"/>
                  </a:lnTo>
                  <a:lnTo>
                    <a:pt x="861" y="0"/>
                  </a:lnTo>
                  <a:lnTo>
                    <a:pt x="0" y="1051"/>
                  </a:lnTo>
                  <a:lnTo>
                    <a:pt x="0" y="1051"/>
                  </a:lnTo>
                  <a:lnTo>
                    <a:pt x="86" y="1118"/>
                  </a:lnTo>
                  <a:lnTo>
                    <a:pt x="173" y="1187"/>
                  </a:lnTo>
                  <a:lnTo>
                    <a:pt x="260" y="1258"/>
                  </a:lnTo>
                  <a:lnTo>
                    <a:pt x="346" y="1332"/>
                  </a:lnTo>
                  <a:lnTo>
                    <a:pt x="433" y="1408"/>
                  </a:lnTo>
                  <a:lnTo>
                    <a:pt x="518" y="1486"/>
                  </a:lnTo>
                  <a:lnTo>
                    <a:pt x="603" y="1567"/>
                  </a:lnTo>
                  <a:lnTo>
                    <a:pt x="687" y="1650"/>
                  </a:lnTo>
                  <a:lnTo>
                    <a:pt x="687" y="1650"/>
                  </a:lnTo>
                  <a:lnTo>
                    <a:pt x="740" y="1703"/>
                  </a:lnTo>
                  <a:lnTo>
                    <a:pt x="791" y="1757"/>
                  </a:lnTo>
                  <a:lnTo>
                    <a:pt x="842" y="1810"/>
                  </a:lnTo>
                  <a:lnTo>
                    <a:pt x="891" y="1864"/>
                  </a:lnTo>
                  <a:lnTo>
                    <a:pt x="940" y="1917"/>
                  </a:lnTo>
                  <a:lnTo>
                    <a:pt x="988" y="1971"/>
                  </a:lnTo>
                  <a:lnTo>
                    <a:pt x="1035" y="2025"/>
                  </a:lnTo>
                  <a:lnTo>
                    <a:pt x="1079" y="2080"/>
                  </a:lnTo>
                  <a:lnTo>
                    <a:pt x="1124" y="2134"/>
                  </a:lnTo>
                  <a:lnTo>
                    <a:pt x="1169" y="2188"/>
                  </a:lnTo>
                  <a:lnTo>
                    <a:pt x="1211" y="2242"/>
                  </a:lnTo>
                  <a:lnTo>
                    <a:pt x="1253" y="2296"/>
                  </a:lnTo>
                  <a:lnTo>
                    <a:pt x="1294" y="2351"/>
                  </a:lnTo>
                  <a:lnTo>
                    <a:pt x="1333" y="2405"/>
                  </a:lnTo>
                  <a:lnTo>
                    <a:pt x="1371" y="2459"/>
                  </a:lnTo>
                  <a:lnTo>
                    <a:pt x="1410" y="2513"/>
                  </a:lnTo>
                  <a:lnTo>
                    <a:pt x="1446" y="2567"/>
                  </a:lnTo>
                  <a:lnTo>
                    <a:pt x="1482" y="2621"/>
                  </a:lnTo>
                  <a:lnTo>
                    <a:pt x="1516" y="2675"/>
                  </a:lnTo>
                  <a:lnTo>
                    <a:pt x="1549" y="2729"/>
                  </a:lnTo>
                  <a:lnTo>
                    <a:pt x="1581" y="2782"/>
                  </a:lnTo>
                  <a:lnTo>
                    <a:pt x="1613" y="2835"/>
                  </a:lnTo>
                  <a:lnTo>
                    <a:pt x="1643" y="2887"/>
                  </a:lnTo>
                  <a:lnTo>
                    <a:pt x="1672" y="2940"/>
                  </a:lnTo>
                  <a:lnTo>
                    <a:pt x="1700" y="2992"/>
                  </a:lnTo>
                  <a:lnTo>
                    <a:pt x="1727" y="3044"/>
                  </a:lnTo>
                  <a:lnTo>
                    <a:pt x="1752" y="3096"/>
                  </a:lnTo>
                  <a:lnTo>
                    <a:pt x="1777" y="3147"/>
                  </a:lnTo>
                  <a:lnTo>
                    <a:pt x="1800" y="3198"/>
                  </a:lnTo>
                  <a:lnTo>
                    <a:pt x="1822" y="3249"/>
                  </a:lnTo>
                  <a:lnTo>
                    <a:pt x="1843" y="3298"/>
                  </a:lnTo>
                  <a:lnTo>
                    <a:pt x="1863" y="3348"/>
                  </a:lnTo>
                  <a:lnTo>
                    <a:pt x="1863" y="3348"/>
                  </a:lnTo>
                  <a:lnTo>
                    <a:pt x="3018" y="26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5" name="Freeform 95"/>
            <p:cNvSpPr>
              <a:spLocks/>
            </p:cNvSpPr>
            <p:nvPr/>
          </p:nvSpPr>
          <p:spPr bwMode="auto">
            <a:xfrm flipH="1">
              <a:off x="3428830" y="4242402"/>
              <a:ext cx="247697" cy="194778"/>
            </a:xfrm>
            <a:custGeom>
              <a:avLst/>
              <a:gdLst>
                <a:gd name="T0" fmla="*/ 881 w 1345"/>
                <a:gd name="T1" fmla="*/ 942 h 1363"/>
                <a:gd name="T2" fmla="*/ 0 w 1345"/>
                <a:gd name="T3" fmla="*/ 1363 h 1363"/>
                <a:gd name="T4" fmla="*/ 27 w 1345"/>
                <a:gd name="T5" fmla="*/ 1329 h 1363"/>
                <a:gd name="T6" fmla="*/ 51 w 1345"/>
                <a:gd name="T7" fmla="*/ 1294 h 1363"/>
                <a:gd name="T8" fmla="*/ 72 w 1345"/>
                <a:gd name="T9" fmla="*/ 1255 h 1363"/>
                <a:gd name="T10" fmla="*/ 91 w 1345"/>
                <a:gd name="T11" fmla="*/ 1216 h 1363"/>
                <a:gd name="T12" fmla="*/ 107 w 1345"/>
                <a:gd name="T13" fmla="*/ 1174 h 1363"/>
                <a:gd name="T14" fmla="*/ 121 w 1345"/>
                <a:gd name="T15" fmla="*/ 1130 h 1363"/>
                <a:gd name="T16" fmla="*/ 131 w 1345"/>
                <a:gd name="T17" fmla="*/ 1085 h 1363"/>
                <a:gd name="T18" fmla="*/ 140 w 1345"/>
                <a:gd name="T19" fmla="*/ 1038 h 1363"/>
                <a:gd name="T20" fmla="*/ 146 w 1345"/>
                <a:gd name="T21" fmla="*/ 989 h 1363"/>
                <a:gd name="T22" fmla="*/ 150 w 1345"/>
                <a:gd name="T23" fmla="*/ 938 h 1363"/>
                <a:gd name="T24" fmla="*/ 149 w 1345"/>
                <a:gd name="T25" fmla="*/ 832 h 1363"/>
                <a:gd name="T26" fmla="*/ 139 w 1345"/>
                <a:gd name="T27" fmla="*/ 720 h 1363"/>
                <a:gd name="T28" fmla="*/ 120 w 1345"/>
                <a:gd name="T29" fmla="*/ 603 h 1363"/>
                <a:gd name="T30" fmla="*/ 1316 w 1345"/>
                <a:gd name="T31" fmla="*/ 0 h 1363"/>
                <a:gd name="T32" fmla="*/ 1324 w 1345"/>
                <a:gd name="T33" fmla="*/ 38 h 1363"/>
                <a:gd name="T34" fmla="*/ 1336 w 1345"/>
                <a:gd name="T35" fmla="*/ 112 h 1363"/>
                <a:gd name="T36" fmla="*/ 1342 w 1345"/>
                <a:gd name="T37" fmla="*/ 185 h 1363"/>
                <a:gd name="T38" fmla="*/ 1345 w 1345"/>
                <a:gd name="T39" fmla="*/ 256 h 1363"/>
                <a:gd name="T40" fmla="*/ 1342 w 1345"/>
                <a:gd name="T41" fmla="*/ 325 h 1363"/>
                <a:gd name="T42" fmla="*/ 1334 w 1345"/>
                <a:gd name="T43" fmla="*/ 392 h 1363"/>
                <a:gd name="T44" fmla="*/ 1321 w 1345"/>
                <a:gd name="T45" fmla="*/ 455 h 1363"/>
                <a:gd name="T46" fmla="*/ 1302 w 1345"/>
                <a:gd name="T47" fmla="*/ 518 h 1363"/>
                <a:gd name="T48" fmla="*/ 1277 w 1345"/>
                <a:gd name="T49" fmla="*/ 577 h 1363"/>
                <a:gd name="T50" fmla="*/ 1247 w 1345"/>
                <a:gd name="T51" fmla="*/ 634 h 1363"/>
                <a:gd name="T52" fmla="*/ 1209 w 1345"/>
                <a:gd name="T53" fmla="*/ 689 h 1363"/>
                <a:gd name="T54" fmla="*/ 1166 w 1345"/>
                <a:gd name="T55" fmla="*/ 742 h 1363"/>
                <a:gd name="T56" fmla="*/ 1115 w 1345"/>
                <a:gd name="T57" fmla="*/ 791 h 1363"/>
                <a:gd name="T58" fmla="*/ 1056 w 1345"/>
                <a:gd name="T59" fmla="*/ 838 h 1363"/>
                <a:gd name="T60" fmla="*/ 992 w 1345"/>
                <a:gd name="T61" fmla="*/ 881 h 1363"/>
                <a:gd name="T62" fmla="*/ 919 w 1345"/>
                <a:gd name="T63" fmla="*/ 922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345" h="1363">
                  <a:moveTo>
                    <a:pt x="881" y="942"/>
                  </a:moveTo>
                  <a:lnTo>
                    <a:pt x="881" y="942"/>
                  </a:lnTo>
                  <a:lnTo>
                    <a:pt x="0" y="1363"/>
                  </a:lnTo>
                  <a:lnTo>
                    <a:pt x="0" y="1363"/>
                  </a:lnTo>
                  <a:lnTo>
                    <a:pt x="14" y="1346"/>
                  </a:lnTo>
                  <a:lnTo>
                    <a:pt x="27" y="1329"/>
                  </a:lnTo>
                  <a:lnTo>
                    <a:pt x="39" y="1312"/>
                  </a:lnTo>
                  <a:lnTo>
                    <a:pt x="51" y="1294"/>
                  </a:lnTo>
                  <a:lnTo>
                    <a:pt x="61" y="1275"/>
                  </a:lnTo>
                  <a:lnTo>
                    <a:pt x="72" y="1255"/>
                  </a:lnTo>
                  <a:lnTo>
                    <a:pt x="82" y="1236"/>
                  </a:lnTo>
                  <a:lnTo>
                    <a:pt x="91" y="1216"/>
                  </a:lnTo>
                  <a:lnTo>
                    <a:pt x="99" y="1195"/>
                  </a:lnTo>
                  <a:lnTo>
                    <a:pt x="107" y="1174"/>
                  </a:lnTo>
                  <a:lnTo>
                    <a:pt x="114" y="1152"/>
                  </a:lnTo>
                  <a:lnTo>
                    <a:pt x="121" y="1130"/>
                  </a:lnTo>
                  <a:lnTo>
                    <a:pt x="126" y="1107"/>
                  </a:lnTo>
                  <a:lnTo>
                    <a:pt x="131" y="1085"/>
                  </a:lnTo>
                  <a:lnTo>
                    <a:pt x="136" y="1062"/>
                  </a:lnTo>
                  <a:lnTo>
                    <a:pt x="140" y="1038"/>
                  </a:lnTo>
                  <a:lnTo>
                    <a:pt x="144" y="1014"/>
                  </a:lnTo>
                  <a:lnTo>
                    <a:pt x="146" y="989"/>
                  </a:lnTo>
                  <a:lnTo>
                    <a:pt x="148" y="964"/>
                  </a:lnTo>
                  <a:lnTo>
                    <a:pt x="150" y="938"/>
                  </a:lnTo>
                  <a:lnTo>
                    <a:pt x="151" y="886"/>
                  </a:lnTo>
                  <a:lnTo>
                    <a:pt x="149" y="832"/>
                  </a:lnTo>
                  <a:lnTo>
                    <a:pt x="146" y="777"/>
                  </a:lnTo>
                  <a:lnTo>
                    <a:pt x="139" y="720"/>
                  </a:lnTo>
                  <a:lnTo>
                    <a:pt x="130" y="663"/>
                  </a:lnTo>
                  <a:lnTo>
                    <a:pt x="120" y="603"/>
                  </a:lnTo>
                  <a:lnTo>
                    <a:pt x="120" y="603"/>
                  </a:lnTo>
                  <a:lnTo>
                    <a:pt x="1316" y="0"/>
                  </a:lnTo>
                  <a:lnTo>
                    <a:pt x="1316" y="0"/>
                  </a:lnTo>
                  <a:lnTo>
                    <a:pt x="1324" y="38"/>
                  </a:lnTo>
                  <a:lnTo>
                    <a:pt x="1331" y="76"/>
                  </a:lnTo>
                  <a:lnTo>
                    <a:pt x="1336" y="112"/>
                  </a:lnTo>
                  <a:lnTo>
                    <a:pt x="1340" y="149"/>
                  </a:lnTo>
                  <a:lnTo>
                    <a:pt x="1342" y="185"/>
                  </a:lnTo>
                  <a:lnTo>
                    <a:pt x="1344" y="221"/>
                  </a:lnTo>
                  <a:lnTo>
                    <a:pt x="1345" y="256"/>
                  </a:lnTo>
                  <a:lnTo>
                    <a:pt x="1344" y="291"/>
                  </a:lnTo>
                  <a:lnTo>
                    <a:pt x="1342" y="325"/>
                  </a:lnTo>
                  <a:lnTo>
                    <a:pt x="1339" y="358"/>
                  </a:lnTo>
                  <a:lnTo>
                    <a:pt x="1334" y="392"/>
                  </a:lnTo>
                  <a:lnTo>
                    <a:pt x="1329" y="424"/>
                  </a:lnTo>
                  <a:lnTo>
                    <a:pt x="1321" y="455"/>
                  </a:lnTo>
                  <a:lnTo>
                    <a:pt x="1312" y="486"/>
                  </a:lnTo>
                  <a:lnTo>
                    <a:pt x="1302" y="518"/>
                  </a:lnTo>
                  <a:lnTo>
                    <a:pt x="1290" y="548"/>
                  </a:lnTo>
                  <a:lnTo>
                    <a:pt x="1277" y="577"/>
                  </a:lnTo>
                  <a:lnTo>
                    <a:pt x="1262" y="606"/>
                  </a:lnTo>
                  <a:lnTo>
                    <a:pt x="1247" y="634"/>
                  </a:lnTo>
                  <a:lnTo>
                    <a:pt x="1228" y="663"/>
                  </a:lnTo>
                  <a:lnTo>
                    <a:pt x="1209" y="689"/>
                  </a:lnTo>
                  <a:lnTo>
                    <a:pt x="1187" y="716"/>
                  </a:lnTo>
                  <a:lnTo>
                    <a:pt x="1166" y="742"/>
                  </a:lnTo>
                  <a:lnTo>
                    <a:pt x="1141" y="767"/>
                  </a:lnTo>
                  <a:lnTo>
                    <a:pt x="1115" y="791"/>
                  </a:lnTo>
                  <a:lnTo>
                    <a:pt x="1086" y="815"/>
                  </a:lnTo>
                  <a:lnTo>
                    <a:pt x="1056" y="838"/>
                  </a:lnTo>
                  <a:lnTo>
                    <a:pt x="1025" y="859"/>
                  </a:lnTo>
                  <a:lnTo>
                    <a:pt x="992" y="881"/>
                  </a:lnTo>
                  <a:lnTo>
                    <a:pt x="957" y="902"/>
                  </a:lnTo>
                  <a:lnTo>
                    <a:pt x="919" y="922"/>
                  </a:lnTo>
                  <a:lnTo>
                    <a:pt x="881" y="9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6" name="Freeform 96"/>
            <p:cNvSpPr>
              <a:spLocks/>
            </p:cNvSpPr>
            <p:nvPr/>
          </p:nvSpPr>
          <p:spPr bwMode="auto">
            <a:xfrm flipH="1">
              <a:off x="4171921" y="3668389"/>
              <a:ext cx="242537" cy="193488"/>
            </a:xfrm>
            <a:custGeom>
              <a:avLst/>
              <a:gdLst>
                <a:gd name="T0" fmla="*/ 0 w 1321"/>
                <a:gd name="T1" fmla="*/ 1346 h 1346"/>
                <a:gd name="T2" fmla="*/ 0 w 1321"/>
                <a:gd name="T3" fmla="*/ 1346 h 1346"/>
                <a:gd name="T4" fmla="*/ 418 w 1321"/>
                <a:gd name="T5" fmla="*/ 465 h 1346"/>
                <a:gd name="T6" fmla="*/ 418 w 1321"/>
                <a:gd name="T7" fmla="*/ 465 h 1346"/>
                <a:gd name="T8" fmla="*/ 437 w 1321"/>
                <a:gd name="T9" fmla="*/ 427 h 1346"/>
                <a:gd name="T10" fmla="*/ 457 w 1321"/>
                <a:gd name="T11" fmla="*/ 391 h 1346"/>
                <a:gd name="T12" fmla="*/ 477 w 1321"/>
                <a:gd name="T13" fmla="*/ 356 h 1346"/>
                <a:gd name="T14" fmla="*/ 497 w 1321"/>
                <a:gd name="T15" fmla="*/ 324 h 1346"/>
                <a:gd name="T16" fmla="*/ 519 w 1321"/>
                <a:gd name="T17" fmla="*/ 294 h 1346"/>
                <a:gd name="T18" fmla="*/ 541 w 1321"/>
                <a:gd name="T19" fmla="*/ 264 h 1346"/>
                <a:gd name="T20" fmla="*/ 564 w 1321"/>
                <a:gd name="T21" fmla="*/ 236 h 1346"/>
                <a:gd name="T22" fmla="*/ 588 w 1321"/>
                <a:gd name="T23" fmla="*/ 211 h 1346"/>
                <a:gd name="T24" fmla="*/ 612 w 1321"/>
                <a:gd name="T25" fmla="*/ 186 h 1346"/>
                <a:gd name="T26" fmla="*/ 637 w 1321"/>
                <a:gd name="T27" fmla="*/ 164 h 1346"/>
                <a:gd name="T28" fmla="*/ 662 w 1321"/>
                <a:gd name="T29" fmla="*/ 143 h 1346"/>
                <a:gd name="T30" fmla="*/ 688 w 1321"/>
                <a:gd name="T31" fmla="*/ 124 h 1346"/>
                <a:gd name="T32" fmla="*/ 715 w 1321"/>
                <a:gd name="T33" fmla="*/ 106 h 1346"/>
                <a:gd name="T34" fmla="*/ 742 w 1321"/>
                <a:gd name="T35" fmla="*/ 89 h 1346"/>
                <a:gd name="T36" fmla="*/ 769 w 1321"/>
                <a:gd name="T37" fmla="*/ 75 h 1346"/>
                <a:gd name="T38" fmla="*/ 797 w 1321"/>
                <a:gd name="T39" fmla="*/ 61 h 1346"/>
                <a:gd name="T40" fmla="*/ 826 w 1321"/>
                <a:gd name="T41" fmla="*/ 49 h 1346"/>
                <a:gd name="T42" fmla="*/ 855 w 1321"/>
                <a:gd name="T43" fmla="*/ 38 h 1346"/>
                <a:gd name="T44" fmla="*/ 885 w 1321"/>
                <a:gd name="T45" fmla="*/ 29 h 1346"/>
                <a:gd name="T46" fmla="*/ 916 w 1321"/>
                <a:gd name="T47" fmla="*/ 21 h 1346"/>
                <a:gd name="T48" fmla="*/ 946 w 1321"/>
                <a:gd name="T49" fmla="*/ 14 h 1346"/>
                <a:gd name="T50" fmla="*/ 979 w 1321"/>
                <a:gd name="T51" fmla="*/ 9 h 1346"/>
                <a:gd name="T52" fmla="*/ 1011 w 1321"/>
                <a:gd name="T53" fmla="*/ 5 h 1346"/>
                <a:gd name="T54" fmla="*/ 1043 w 1321"/>
                <a:gd name="T55" fmla="*/ 2 h 1346"/>
                <a:gd name="T56" fmla="*/ 1076 w 1321"/>
                <a:gd name="T57" fmla="*/ 0 h 1346"/>
                <a:gd name="T58" fmla="*/ 1110 w 1321"/>
                <a:gd name="T59" fmla="*/ 0 h 1346"/>
                <a:gd name="T60" fmla="*/ 1144 w 1321"/>
                <a:gd name="T61" fmla="*/ 1 h 1346"/>
                <a:gd name="T62" fmla="*/ 1178 w 1321"/>
                <a:gd name="T63" fmla="*/ 2 h 1346"/>
                <a:gd name="T64" fmla="*/ 1213 w 1321"/>
                <a:gd name="T65" fmla="*/ 5 h 1346"/>
                <a:gd name="T66" fmla="*/ 1248 w 1321"/>
                <a:gd name="T67" fmla="*/ 9 h 1346"/>
                <a:gd name="T68" fmla="*/ 1284 w 1321"/>
                <a:gd name="T69" fmla="*/ 14 h 1346"/>
                <a:gd name="T70" fmla="*/ 1321 w 1321"/>
                <a:gd name="T71" fmla="*/ 21 h 1346"/>
                <a:gd name="T72" fmla="*/ 1321 w 1321"/>
                <a:gd name="T73" fmla="*/ 21 h 1346"/>
                <a:gd name="T74" fmla="*/ 669 w 1321"/>
                <a:gd name="T75" fmla="*/ 1213 h 1346"/>
                <a:gd name="T76" fmla="*/ 669 w 1321"/>
                <a:gd name="T77" fmla="*/ 1213 h 1346"/>
                <a:gd name="T78" fmla="*/ 617 w 1321"/>
                <a:gd name="T79" fmla="*/ 1205 h 1346"/>
                <a:gd name="T80" fmla="*/ 566 w 1321"/>
                <a:gd name="T81" fmla="*/ 1200 h 1346"/>
                <a:gd name="T82" fmla="*/ 517 w 1321"/>
                <a:gd name="T83" fmla="*/ 1198 h 1346"/>
                <a:gd name="T84" fmla="*/ 468 w 1321"/>
                <a:gd name="T85" fmla="*/ 1197 h 1346"/>
                <a:gd name="T86" fmla="*/ 421 w 1321"/>
                <a:gd name="T87" fmla="*/ 1198 h 1346"/>
                <a:gd name="T88" fmla="*/ 376 w 1321"/>
                <a:gd name="T89" fmla="*/ 1201 h 1346"/>
                <a:gd name="T90" fmla="*/ 332 w 1321"/>
                <a:gd name="T91" fmla="*/ 1206 h 1346"/>
                <a:gd name="T92" fmla="*/ 288 w 1321"/>
                <a:gd name="T93" fmla="*/ 1213 h 1346"/>
                <a:gd name="T94" fmla="*/ 247 w 1321"/>
                <a:gd name="T95" fmla="*/ 1222 h 1346"/>
                <a:gd name="T96" fmla="*/ 207 w 1321"/>
                <a:gd name="T97" fmla="*/ 1233 h 1346"/>
                <a:gd name="T98" fmla="*/ 169 w 1321"/>
                <a:gd name="T99" fmla="*/ 1247 h 1346"/>
                <a:gd name="T100" fmla="*/ 150 w 1321"/>
                <a:gd name="T101" fmla="*/ 1254 h 1346"/>
                <a:gd name="T102" fmla="*/ 131 w 1321"/>
                <a:gd name="T103" fmla="*/ 1263 h 1346"/>
                <a:gd name="T104" fmla="*/ 114 w 1321"/>
                <a:gd name="T105" fmla="*/ 1271 h 1346"/>
                <a:gd name="T106" fmla="*/ 96 w 1321"/>
                <a:gd name="T107" fmla="*/ 1280 h 1346"/>
                <a:gd name="T108" fmla="*/ 79 w 1321"/>
                <a:gd name="T109" fmla="*/ 1290 h 1346"/>
                <a:gd name="T110" fmla="*/ 63 w 1321"/>
                <a:gd name="T111" fmla="*/ 1300 h 1346"/>
                <a:gd name="T112" fmla="*/ 46 w 1321"/>
                <a:gd name="T113" fmla="*/ 1311 h 1346"/>
                <a:gd name="T114" fmla="*/ 31 w 1321"/>
                <a:gd name="T115" fmla="*/ 1322 h 1346"/>
                <a:gd name="T116" fmla="*/ 15 w 1321"/>
                <a:gd name="T117" fmla="*/ 1334 h 1346"/>
                <a:gd name="T118" fmla="*/ 0 w 1321"/>
                <a:gd name="T119" fmla="*/ 1346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21" h="1346">
                  <a:moveTo>
                    <a:pt x="0" y="1346"/>
                  </a:moveTo>
                  <a:lnTo>
                    <a:pt x="0" y="1346"/>
                  </a:lnTo>
                  <a:lnTo>
                    <a:pt x="418" y="465"/>
                  </a:lnTo>
                  <a:lnTo>
                    <a:pt x="418" y="465"/>
                  </a:lnTo>
                  <a:lnTo>
                    <a:pt x="437" y="427"/>
                  </a:lnTo>
                  <a:lnTo>
                    <a:pt x="457" y="391"/>
                  </a:lnTo>
                  <a:lnTo>
                    <a:pt x="477" y="356"/>
                  </a:lnTo>
                  <a:lnTo>
                    <a:pt x="497" y="324"/>
                  </a:lnTo>
                  <a:lnTo>
                    <a:pt x="519" y="294"/>
                  </a:lnTo>
                  <a:lnTo>
                    <a:pt x="541" y="264"/>
                  </a:lnTo>
                  <a:lnTo>
                    <a:pt x="564" y="236"/>
                  </a:lnTo>
                  <a:lnTo>
                    <a:pt x="588" y="211"/>
                  </a:lnTo>
                  <a:lnTo>
                    <a:pt x="612" y="186"/>
                  </a:lnTo>
                  <a:lnTo>
                    <a:pt x="637" y="164"/>
                  </a:lnTo>
                  <a:lnTo>
                    <a:pt x="662" y="143"/>
                  </a:lnTo>
                  <a:lnTo>
                    <a:pt x="688" y="124"/>
                  </a:lnTo>
                  <a:lnTo>
                    <a:pt x="715" y="106"/>
                  </a:lnTo>
                  <a:lnTo>
                    <a:pt x="742" y="89"/>
                  </a:lnTo>
                  <a:lnTo>
                    <a:pt x="769" y="75"/>
                  </a:lnTo>
                  <a:lnTo>
                    <a:pt x="797" y="61"/>
                  </a:lnTo>
                  <a:lnTo>
                    <a:pt x="826" y="49"/>
                  </a:lnTo>
                  <a:lnTo>
                    <a:pt x="855" y="38"/>
                  </a:lnTo>
                  <a:lnTo>
                    <a:pt x="885" y="29"/>
                  </a:lnTo>
                  <a:lnTo>
                    <a:pt x="916" y="21"/>
                  </a:lnTo>
                  <a:lnTo>
                    <a:pt x="946" y="14"/>
                  </a:lnTo>
                  <a:lnTo>
                    <a:pt x="979" y="9"/>
                  </a:lnTo>
                  <a:lnTo>
                    <a:pt x="1011" y="5"/>
                  </a:lnTo>
                  <a:lnTo>
                    <a:pt x="1043" y="2"/>
                  </a:lnTo>
                  <a:lnTo>
                    <a:pt x="1076" y="0"/>
                  </a:lnTo>
                  <a:lnTo>
                    <a:pt x="1110" y="0"/>
                  </a:lnTo>
                  <a:lnTo>
                    <a:pt x="1144" y="1"/>
                  </a:lnTo>
                  <a:lnTo>
                    <a:pt x="1178" y="2"/>
                  </a:lnTo>
                  <a:lnTo>
                    <a:pt x="1213" y="5"/>
                  </a:lnTo>
                  <a:lnTo>
                    <a:pt x="1248" y="9"/>
                  </a:lnTo>
                  <a:lnTo>
                    <a:pt x="1284" y="14"/>
                  </a:lnTo>
                  <a:lnTo>
                    <a:pt x="1321" y="21"/>
                  </a:lnTo>
                  <a:lnTo>
                    <a:pt x="1321" y="21"/>
                  </a:lnTo>
                  <a:lnTo>
                    <a:pt x="669" y="1213"/>
                  </a:lnTo>
                  <a:lnTo>
                    <a:pt x="669" y="1213"/>
                  </a:lnTo>
                  <a:lnTo>
                    <a:pt x="617" y="1205"/>
                  </a:lnTo>
                  <a:lnTo>
                    <a:pt x="566" y="1200"/>
                  </a:lnTo>
                  <a:lnTo>
                    <a:pt x="517" y="1198"/>
                  </a:lnTo>
                  <a:lnTo>
                    <a:pt x="468" y="1197"/>
                  </a:lnTo>
                  <a:lnTo>
                    <a:pt x="421" y="1198"/>
                  </a:lnTo>
                  <a:lnTo>
                    <a:pt x="376" y="1201"/>
                  </a:lnTo>
                  <a:lnTo>
                    <a:pt x="332" y="1206"/>
                  </a:lnTo>
                  <a:lnTo>
                    <a:pt x="288" y="1213"/>
                  </a:lnTo>
                  <a:lnTo>
                    <a:pt x="247" y="1222"/>
                  </a:lnTo>
                  <a:lnTo>
                    <a:pt x="207" y="1233"/>
                  </a:lnTo>
                  <a:lnTo>
                    <a:pt x="169" y="1247"/>
                  </a:lnTo>
                  <a:lnTo>
                    <a:pt x="150" y="1254"/>
                  </a:lnTo>
                  <a:lnTo>
                    <a:pt x="131" y="1263"/>
                  </a:lnTo>
                  <a:lnTo>
                    <a:pt x="114" y="1271"/>
                  </a:lnTo>
                  <a:lnTo>
                    <a:pt x="96" y="1280"/>
                  </a:lnTo>
                  <a:lnTo>
                    <a:pt x="79" y="1290"/>
                  </a:lnTo>
                  <a:lnTo>
                    <a:pt x="63" y="1300"/>
                  </a:lnTo>
                  <a:lnTo>
                    <a:pt x="46" y="1311"/>
                  </a:lnTo>
                  <a:lnTo>
                    <a:pt x="31" y="1322"/>
                  </a:lnTo>
                  <a:lnTo>
                    <a:pt x="15" y="1334"/>
                  </a:lnTo>
                  <a:lnTo>
                    <a:pt x="0" y="13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7" name="Freeform 97"/>
            <p:cNvSpPr>
              <a:spLocks noEditPoints="1"/>
            </p:cNvSpPr>
            <p:nvPr/>
          </p:nvSpPr>
          <p:spPr bwMode="auto">
            <a:xfrm flipH="1">
              <a:off x="3854558" y="3999898"/>
              <a:ext cx="752123" cy="589492"/>
            </a:xfrm>
            <a:custGeom>
              <a:avLst/>
              <a:gdLst>
                <a:gd name="T0" fmla="*/ 3962 w 4086"/>
                <a:gd name="T1" fmla="*/ 3570 h 4110"/>
                <a:gd name="T2" fmla="*/ 3986 w 4086"/>
                <a:gd name="T3" fmla="*/ 3538 h 4110"/>
                <a:gd name="T4" fmla="*/ 4017 w 4086"/>
                <a:gd name="T5" fmla="*/ 3487 h 4110"/>
                <a:gd name="T6" fmla="*/ 4042 w 4086"/>
                <a:gd name="T7" fmla="*/ 3432 h 4110"/>
                <a:gd name="T8" fmla="*/ 4061 w 4086"/>
                <a:gd name="T9" fmla="*/ 3373 h 4110"/>
                <a:gd name="T10" fmla="*/ 4075 w 4086"/>
                <a:gd name="T11" fmla="*/ 3309 h 4110"/>
                <a:gd name="T12" fmla="*/ 4083 w 4086"/>
                <a:gd name="T13" fmla="*/ 3242 h 4110"/>
                <a:gd name="T14" fmla="*/ 4084 w 4086"/>
                <a:gd name="T15" fmla="*/ 3123 h 4110"/>
                <a:gd name="T16" fmla="*/ 4068 w 4086"/>
                <a:gd name="T17" fmla="*/ 2966 h 4110"/>
                <a:gd name="T18" fmla="*/ 4044 w 4086"/>
                <a:gd name="T19" fmla="*/ 2856 h 4110"/>
                <a:gd name="T20" fmla="*/ 2864 w 4086"/>
                <a:gd name="T21" fmla="*/ 3506 h 4110"/>
                <a:gd name="T22" fmla="*/ 2896 w 4086"/>
                <a:gd name="T23" fmla="*/ 3651 h 4110"/>
                <a:gd name="T24" fmla="*/ 2910 w 4086"/>
                <a:gd name="T25" fmla="*/ 3785 h 4110"/>
                <a:gd name="T26" fmla="*/ 2903 w 4086"/>
                <a:gd name="T27" fmla="*/ 3908 h 4110"/>
                <a:gd name="T28" fmla="*/ 2888 w 4086"/>
                <a:gd name="T29" fmla="*/ 3982 h 4110"/>
                <a:gd name="T30" fmla="*/ 2870 w 4086"/>
                <a:gd name="T31" fmla="*/ 4033 h 4110"/>
                <a:gd name="T32" fmla="*/ 2847 w 4086"/>
                <a:gd name="T33" fmla="*/ 4081 h 4110"/>
                <a:gd name="T34" fmla="*/ 2829 w 4086"/>
                <a:gd name="T35" fmla="*/ 4110 h 4110"/>
                <a:gd name="T36" fmla="*/ 2995 w 4086"/>
                <a:gd name="T37" fmla="*/ 1181 h 4110"/>
                <a:gd name="T38" fmla="*/ 3123 w 4086"/>
                <a:gd name="T39" fmla="*/ 1316 h 4110"/>
                <a:gd name="T40" fmla="*/ 3243 w 4086"/>
                <a:gd name="T41" fmla="*/ 1452 h 4110"/>
                <a:gd name="T42" fmla="*/ 3357 w 4086"/>
                <a:gd name="T43" fmla="*/ 1590 h 4110"/>
                <a:gd name="T44" fmla="*/ 3463 w 4086"/>
                <a:gd name="T45" fmla="*/ 1726 h 4110"/>
                <a:gd name="T46" fmla="*/ 3561 w 4086"/>
                <a:gd name="T47" fmla="*/ 1864 h 4110"/>
                <a:gd name="T48" fmla="*/ 3652 w 4086"/>
                <a:gd name="T49" fmla="*/ 1999 h 4110"/>
                <a:gd name="T50" fmla="*/ 3735 w 4086"/>
                <a:gd name="T51" fmla="*/ 2135 h 4110"/>
                <a:gd name="T52" fmla="*/ 3809 w 4086"/>
                <a:gd name="T53" fmla="*/ 2268 h 4110"/>
                <a:gd name="T54" fmla="*/ 3875 w 4086"/>
                <a:gd name="T55" fmla="*/ 2398 h 4110"/>
                <a:gd name="T56" fmla="*/ 3933 w 4086"/>
                <a:gd name="T57" fmla="*/ 2527 h 4110"/>
                <a:gd name="T58" fmla="*/ 3314 w 4086"/>
                <a:gd name="T59" fmla="*/ 2950 h 4110"/>
                <a:gd name="T60" fmla="*/ 2750 w 4086"/>
                <a:gd name="T61" fmla="*/ 3201 h 4110"/>
                <a:gd name="T62" fmla="*/ 2642 w 4086"/>
                <a:gd name="T63" fmla="*/ 2990 h 4110"/>
                <a:gd name="T64" fmla="*/ 2508 w 4086"/>
                <a:gd name="T65" fmla="*/ 2774 h 4110"/>
                <a:gd name="T66" fmla="*/ 2350 w 4086"/>
                <a:gd name="T67" fmla="*/ 2554 h 4110"/>
                <a:gd name="T68" fmla="*/ 2168 w 4086"/>
                <a:gd name="T69" fmla="*/ 2333 h 4110"/>
                <a:gd name="T70" fmla="*/ 1966 w 4086"/>
                <a:gd name="T71" fmla="*/ 2116 h 4110"/>
                <a:gd name="T72" fmla="*/ 1846 w 4086"/>
                <a:gd name="T73" fmla="*/ 2000 h 4110"/>
                <a:gd name="T74" fmla="*/ 1665 w 4086"/>
                <a:gd name="T75" fmla="*/ 1840 h 4110"/>
                <a:gd name="T76" fmla="*/ 1482 w 4086"/>
                <a:gd name="T77" fmla="*/ 1695 h 4110"/>
                <a:gd name="T78" fmla="*/ 2361 w 4086"/>
                <a:gd name="T79" fmla="*/ 622 h 4110"/>
                <a:gd name="T80" fmla="*/ 2583 w 4086"/>
                <a:gd name="T81" fmla="*/ 799 h 4110"/>
                <a:gd name="T82" fmla="*/ 2806 w 4086"/>
                <a:gd name="T83" fmla="*/ 996 h 4110"/>
                <a:gd name="T84" fmla="*/ 2951 w 4086"/>
                <a:gd name="T85" fmla="*/ 1137 h 4110"/>
                <a:gd name="T86" fmla="*/ 459 w 4086"/>
                <a:gd name="T87" fmla="*/ 1188 h 4110"/>
                <a:gd name="T88" fmla="*/ 392 w 4086"/>
                <a:gd name="T89" fmla="*/ 1177 h 4110"/>
                <a:gd name="T90" fmla="*/ 295 w 4086"/>
                <a:gd name="T91" fmla="*/ 1170 h 4110"/>
                <a:gd name="T92" fmla="*/ 204 w 4086"/>
                <a:gd name="T93" fmla="*/ 1173 h 4110"/>
                <a:gd name="T94" fmla="*/ 121 w 4086"/>
                <a:gd name="T95" fmla="*/ 1188 h 4110"/>
                <a:gd name="T96" fmla="*/ 45 w 4086"/>
                <a:gd name="T97" fmla="*/ 1213 h 4110"/>
                <a:gd name="T98" fmla="*/ 0 w 4086"/>
                <a:gd name="T99" fmla="*/ 1236 h 4110"/>
                <a:gd name="T100" fmla="*/ 554 w 4086"/>
                <a:gd name="T101" fmla="*/ 101 h 4110"/>
                <a:gd name="T102" fmla="*/ 642 w 4086"/>
                <a:gd name="T103" fmla="*/ 52 h 4110"/>
                <a:gd name="T104" fmla="*/ 741 w 4086"/>
                <a:gd name="T105" fmla="*/ 20 h 4110"/>
                <a:gd name="T106" fmla="*/ 851 w 4086"/>
                <a:gd name="T107" fmla="*/ 2 h 4110"/>
                <a:gd name="T108" fmla="*/ 972 w 4086"/>
                <a:gd name="T109" fmla="*/ 1 h 4110"/>
                <a:gd name="T110" fmla="*/ 1102 w 4086"/>
                <a:gd name="T111" fmla="*/ 14 h 4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086" h="4110">
                  <a:moveTo>
                    <a:pt x="2829" y="4110"/>
                  </a:moveTo>
                  <a:lnTo>
                    <a:pt x="2829" y="4110"/>
                  </a:lnTo>
                  <a:lnTo>
                    <a:pt x="3962" y="3570"/>
                  </a:lnTo>
                  <a:lnTo>
                    <a:pt x="3962" y="3570"/>
                  </a:lnTo>
                  <a:lnTo>
                    <a:pt x="3974" y="3554"/>
                  </a:lnTo>
                  <a:lnTo>
                    <a:pt x="3986" y="3538"/>
                  </a:lnTo>
                  <a:lnTo>
                    <a:pt x="3997" y="3522"/>
                  </a:lnTo>
                  <a:lnTo>
                    <a:pt x="4007" y="3505"/>
                  </a:lnTo>
                  <a:lnTo>
                    <a:pt x="4017" y="3487"/>
                  </a:lnTo>
                  <a:lnTo>
                    <a:pt x="4025" y="3470"/>
                  </a:lnTo>
                  <a:lnTo>
                    <a:pt x="4034" y="3451"/>
                  </a:lnTo>
                  <a:lnTo>
                    <a:pt x="4042" y="3432"/>
                  </a:lnTo>
                  <a:lnTo>
                    <a:pt x="4049" y="3413"/>
                  </a:lnTo>
                  <a:lnTo>
                    <a:pt x="4055" y="3394"/>
                  </a:lnTo>
                  <a:lnTo>
                    <a:pt x="4061" y="3373"/>
                  </a:lnTo>
                  <a:lnTo>
                    <a:pt x="4067" y="3352"/>
                  </a:lnTo>
                  <a:lnTo>
                    <a:pt x="4071" y="3331"/>
                  </a:lnTo>
                  <a:lnTo>
                    <a:pt x="4075" y="3309"/>
                  </a:lnTo>
                  <a:lnTo>
                    <a:pt x="4078" y="3287"/>
                  </a:lnTo>
                  <a:lnTo>
                    <a:pt x="4081" y="3265"/>
                  </a:lnTo>
                  <a:lnTo>
                    <a:pt x="4083" y="3242"/>
                  </a:lnTo>
                  <a:lnTo>
                    <a:pt x="4084" y="3220"/>
                  </a:lnTo>
                  <a:lnTo>
                    <a:pt x="4086" y="3172"/>
                  </a:lnTo>
                  <a:lnTo>
                    <a:pt x="4084" y="3123"/>
                  </a:lnTo>
                  <a:lnTo>
                    <a:pt x="4081" y="3072"/>
                  </a:lnTo>
                  <a:lnTo>
                    <a:pt x="4075" y="3019"/>
                  </a:lnTo>
                  <a:lnTo>
                    <a:pt x="4068" y="2966"/>
                  </a:lnTo>
                  <a:lnTo>
                    <a:pt x="4057" y="2912"/>
                  </a:lnTo>
                  <a:lnTo>
                    <a:pt x="4044" y="2856"/>
                  </a:lnTo>
                  <a:lnTo>
                    <a:pt x="4044" y="2856"/>
                  </a:lnTo>
                  <a:lnTo>
                    <a:pt x="2849" y="3456"/>
                  </a:lnTo>
                  <a:lnTo>
                    <a:pt x="2849" y="3456"/>
                  </a:lnTo>
                  <a:lnTo>
                    <a:pt x="2864" y="3506"/>
                  </a:lnTo>
                  <a:lnTo>
                    <a:pt x="2876" y="3555"/>
                  </a:lnTo>
                  <a:lnTo>
                    <a:pt x="2888" y="3604"/>
                  </a:lnTo>
                  <a:lnTo>
                    <a:pt x="2896" y="3651"/>
                  </a:lnTo>
                  <a:lnTo>
                    <a:pt x="2902" y="3697"/>
                  </a:lnTo>
                  <a:lnTo>
                    <a:pt x="2907" y="3742"/>
                  </a:lnTo>
                  <a:lnTo>
                    <a:pt x="2910" y="3785"/>
                  </a:lnTo>
                  <a:lnTo>
                    <a:pt x="2910" y="3828"/>
                  </a:lnTo>
                  <a:lnTo>
                    <a:pt x="2907" y="3869"/>
                  </a:lnTo>
                  <a:lnTo>
                    <a:pt x="2903" y="3908"/>
                  </a:lnTo>
                  <a:lnTo>
                    <a:pt x="2896" y="3946"/>
                  </a:lnTo>
                  <a:lnTo>
                    <a:pt x="2892" y="3965"/>
                  </a:lnTo>
                  <a:lnTo>
                    <a:pt x="2888" y="3982"/>
                  </a:lnTo>
                  <a:lnTo>
                    <a:pt x="2883" y="4000"/>
                  </a:lnTo>
                  <a:lnTo>
                    <a:pt x="2876" y="4017"/>
                  </a:lnTo>
                  <a:lnTo>
                    <a:pt x="2870" y="4033"/>
                  </a:lnTo>
                  <a:lnTo>
                    <a:pt x="2863" y="4050"/>
                  </a:lnTo>
                  <a:lnTo>
                    <a:pt x="2855" y="4066"/>
                  </a:lnTo>
                  <a:lnTo>
                    <a:pt x="2847" y="4081"/>
                  </a:lnTo>
                  <a:lnTo>
                    <a:pt x="2839" y="4096"/>
                  </a:lnTo>
                  <a:lnTo>
                    <a:pt x="2829" y="4110"/>
                  </a:lnTo>
                  <a:lnTo>
                    <a:pt x="2829" y="4110"/>
                  </a:lnTo>
                  <a:close/>
                  <a:moveTo>
                    <a:pt x="2951" y="1137"/>
                  </a:moveTo>
                  <a:lnTo>
                    <a:pt x="2951" y="1137"/>
                  </a:lnTo>
                  <a:lnTo>
                    <a:pt x="2995" y="1181"/>
                  </a:lnTo>
                  <a:lnTo>
                    <a:pt x="3038" y="1226"/>
                  </a:lnTo>
                  <a:lnTo>
                    <a:pt x="3081" y="1271"/>
                  </a:lnTo>
                  <a:lnTo>
                    <a:pt x="3123" y="1316"/>
                  </a:lnTo>
                  <a:lnTo>
                    <a:pt x="3164" y="1362"/>
                  </a:lnTo>
                  <a:lnTo>
                    <a:pt x="3204" y="1408"/>
                  </a:lnTo>
                  <a:lnTo>
                    <a:pt x="3243" y="1452"/>
                  </a:lnTo>
                  <a:lnTo>
                    <a:pt x="3282" y="1498"/>
                  </a:lnTo>
                  <a:lnTo>
                    <a:pt x="3320" y="1544"/>
                  </a:lnTo>
                  <a:lnTo>
                    <a:pt x="3357" y="1590"/>
                  </a:lnTo>
                  <a:lnTo>
                    <a:pt x="3393" y="1636"/>
                  </a:lnTo>
                  <a:lnTo>
                    <a:pt x="3428" y="1681"/>
                  </a:lnTo>
                  <a:lnTo>
                    <a:pt x="3463" y="1726"/>
                  </a:lnTo>
                  <a:lnTo>
                    <a:pt x="3497" y="1772"/>
                  </a:lnTo>
                  <a:lnTo>
                    <a:pt x="3529" y="1818"/>
                  </a:lnTo>
                  <a:lnTo>
                    <a:pt x="3561" y="1864"/>
                  </a:lnTo>
                  <a:lnTo>
                    <a:pt x="3593" y="1909"/>
                  </a:lnTo>
                  <a:lnTo>
                    <a:pt x="3623" y="1955"/>
                  </a:lnTo>
                  <a:lnTo>
                    <a:pt x="3652" y="1999"/>
                  </a:lnTo>
                  <a:lnTo>
                    <a:pt x="3680" y="2045"/>
                  </a:lnTo>
                  <a:lnTo>
                    <a:pt x="3708" y="2090"/>
                  </a:lnTo>
                  <a:lnTo>
                    <a:pt x="3735" y="2135"/>
                  </a:lnTo>
                  <a:lnTo>
                    <a:pt x="3760" y="2180"/>
                  </a:lnTo>
                  <a:lnTo>
                    <a:pt x="3785" y="2223"/>
                  </a:lnTo>
                  <a:lnTo>
                    <a:pt x="3809" y="2268"/>
                  </a:lnTo>
                  <a:lnTo>
                    <a:pt x="3832" y="2312"/>
                  </a:lnTo>
                  <a:lnTo>
                    <a:pt x="3855" y="2355"/>
                  </a:lnTo>
                  <a:lnTo>
                    <a:pt x="3875" y="2398"/>
                  </a:lnTo>
                  <a:lnTo>
                    <a:pt x="3895" y="2441"/>
                  </a:lnTo>
                  <a:lnTo>
                    <a:pt x="3915" y="2484"/>
                  </a:lnTo>
                  <a:lnTo>
                    <a:pt x="3933" y="2527"/>
                  </a:lnTo>
                  <a:lnTo>
                    <a:pt x="3950" y="2568"/>
                  </a:lnTo>
                  <a:lnTo>
                    <a:pt x="3950" y="2568"/>
                  </a:lnTo>
                  <a:lnTo>
                    <a:pt x="3314" y="2950"/>
                  </a:lnTo>
                  <a:lnTo>
                    <a:pt x="2781" y="3268"/>
                  </a:lnTo>
                  <a:lnTo>
                    <a:pt x="2781" y="3268"/>
                  </a:lnTo>
                  <a:lnTo>
                    <a:pt x="2750" y="3201"/>
                  </a:lnTo>
                  <a:lnTo>
                    <a:pt x="2717" y="3131"/>
                  </a:lnTo>
                  <a:lnTo>
                    <a:pt x="2681" y="3061"/>
                  </a:lnTo>
                  <a:lnTo>
                    <a:pt x="2642" y="2990"/>
                  </a:lnTo>
                  <a:lnTo>
                    <a:pt x="2601" y="2918"/>
                  </a:lnTo>
                  <a:lnTo>
                    <a:pt x="2556" y="2847"/>
                  </a:lnTo>
                  <a:lnTo>
                    <a:pt x="2508" y="2774"/>
                  </a:lnTo>
                  <a:lnTo>
                    <a:pt x="2458" y="2701"/>
                  </a:lnTo>
                  <a:lnTo>
                    <a:pt x="2405" y="2627"/>
                  </a:lnTo>
                  <a:lnTo>
                    <a:pt x="2350" y="2554"/>
                  </a:lnTo>
                  <a:lnTo>
                    <a:pt x="2292" y="2480"/>
                  </a:lnTo>
                  <a:lnTo>
                    <a:pt x="2232" y="2407"/>
                  </a:lnTo>
                  <a:lnTo>
                    <a:pt x="2168" y="2333"/>
                  </a:lnTo>
                  <a:lnTo>
                    <a:pt x="2104" y="2261"/>
                  </a:lnTo>
                  <a:lnTo>
                    <a:pt x="2035" y="2188"/>
                  </a:lnTo>
                  <a:lnTo>
                    <a:pt x="1966" y="2116"/>
                  </a:lnTo>
                  <a:lnTo>
                    <a:pt x="1966" y="2116"/>
                  </a:lnTo>
                  <a:lnTo>
                    <a:pt x="1906" y="2058"/>
                  </a:lnTo>
                  <a:lnTo>
                    <a:pt x="1846" y="2000"/>
                  </a:lnTo>
                  <a:lnTo>
                    <a:pt x="1786" y="1945"/>
                  </a:lnTo>
                  <a:lnTo>
                    <a:pt x="1725" y="1892"/>
                  </a:lnTo>
                  <a:lnTo>
                    <a:pt x="1665" y="1840"/>
                  </a:lnTo>
                  <a:lnTo>
                    <a:pt x="1604" y="1790"/>
                  </a:lnTo>
                  <a:lnTo>
                    <a:pt x="1543" y="1741"/>
                  </a:lnTo>
                  <a:lnTo>
                    <a:pt x="1482" y="1695"/>
                  </a:lnTo>
                  <a:lnTo>
                    <a:pt x="1482" y="1695"/>
                  </a:lnTo>
                  <a:lnTo>
                    <a:pt x="2361" y="622"/>
                  </a:lnTo>
                  <a:lnTo>
                    <a:pt x="2361" y="622"/>
                  </a:lnTo>
                  <a:lnTo>
                    <a:pt x="2434" y="679"/>
                  </a:lnTo>
                  <a:lnTo>
                    <a:pt x="2509" y="739"/>
                  </a:lnTo>
                  <a:lnTo>
                    <a:pt x="2583" y="799"/>
                  </a:lnTo>
                  <a:lnTo>
                    <a:pt x="2658" y="863"/>
                  </a:lnTo>
                  <a:lnTo>
                    <a:pt x="2732" y="928"/>
                  </a:lnTo>
                  <a:lnTo>
                    <a:pt x="2806" y="996"/>
                  </a:lnTo>
                  <a:lnTo>
                    <a:pt x="2878" y="1066"/>
                  </a:lnTo>
                  <a:lnTo>
                    <a:pt x="2951" y="1137"/>
                  </a:lnTo>
                  <a:lnTo>
                    <a:pt x="2951" y="1137"/>
                  </a:lnTo>
                  <a:close/>
                  <a:moveTo>
                    <a:pt x="1102" y="14"/>
                  </a:moveTo>
                  <a:lnTo>
                    <a:pt x="1102" y="14"/>
                  </a:lnTo>
                  <a:lnTo>
                    <a:pt x="459" y="1188"/>
                  </a:lnTo>
                  <a:lnTo>
                    <a:pt x="459" y="1188"/>
                  </a:lnTo>
                  <a:lnTo>
                    <a:pt x="425" y="1183"/>
                  </a:lnTo>
                  <a:lnTo>
                    <a:pt x="392" y="1177"/>
                  </a:lnTo>
                  <a:lnTo>
                    <a:pt x="358" y="1174"/>
                  </a:lnTo>
                  <a:lnTo>
                    <a:pt x="326" y="1171"/>
                  </a:lnTo>
                  <a:lnTo>
                    <a:pt x="295" y="1170"/>
                  </a:lnTo>
                  <a:lnTo>
                    <a:pt x="264" y="1170"/>
                  </a:lnTo>
                  <a:lnTo>
                    <a:pt x="234" y="1171"/>
                  </a:lnTo>
                  <a:lnTo>
                    <a:pt x="204" y="1173"/>
                  </a:lnTo>
                  <a:lnTo>
                    <a:pt x="175" y="1177"/>
                  </a:lnTo>
                  <a:lnTo>
                    <a:pt x="147" y="1181"/>
                  </a:lnTo>
                  <a:lnTo>
                    <a:pt x="121" y="1188"/>
                  </a:lnTo>
                  <a:lnTo>
                    <a:pt x="94" y="1195"/>
                  </a:lnTo>
                  <a:lnTo>
                    <a:pt x="69" y="1203"/>
                  </a:lnTo>
                  <a:lnTo>
                    <a:pt x="45" y="1213"/>
                  </a:lnTo>
                  <a:lnTo>
                    <a:pt x="21" y="1223"/>
                  </a:lnTo>
                  <a:lnTo>
                    <a:pt x="0" y="1236"/>
                  </a:lnTo>
                  <a:lnTo>
                    <a:pt x="0" y="1236"/>
                  </a:lnTo>
                  <a:lnTo>
                    <a:pt x="528" y="121"/>
                  </a:lnTo>
                  <a:lnTo>
                    <a:pt x="528" y="121"/>
                  </a:lnTo>
                  <a:lnTo>
                    <a:pt x="554" y="101"/>
                  </a:lnTo>
                  <a:lnTo>
                    <a:pt x="582" y="82"/>
                  </a:lnTo>
                  <a:lnTo>
                    <a:pt x="611" y="67"/>
                  </a:lnTo>
                  <a:lnTo>
                    <a:pt x="642" y="52"/>
                  </a:lnTo>
                  <a:lnTo>
                    <a:pt x="673" y="40"/>
                  </a:lnTo>
                  <a:lnTo>
                    <a:pt x="707" y="28"/>
                  </a:lnTo>
                  <a:lnTo>
                    <a:pt x="741" y="20"/>
                  </a:lnTo>
                  <a:lnTo>
                    <a:pt x="776" y="12"/>
                  </a:lnTo>
                  <a:lnTo>
                    <a:pt x="814" y="6"/>
                  </a:lnTo>
                  <a:lnTo>
                    <a:pt x="851" y="2"/>
                  </a:lnTo>
                  <a:lnTo>
                    <a:pt x="891" y="0"/>
                  </a:lnTo>
                  <a:lnTo>
                    <a:pt x="931" y="0"/>
                  </a:lnTo>
                  <a:lnTo>
                    <a:pt x="972" y="1"/>
                  </a:lnTo>
                  <a:lnTo>
                    <a:pt x="1014" y="4"/>
                  </a:lnTo>
                  <a:lnTo>
                    <a:pt x="1058" y="8"/>
                  </a:lnTo>
                  <a:lnTo>
                    <a:pt x="1102" y="14"/>
                  </a:lnTo>
                  <a:lnTo>
                    <a:pt x="1102" y="14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8" name="Freeform 98"/>
            <p:cNvSpPr>
              <a:spLocks noEditPoints="1"/>
            </p:cNvSpPr>
            <p:nvPr/>
          </p:nvSpPr>
          <p:spPr bwMode="auto">
            <a:xfrm flipH="1">
              <a:off x="4273838" y="4326247"/>
              <a:ext cx="522487" cy="410194"/>
            </a:xfrm>
            <a:custGeom>
              <a:avLst/>
              <a:gdLst>
                <a:gd name="T0" fmla="*/ 1115 w 2836"/>
                <a:gd name="T1" fmla="*/ 1796 h 2861"/>
                <a:gd name="T2" fmla="*/ 1216 w 2836"/>
                <a:gd name="T3" fmla="*/ 1905 h 2861"/>
                <a:gd name="T4" fmla="*/ 1308 w 2836"/>
                <a:gd name="T5" fmla="*/ 2016 h 2861"/>
                <a:gd name="T6" fmla="*/ 1391 w 2836"/>
                <a:gd name="T7" fmla="*/ 2126 h 2861"/>
                <a:gd name="T8" fmla="*/ 1466 w 2836"/>
                <a:gd name="T9" fmla="*/ 2235 h 2861"/>
                <a:gd name="T10" fmla="*/ 1532 w 2836"/>
                <a:gd name="T11" fmla="*/ 2344 h 2861"/>
                <a:gd name="T12" fmla="*/ 1588 w 2836"/>
                <a:gd name="T13" fmla="*/ 2450 h 2861"/>
                <a:gd name="T14" fmla="*/ 1634 w 2836"/>
                <a:gd name="T15" fmla="*/ 2552 h 2861"/>
                <a:gd name="T16" fmla="*/ 1669 w 2836"/>
                <a:gd name="T17" fmla="*/ 2651 h 2861"/>
                <a:gd name="T18" fmla="*/ 1693 w 2836"/>
                <a:gd name="T19" fmla="*/ 2745 h 2861"/>
                <a:gd name="T20" fmla="*/ 1706 w 2836"/>
                <a:gd name="T21" fmla="*/ 2832 h 2861"/>
                <a:gd name="T22" fmla="*/ 2789 w 2836"/>
                <a:gd name="T23" fmla="*/ 2346 h 2861"/>
                <a:gd name="T24" fmla="*/ 2803 w 2836"/>
                <a:gd name="T25" fmla="*/ 2315 h 2861"/>
                <a:gd name="T26" fmla="*/ 2820 w 2836"/>
                <a:gd name="T27" fmla="*/ 2265 h 2861"/>
                <a:gd name="T28" fmla="*/ 2830 w 2836"/>
                <a:gd name="T29" fmla="*/ 2210 h 2861"/>
                <a:gd name="T30" fmla="*/ 2836 w 2836"/>
                <a:gd name="T31" fmla="*/ 2152 h 2861"/>
                <a:gd name="T32" fmla="*/ 2830 w 2836"/>
                <a:gd name="T33" fmla="*/ 2047 h 2861"/>
                <a:gd name="T34" fmla="*/ 2804 w 2836"/>
                <a:gd name="T35" fmla="*/ 1909 h 2861"/>
                <a:gd name="T36" fmla="*/ 2757 w 2836"/>
                <a:gd name="T37" fmla="*/ 1760 h 2861"/>
                <a:gd name="T38" fmla="*/ 2689 w 2836"/>
                <a:gd name="T39" fmla="*/ 1603 h 2861"/>
                <a:gd name="T40" fmla="*/ 2601 w 2836"/>
                <a:gd name="T41" fmla="*/ 1440 h 2861"/>
                <a:gd name="T42" fmla="*/ 2495 w 2836"/>
                <a:gd name="T43" fmla="*/ 1273 h 2861"/>
                <a:gd name="T44" fmla="*/ 2371 w 2836"/>
                <a:gd name="T45" fmla="*/ 1103 h 2861"/>
                <a:gd name="T46" fmla="*/ 2229 w 2836"/>
                <a:gd name="T47" fmla="*/ 933 h 2861"/>
                <a:gd name="T48" fmla="*/ 2072 w 2836"/>
                <a:gd name="T49" fmla="*/ 765 h 2861"/>
                <a:gd name="T50" fmla="*/ 1977 w 2836"/>
                <a:gd name="T51" fmla="*/ 673 h 2861"/>
                <a:gd name="T52" fmla="*/ 1831 w 2836"/>
                <a:gd name="T53" fmla="*/ 544 h 2861"/>
                <a:gd name="T54" fmla="*/ 1686 w 2836"/>
                <a:gd name="T55" fmla="*/ 428 h 2861"/>
                <a:gd name="T56" fmla="*/ 798 w 2836"/>
                <a:gd name="T57" fmla="*/ 1510 h 2861"/>
                <a:gd name="T58" fmla="*/ 905 w 2836"/>
                <a:gd name="T59" fmla="*/ 1598 h 2861"/>
                <a:gd name="T60" fmla="*/ 1010 w 2836"/>
                <a:gd name="T61" fmla="*/ 1693 h 2861"/>
                <a:gd name="T62" fmla="*/ 1080 w 2836"/>
                <a:gd name="T63" fmla="*/ 1760 h 2861"/>
                <a:gd name="T64" fmla="*/ 243 w 2836"/>
                <a:gd name="T65" fmla="*/ 1187 h 2861"/>
                <a:gd name="T66" fmla="*/ 178 w 2836"/>
                <a:gd name="T67" fmla="*/ 1166 h 2861"/>
                <a:gd name="T68" fmla="*/ 87 w 2836"/>
                <a:gd name="T69" fmla="*/ 1143 h 2861"/>
                <a:gd name="T70" fmla="*/ 0 w 2836"/>
                <a:gd name="T71" fmla="*/ 1131 h 2861"/>
                <a:gd name="T72" fmla="*/ 518 w 2836"/>
                <a:gd name="T73" fmla="*/ 36 h 2861"/>
                <a:gd name="T74" fmla="*/ 575 w 2836"/>
                <a:gd name="T75" fmla="*/ 16 h 2861"/>
                <a:gd name="T76" fmla="*/ 638 w 2836"/>
                <a:gd name="T77" fmla="*/ 5 h 2861"/>
                <a:gd name="T78" fmla="*/ 706 w 2836"/>
                <a:gd name="T79" fmla="*/ 0 h 2861"/>
                <a:gd name="T80" fmla="*/ 778 w 2836"/>
                <a:gd name="T81" fmla="*/ 5 h 2861"/>
                <a:gd name="T82" fmla="*/ 855 w 2836"/>
                <a:gd name="T83" fmla="*/ 15 h 2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6" h="2861">
                  <a:moveTo>
                    <a:pt x="1080" y="1760"/>
                  </a:moveTo>
                  <a:lnTo>
                    <a:pt x="1080" y="1760"/>
                  </a:lnTo>
                  <a:lnTo>
                    <a:pt x="1115" y="1796"/>
                  </a:lnTo>
                  <a:lnTo>
                    <a:pt x="1149" y="1832"/>
                  </a:lnTo>
                  <a:lnTo>
                    <a:pt x="1184" y="1869"/>
                  </a:lnTo>
                  <a:lnTo>
                    <a:pt x="1216" y="1905"/>
                  </a:lnTo>
                  <a:lnTo>
                    <a:pt x="1247" y="1942"/>
                  </a:lnTo>
                  <a:lnTo>
                    <a:pt x="1278" y="1978"/>
                  </a:lnTo>
                  <a:lnTo>
                    <a:pt x="1308" y="2016"/>
                  </a:lnTo>
                  <a:lnTo>
                    <a:pt x="1336" y="2052"/>
                  </a:lnTo>
                  <a:lnTo>
                    <a:pt x="1364" y="2089"/>
                  </a:lnTo>
                  <a:lnTo>
                    <a:pt x="1391" y="2126"/>
                  </a:lnTo>
                  <a:lnTo>
                    <a:pt x="1417" y="2163"/>
                  </a:lnTo>
                  <a:lnTo>
                    <a:pt x="1442" y="2199"/>
                  </a:lnTo>
                  <a:lnTo>
                    <a:pt x="1466" y="2235"/>
                  </a:lnTo>
                  <a:lnTo>
                    <a:pt x="1489" y="2272"/>
                  </a:lnTo>
                  <a:lnTo>
                    <a:pt x="1511" y="2308"/>
                  </a:lnTo>
                  <a:lnTo>
                    <a:pt x="1532" y="2344"/>
                  </a:lnTo>
                  <a:lnTo>
                    <a:pt x="1552" y="2379"/>
                  </a:lnTo>
                  <a:lnTo>
                    <a:pt x="1570" y="2415"/>
                  </a:lnTo>
                  <a:lnTo>
                    <a:pt x="1588" y="2450"/>
                  </a:lnTo>
                  <a:lnTo>
                    <a:pt x="1604" y="2484"/>
                  </a:lnTo>
                  <a:lnTo>
                    <a:pt x="1619" y="2519"/>
                  </a:lnTo>
                  <a:lnTo>
                    <a:pt x="1634" y="2552"/>
                  </a:lnTo>
                  <a:lnTo>
                    <a:pt x="1646" y="2586"/>
                  </a:lnTo>
                  <a:lnTo>
                    <a:pt x="1658" y="2619"/>
                  </a:lnTo>
                  <a:lnTo>
                    <a:pt x="1669" y="2651"/>
                  </a:lnTo>
                  <a:lnTo>
                    <a:pt x="1678" y="2683"/>
                  </a:lnTo>
                  <a:lnTo>
                    <a:pt x="1686" y="2714"/>
                  </a:lnTo>
                  <a:lnTo>
                    <a:pt x="1693" y="2745"/>
                  </a:lnTo>
                  <a:lnTo>
                    <a:pt x="1699" y="2775"/>
                  </a:lnTo>
                  <a:lnTo>
                    <a:pt x="1703" y="2804"/>
                  </a:lnTo>
                  <a:lnTo>
                    <a:pt x="1706" y="2832"/>
                  </a:lnTo>
                  <a:lnTo>
                    <a:pt x="1709" y="2861"/>
                  </a:lnTo>
                  <a:lnTo>
                    <a:pt x="1709" y="2861"/>
                  </a:lnTo>
                  <a:lnTo>
                    <a:pt x="2789" y="2346"/>
                  </a:lnTo>
                  <a:lnTo>
                    <a:pt x="2789" y="2346"/>
                  </a:lnTo>
                  <a:lnTo>
                    <a:pt x="2797" y="2330"/>
                  </a:lnTo>
                  <a:lnTo>
                    <a:pt x="2803" y="2315"/>
                  </a:lnTo>
                  <a:lnTo>
                    <a:pt x="2810" y="2299"/>
                  </a:lnTo>
                  <a:lnTo>
                    <a:pt x="2815" y="2282"/>
                  </a:lnTo>
                  <a:lnTo>
                    <a:pt x="2820" y="2265"/>
                  </a:lnTo>
                  <a:lnTo>
                    <a:pt x="2824" y="2247"/>
                  </a:lnTo>
                  <a:lnTo>
                    <a:pt x="2827" y="2229"/>
                  </a:lnTo>
                  <a:lnTo>
                    <a:pt x="2830" y="2210"/>
                  </a:lnTo>
                  <a:lnTo>
                    <a:pt x="2832" y="2192"/>
                  </a:lnTo>
                  <a:lnTo>
                    <a:pt x="2834" y="2172"/>
                  </a:lnTo>
                  <a:lnTo>
                    <a:pt x="2836" y="2152"/>
                  </a:lnTo>
                  <a:lnTo>
                    <a:pt x="2836" y="2132"/>
                  </a:lnTo>
                  <a:lnTo>
                    <a:pt x="2834" y="2091"/>
                  </a:lnTo>
                  <a:lnTo>
                    <a:pt x="2830" y="2047"/>
                  </a:lnTo>
                  <a:lnTo>
                    <a:pt x="2824" y="2002"/>
                  </a:lnTo>
                  <a:lnTo>
                    <a:pt x="2815" y="1956"/>
                  </a:lnTo>
                  <a:lnTo>
                    <a:pt x="2804" y="1909"/>
                  </a:lnTo>
                  <a:lnTo>
                    <a:pt x="2791" y="1860"/>
                  </a:lnTo>
                  <a:lnTo>
                    <a:pt x="2774" y="1811"/>
                  </a:lnTo>
                  <a:lnTo>
                    <a:pt x="2757" y="1760"/>
                  </a:lnTo>
                  <a:lnTo>
                    <a:pt x="2736" y="1709"/>
                  </a:lnTo>
                  <a:lnTo>
                    <a:pt x="2714" y="1657"/>
                  </a:lnTo>
                  <a:lnTo>
                    <a:pt x="2689" y="1603"/>
                  </a:lnTo>
                  <a:lnTo>
                    <a:pt x="2662" y="1550"/>
                  </a:lnTo>
                  <a:lnTo>
                    <a:pt x="2633" y="1495"/>
                  </a:lnTo>
                  <a:lnTo>
                    <a:pt x="2601" y="1440"/>
                  </a:lnTo>
                  <a:lnTo>
                    <a:pt x="2567" y="1384"/>
                  </a:lnTo>
                  <a:lnTo>
                    <a:pt x="2532" y="1329"/>
                  </a:lnTo>
                  <a:lnTo>
                    <a:pt x="2495" y="1273"/>
                  </a:lnTo>
                  <a:lnTo>
                    <a:pt x="2455" y="1215"/>
                  </a:lnTo>
                  <a:lnTo>
                    <a:pt x="2413" y="1159"/>
                  </a:lnTo>
                  <a:lnTo>
                    <a:pt x="2371" y="1103"/>
                  </a:lnTo>
                  <a:lnTo>
                    <a:pt x="2325" y="1046"/>
                  </a:lnTo>
                  <a:lnTo>
                    <a:pt x="2278" y="989"/>
                  </a:lnTo>
                  <a:lnTo>
                    <a:pt x="2229" y="933"/>
                  </a:lnTo>
                  <a:lnTo>
                    <a:pt x="2178" y="877"/>
                  </a:lnTo>
                  <a:lnTo>
                    <a:pt x="2126" y="820"/>
                  </a:lnTo>
                  <a:lnTo>
                    <a:pt x="2072" y="765"/>
                  </a:lnTo>
                  <a:lnTo>
                    <a:pt x="2072" y="765"/>
                  </a:lnTo>
                  <a:lnTo>
                    <a:pt x="2025" y="718"/>
                  </a:lnTo>
                  <a:lnTo>
                    <a:pt x="1977" y="673"/>
                  </a:lnTo>
                  <a:lnTo>
                    <a:pt x="1929" y="629"/>
                  </a:lnTo>
                  <a:lnTo>
                    <a:pt x="1880" y="586"/>
                  </a:lnTo>
                  <a:lnTo>
                    <a:pt x="1831" y="544"/>
                  </a:lnTo>
                  <a:lnTo>
                    <a:pt x="1782" y="504"/>
                  </a:lnTo>
                  <a:lnTo>
                    <a:pt x="1735" y="465"/>
                  </a:lnTo>
                  <a:lnTo>
                    <a:pt x="1686" y="428"/>
                  </a:lnTo>
                  <a:lnTo>
                    <a:pt x="1686" y="428"/>
                  </a:lnTo>
                  <a:lnTo>
                    <a:pt x="798" y="1510"/>
                  </a:lnTo>
                  <a:lnTo>
                    <a:pt x="798" y="1510"/>
                  </a:lnTo>
                  <a:lnTo>
                    <a:pt x="833" y="1538"/>
                  </a:lnTo>
                  <a:lnTo>
                    <a:pt x="870" y="1568"/>
                  </a:lnTo>
                  <a:lnTo>
                    <a:pt x="905" y="1598"/>
                  </a:lnTo>
                  <a:lnTo>
                    <a:pt x="940" y="1628"/>
                  </a:lnTo>
                  <a:lnTo>
                    <a:pt x="976" y="1660"/>
                  </a:lnTo>
                  <a:lnTo>
                    <a:pt x="1010" y="1693"/>
                  </a:lnTo>
                  <a:lnTo>
                    <a:pt x="1045" y="1726"/>
                  </a:lnTo>
                  <a:lnTo>
                    <a:pt x="1080" y="1760"/>
                  </a:lnTo>
                  <a:lnTo>
                    <a:pt x="1080" y="1760"/>
                  </a:lnTo>
                  <a:close/>
                  <a:moveTo>
                    <a:pt x="882" y="20"/>
                  </a:moveTo>
                  <a:lnTo>
                    <a:pt x="882" y="20"/>
                  </a:lnTo>
                  <a:lnTo>
                    <a:pt x="243" y="1187"/>
                  </a:lnTo>
                  <a:lnTo>
                    <a:pt x="243" y="1187"/>
                  </a:lnTo>
                  <a:lnTo>
                    <a:pt x="210" y="1176"/>
                  </a:lnTo>
                  <a:lnTo>
                    <a:pt x="178" y="1166"/>
                  </a:lnTo>
                  <a:lnTo>
                    <a:pt x="147" y="1157"/>
                  </a:lnTo>
                  <a:lnTo>
                    <a:pt x="117" y="1150"/>
                  </a:lnTo>
                  <a:lnTo>
                    <a:pt x="87" y="1143"/>
                  </a:lnTo>
                  <a:lnTo>
                    <a:pt x="58" y="1138"/>
                  </a:lnTo>
                  <a:lnTo>
                    <a:pt x="29" y="1134"/>
                  </a:lnTo>
                  <a:lnTo>
                    <a:pt x="0" y="1131"/>
                  </a:lnTo>
                  <a:lnTo>
                    <a:pt x="0" y="1131"/>
                  </a:lnTo>
                  <a:lnTo>
                    <a:pt x="518" y="36"/>
                  </a:lnTo>
                  <a:lnTo>
                    <a:pt x="518" y="36"/>
                  </a:lnTo>
                  <a:lnTo>
                    <a:pt x="537" y="29"/>
                  </a:lnTo>
                  <a:lnTo>
                    <a:pt x="556" y="22"/>
                  </a:lnTo>
                  <a:lnTo>
                    <a:pt x="575" y="16"/>
                  </a:lnTo>
                  <a:lnTo>
                    <a:pt x="596" y="12"/>
                  </a:lnTo>
                  <a:lnTo>
                    <a:pt x="617" y="8"/>
                  </a:lnTo>
                  <a:lnTo>
                    <a:pt x="638" y="5"/>
                  </a:lnTo>
                  <a:lnTo>
                    <a:pt x="661" y="3"/>
                  </a:lnTo>
                  <a:lnTo>
                    <a:pt x="682" y="2"/>
                  </a:lnTo>
                  <a:lnTo>
                    <a:pt x="706" y="0"/>
                  </a:lnTo>
                  <a:lnTo>
                    <a:pt x="729" y="2"/>
                  </a:lnTo>
                  <a:lnTo>
                    <a:pt x="754" y="3"/>
                  </a:lnTo>
                  <a:lnTo>
                    <a:pt x="778" y="5"/>
                  </a:lnTo>
                  <a:lnTo>
                    <a:pt x="803" y="7"/>
                  </a:lnTo>
                  <a:lnTo>
                    <a:pt x="829" y="11"/>
                  </a:lnTo>
                  <a:lnTo>
                    <a:pt x="855" y="15"/>
                  </a:lnTo>
                  <a:lnTo>
                    <a:pt x="882" y="20"/>
                  </a:lnTo>
                  <a:lnTo>
                    <a:pt x="882" y="20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9" name="Freeform 99"/>
            <p:cNvSpPr>
              <a:spLocks/>
            </p:cNvSpPr>
            <p:nvPr/>
          </p:nvSpPr>
          <p:spPr bwMode="auto">
            <a:xfrm flipH="1">
              <a:off x="3993888" y="3726435"/>
              <a:ext cx="1290" cy="0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0 h 2"/>
                <a:gd name="T4" fmla="*/ 5 w 5"/>
                <a:gd name="T5" fmla="*/ 2 h 2"/>
                <a:gd name="T6" fmla="*/ 5 w 5"/>
                <a:gd name="T7" fmla="*/ 2 h 2"/>
                <a:gd name="T8" fmla="*/ 0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lnTo>
                    <a:pt x="0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0" name="Freeform 100"/>
            <p:cNvSpPr>
              <a:spLocks/>
            </p:cNvSpPr>
            <p:nvPr/>
          </p:nvSpPr>
          <p:spPr bwMode="auto">
            <a:xfrm flipH="1">
              <a:off x="3993888" y="3726435"/>
              <a:ext cx="1290" cy="0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0 h 2"/>
                <a:gd name="T4" fmla="*/ 5 w 5"/>
                <a:gd name="T5" fmla="*/ 2 h 2"/>
                <a:gd name="T6" fmla="*/ 5 w 5"/>
                <a:gd name="T7" fmla="*/ 2 h 2"/>
                <a:gd name="T8" fmla="*/ 0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0" y="0"/>
                  </a:moveTo>
                  <a:lnTo>
                    <a:pt x="0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1" name="Rectangle 101"/>
            <p:cNvSpPr>
              <a:spLocks noChangeArrowheads="1"/>
            </p:cNvSpPr>
            <p:nvPr/>
          </p:nvSpPr>
          <p:spPr bwMode="auto">
            <a:xfrm flipH="1">
              <a:off x="4170631" y="3670969"/>
              <a:ext cx="1290" cy="1290"/>
            </a:xfrm>
            <a:prstGeom prst="rect">
              <a:avLst/>
            </a:pr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2" name="Freeform 102"/>
            <p:cNvSpPr>
              <a:spLocks/>
            </p:cNvSpPr>
            <p:nvPr/>
          </p:nvSpPr>
          <p:spPr bwMode="auto">
            <a:xfrm flipH="1">
              <a:off x="4171921" y="367096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3" name="Freeform 103"/>
            <p:cNvSpPr>
              <a:spLocks/>
            </p:cNvSpPr>
            <p:nvPr/>
          </p:nvSpPr>
          <p:spPr bwMode="auto">
            <a:xfrm flipH="1">
              <a:off x="3861009" y="3730305"/>
              <a:ext cx="122559" cy="63206"/>
            </a:xfrm>
            <a:custGeom>
              <a:avLst/>
              <a:gdLst>
                <a:gd name="T0" fmla="*/ 0 w 667"/>
                <a:gd name="T1" fmla="*/ 0 h 436"/>
                <a:gd name="T2" fmla="*/ 0 w 667"/>
                <a:gd name="T3" fmla="*/ 0 h 436"/>
                <a:gd name="T4" fmla="*/ 74 w 667"/>
                <a:gd name="T5" fmla="*/ 42 h 436"/>
                <a:gd name="T6" fmla="*/ 146 w 667"/>
                <a:gd name="T7" fmla="*/ 84 h 436"/>
                <a:gd name="T8" fmla="*/ 214 w 667"/>
                <a:gd name="T9" fmla="*/ 124 h 436"/>
                <a:gd name="T10" fmla="*/ 277 w 667"/>
                <a:gd name="T11" fmla="*/ 163 h 436"/>
                <a:gd name="T12" fmla="*/ 336 w 667"/>
                <a:gd name="T13" fmla="*/ 201 h 436"/>
                <a:gd name="T14" fmla="*/ 392 w 667"/>
                <a:gd name="T15" fmla="*/ 237 h 436"/>
                <a:gd name="T16" fmla="*/ 442 w 667"/>
                <a:gd name="T17" fmla="*/ 271 h 436"/>
                <a:gd name="T18" fmla="*/ 487 w 667"/>
                <a:gd name="T19" fmla="*/ 303 h 436"/>
                <a:gd name="T20" fmla="*/ 564 w 667"/>
                <a:gd name="T21" fmla="*/ 358 h 436"/>
                <a:gd name="T22" fmla="*/ 620 w 667"/>
                <a:gd name="T23" fmla="*/ 399 h 436"/>
                <a:gd name="T24" fmla="*/ 655 w 667"/>
                <a:gd name="T25" fmla="*/ 427 h 436"/>
                <a:gd name="T26" fmla="*/ 667 w 667"/>
                <a:gd name="T27" fmla="*/ 436 h 436"/>
                <a:gd name="T28" fmla="*/ 667 w 667"/>
                <a:gd name="T29" fmla="*/ 436 h 436"/>
                <a:gd name="T30" fmla="*/ 590 w 667"/>
                <a:gd name="T31" fmla="*/ 380 h 436"/>
                <a:gd name="T32" fmla="*/ 512 w 667"/>
                <a:gd name="T33" fmla="*/ 323 h 436"/>
                <a:gd name="T34" fmla="*/ 431 w 667"/>
                <a:gd name="T35" fmla="*/ 267 h 436"/>
                <a:gd name="T36" fmla="*/ 348 w 667"/>
                <a:gd name="T37" fmla="*/ 211 h 436"/>
                <a:gd name="T38" fmla="*/ 264 w 667"/>
                <a:gd name="T39" fmla="*/ 157 h 436"/>
                <a:gd name="T40" fmla="*/ 176 w 667"/>
                <a:gd name="T41" fmla="*/ 102 h 436"/>
                <a:gd name="T42" fmla="*/ 89 w 667"/>
                <a:gd name="T43" fmla="*/ 50 h 436"/>
                <a:gd name="T44" fmla="*/ 0 w 667"/>
                <a:gd name="T45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436">
                  <a:moveTo>
                    <a:pt x="0" y="0"/>
                  </a:moveTo>
                  <a:lnTo>
                    <a:pt x="0" y="0"/>
                  </a:lnTo>
                  <a:lnTo>
                    <a:pt x="74" y="42"/>
                  </a:lnTo>
                  <a:lnTo>
                    <a:pt x="146" y="84"/>
                  </a:lnTo>
                  <a:lnTo>
                    <a:pt x="214" y="124"/>
                  </a:lnTo>
                  <a:lnTo>
                    <a:pt x="277" y="163"/>
                  </a:lnTo>
                  <a:lnTo>
                    <a:pt x="336" y="201"/>
                  </a:lnTo>
                  <a:lnTo>
                    <a:pt x="392" y="237"/>
                  </a:lnTo>
                  <a:lnTo>
                    <a:pt x="442" y="271"/>
                  </a:lnTo>
                  <a:lnTo>
                    <a:pt x="487" y="303"/>
                  </a:lnTo>
                  <a:lnTo>
                    <a:pt x="564" y="358"/>
                  </a:lnTo>
                  <a:lnTo>
                    <a:pt x="620" y="399"/>
                  </a:lnTo>
                  <a:lnTo>
                    <a:pt x="655" y="427"/>
                  </a:lnTo>
                  <a:lnTo>
                    <a:pt x="667" y="436"/>
                  </a:lnTo>
                  <a:lnTo>
                    <a:pt x="667" y="436"/>
                  </a:lnTo>
                  <a:lnTo>
                    <a:pt x="590" y="380"/>
                  </a:lnTo>
                  <a:lnTo>
                    <a:pt x="512" y="323"/>
                  </a:lnTo>
                  <a:lnTo>
                    <a:pt x="431" y="267"/>
                  </a:lnTo>
                  <a:lnTo>
                    <a:pt x="348" y="211"/>
                  </a:lnTo>
                  <a:lnTo>
                    <a:pt x="264" y="157"/>
                  </a:lnTo>
                  <a:lnTo>
                    <a:pt x="176" y="102"/>
                  </a:lnTo>
                  <a:lnTo>
                    <a:pt x="89" y="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4" name="Freeform 104"/>
            <p:cNvSpPr>
              <a:spLocks/>
            </p:cNvSpPr>
            <p:nvPr/>
          </p:nvSpPr>
          <p:spPr bwMode="auto">
            <a:xfrm flipH="1">
              <a:off x="3861009" y="3730305"/>
              <a:ext cx="122559" cy="63206"/>
            </a:xfrm>
            <a:custGeom>
              <a:avLst/>
              <a:gdLst>
                <a:gd name="T0" fmla="*/ 0 w 667"/>
                <a:gd name="T1" fmla="*/ 0 h 436"/>
                <a:gd name="T2" fmla="*/ 0 w 667"/>
                <a:gd name="T3" fmla="*/ 0 h 436"/>
                <a:gd name="T4" fmla="*/ 74 w 667"/>
                <a:gd name="T5" fmla="*/ 42 h 436"/>
                <a:gd name="T6" fmla="*/ 146 w 667"/>
                <a:gd name="T7" fmla="*/ 84 h 436"/>
                <a:gd name="T8" fmla="*/ 214 w 667"/>
                <a:gd name="T9" fmla="*/ 124 h 436"/>
                <a:gd name="T10" fmla="*/ 277 w 667"/>
                <a:gd name="T11" fmla="*/ 163 h 436"/>
                <a:gd name="T12" fmla="*/ 336 w 667"/>
                <a:gd name="T13" fmla="*/ 201 h 436"/>
                <a:gd name="T14" fmla="*/ 392 w 667"/>
                <a:gd name="T15" fmla="*/ 237 h 436"/>
                <a:gd name="T16" fmla="*/ 442 w 667"/>
                <a:gd name="T17" fmla="*/ 271 h 436"/>
                <a:gd name="T18" fmla="*/ 487 w 667"/>
                <a:gd name="T19" fmla="*/ 303 h 436"/>
                <a:gd name="T20" fmla="*/ 564 w 667"/>
                <a:gd name="T21" fmla="*/ 358 h 436"/>
                <a:gd name="T22" fmla="*/ 620 w 667"/>
                <a:gd name="T23" fmla="*/ 399 h 436"/>
                <a:gd name="T24" fmla="*/ 655 w 667"/>
                <a:gd name="T25" fmla="*/ 427 h 436"/>
                <a:gd name="T26" fmla="*/ 667 w 667"/>
                <a:gd name="T27" fmla="*/ 436 h 436"/>
                <a:gd name="T28" fmla="*/ 667 w 667"/>
                <a:gd name="T29" fmla="*/ 436 h 436"/>
                <a:gd name="T30" fmla="*/ 590 w 667"/>
                <a:gd name="T31" fmla="*/ 380 h 436"/>
                <a:gd name="T32" fmla="*/ 512 w 667"/>
                <a:gd name="T33" fmla="*/ 323 h 436"/>
                <a:gd name="T34" fmla="*/ 431 w 667"/>
                <a:gd name="T35" fmla="*/ 267 h 436"/>
                <a:gd name="T36" fmla="*/ 348 w 667"/>
                <a:gd name="T37" fmla="*/ 211 h 436"/>
                <a:gd name="T38" fmla="*/ 264 w 667"/>
                <a:gd name="T39" fmla="*/ 157 h 436"/>
                <a:gd name="T40" fmla="*/ 176 w 667"/>
                <a:gd name="T41" fmla="*/ 102 h 436"/>
                <a:gd name="T42" fmla="*/ 89 w 667"/>
                <a:gd name="T43" fmla="*/ 50 h 436"/>
                <a:gd name="T44" fmla="*/ 0 w 667"/>
                <a:gd name="T45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436">
                  <a:moveTo>
                    <a:pt x="0" y="0"/>
                  </a:moveTo>
                  <a:lnTo>
                    <a:pt x="0" y="0"/>
                  </a:lnTo>
                  <a:lnTo>
                    <a:pt x="74" y="42"/>
                  </a:lnTo>
                  <a:lnTo>
                    <a:pt x="146" y="84"/>
                  </a:lnTo>
                  <a:lnTo>
                    <a:pt x="214" y="124"/>
                  </a:lnTo>
                  <a:lnTo>
                    <a:pt x="277" y="163"/>
                  </a:lnTo>
                  <a:lnTo>
                    <a:pt x="336" y="201"/>
                  </a:lnTo>
                  <a:lnTo>
                    <a:pt x="392" y="237"/>
                  </a:lnTo>
                  <a:lnTo>
                    <a:pt x="442" y="271"/>
                  </a:lnTo>
                  <a:lnTo>
                    <a:pt x="487" y="303"/>
                  </a:lnTo>
                  <a:lnTo>
                    <a:pt x="564" y="358"/>
                  </a:lnTo>
                  <a:lnTo>
                    <a:pt x="620" y="399"/>
                  </a:lnTo>
                  <a:lnTo>
                    <a:pt x="655" y="427"/>
                  </a:lnTo>
                  <a:lnTo>
                    <a:pt x="667" y="436"/>
                  </a:lnTo>
                  <a:lnTo>
                    <a:pt x="667" y="436"/>
                  </a:lnTo>
                  <a:lnTo>
                    <a:pt x="590" y="380"/>
                  </a:lnTo>
                  <a:lnTo>
                    <a:pt x="512" y="323"/>
                  </a:lnTo>
                  <a:lnTo>
                    <a:pt x="431" y="267"/>
                  </a:lnTo>
                  <a:lnTo>
                    <a:pt x="348" y="211"/>
                  </a:lnTo>
                  <a:lnTo>
                    <a:pt x="264" y="157"/>
                  </a:lnTo>
                  <a:lnTo>
                    <a:pt x="176" y="102"/>
                  </a:lnTo>
                  <a:lnTo>
                    <a:pt x="89" y="5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5" name="Freeform 105"/>
            <p:cNvSpPr>
              <a:spLocks/>
            </p:cNvSpPr>
            <p:nvPr/>
          </p:nvSpPr>
          <p:spPr bwMode="auto">
            <a:xfrm flipH="1">
              <a:off x="3986148" y="3729015"/>
              <a:ext cx="3871" cy="0"/>
            </a:xfrm>
            <a:custGeom>
              <a:avLst/>
              <a:gdLst>
                <a:gd name="T0" fmla="*/ 0 w 18"/>
                <a:gd name="T1" fmla="*/ 0 h 8"/>
                <a:gd name="T2" fmla="*/ 0 w 18"/>
                <a:gd name="T3" fmla="*/ 0 h 8"/>
                <a:gd name="T4" fmla="*/ 18 w 18"/>
                <a:gd name="T5" fmla="*/ 8 h 8"/>
                <a:gd name="T6" fmla="*/ 18 w 18"/>
                <a:gd name="T7" fmla="*/ 8 h 8"/>
                <a:gd name="T8" fmla="*/ 0 w 1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8">
                  <a:moveTo>
                    <a:pt x="0" y="0"/>
                  </a:moveTo>
                  <a:lnTo>
                    <a:pt x="0" y="0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6" name="Freeform 106"/>
            <p:cNvSpPr>
              <a:spLocks/>
            </p:cNvSpPr>
            <p:nvPr/>
          </p:nvSpPr>
          <p:spPr bwMode="auto">
            <a:xfrm flipH="1">
              <a:off x="3986148" y="3729015"/>
              <a:ext cx="3871" cy="0"/>
            </a:xfrm>
            <a:custGeom>
              <a:avLst/>
              <a:gdLst>
                <a:gd name="T0" fmla="*/ 0 w 18"/>
                <a:gd name="T1" fmla="*/ 0 h 8"/>
                <a:gd name="T2" fmla="*/ 0 w 18"/>
                <a:gd name="T3" fmla="*/ 0 h 8"/>
                <a:gd name="T4" fmla="*/ 18 w 18"/>
                <a:gd name="T5" fmla="*/ 8 h 8"/>
                <a:gd name="T6" fmla="*/ 18 w 18"/>
                <a:gd name="T7" fmla="*/ 8 h 8"/>
                <a:gd name="T8" fmla="*/ 0 w 18"/>
                <a:gd name="T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8">
                  <a:moveTo>
                    <a:pt x="0" y="0"/>
                  </a:moveTo>
                  <a:lnTo>
                    <a:pt x="0" y="0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7" name="Freeform 107"/>
            <p:cNvSpPr>
              <a:spLocks/>
            </p:cNvSpPr>
            <p:nvPr/>
          </p:nvSpPr>
          <p:spPr bwMode="auto">
            <a:xfrm flipH="1">
              <a:off x="3861009" y="3670969"/>
              <a:ext cx="430890" cy="273462"/>
            </a:xfrm>
            <a:custGeom>
              <a:avLst/>
              <a:gdLst>
                <a:gd name="T0" fmla="*/ 0 w 2338"/>
                <a:gd name="T1" fmla="*/ 1192 h 1901"/>
                <a:gd name="T2" fmla="*/ 652 w 2338"/>
                <a:gd name="T3" fmla="*/ 0 h 1901"/>
                <a:gd name="T4" fmla="*/ 719 w 2338"/>
                <a:gd name="T5" fmla="*/ 18 h 1901"/>
                <a:gd name="T6" fmla="*/ 852 w 2338"/>
                <a:gd name="T7" fmla="*/ 59 h 1901"/>
                <a:gd name="T8" fmla="*/ 981 w 2338"/>
                <a:gd name="T9" fmla="*/ 103 h 1901"/>
                <a:gd name="T10" fmla="*/ 1106 w 2338"/>
                <a:gd name="T11" fmla="*/ 150 h 1901"/>
                <a:gd name="T12" fmla="*/ 1227 w 2338"/>
                <a:gd name="T13" fmla="*/ 199 h 1901"/>
                <a:gd name="T14" fmla="*/ 1343 w 2338"/>
                <a:gd name="T15" fmla="*/ 250 h 1901"/>
                <a:gd name="T16" fmla="*/ 1453 w 2338"/>
                <a:gd name="T17" fmla="*/ 302 h 1901"/>
                <a:gd name="T18" fmla="*/ 1559 w 2338"/>
                <a:gd name="T19" fmla="*/ 355 h 1901"/>
                <a:gd name="T20" fmla="*/ 1610 w 2338"/>
                <a:gd name="T21" fmla="*/ 382 h 1901"/>
                <a:gd name="T22" fmla="*/ 1615 w 2338"/>
                <a:gd name="T23" fmla="*/ 384 h 1901"/>
                <a:gd name="T24" fmla="*/ 1637 w 2338"/>
                <a:gd name="T25" fmla="*/ 397 h 1901"/>
                <a:gd name="T26" fmla="*/ 1655 w 2338"/>
                <a:gd name="T27" fmla="*/ 405 h 1901"/>
                <a:gd name="T28" fmla="*/ 1671 w 2338"/>
                <a:gd name="T29" fmla="*/ 414 h 1901"/>
                <a:gd name="T30" fmla="*/ 1847 w 2338"/>
                <a:gd name="T31" fmla="*/ 516 h 1901"/>
                <a:gd name="T32" fmla="*/ 2019 w 2338"/>
                <a:gd name="T33" fmla="*/ 625 h 1901"/>
                <a:gd name="T34" fmla="*/ 2183 w 2338"/>
                <a:gd name="T35" fmla="*/ 737 h 1901"/>
                <a:gd name="T36" fmla="*/ 2338 w 2338"/>
                <a:gd name="T37" fmla="*/ 850 h 1901"/>
                <a:gd name="T38" fmla="*/ 1477 w 2338"/>
                <a:gd name="T39" fmla="*/ 1901 h 1901"/>
                <a:gd name="T40" fmla="*/ 1427 w 2338"/>
                <a:gd name="T41" fmla="*/ 1865 h 1901"/>
                <a:gd name="T42" fmla="*/ 1327 w 2338"/>
                <a:gd name="T43" fmla="*/ 1794 h 1901"/>
                <a:gd name="T44" fmla="*/ 1229 w 2338"/>
                <a:gd name="T45" fmla="*/ 1726 h 1901"/>
                <a:gd name="T46" fmla="*/ 1130 w 2338"/>
                <a:gd name="T47" fmla="*/ 1663 h 1901"/>
                <a:gd name="T48" fmla="*/ 1032 w 2338"/>
                <a:gd name="T49" fmla="*/ 1602 h 1901"/>
                <a:gd name="T50" fmla="*/ 936 w 2338"/>
                <a:gd name="T51" fmla="*/ 1546 h 1901"/>
                <a:gd name="T52" fmla="*/ 839 w 2338"/>
                <a:gd name="T53" fmla="*/ 1493 h 1901"/>
                <a:gd name="T54" fmla="*/ 744 w 2338"/>
                <a:gd name="T55" fmla="*/ 1444 h 1901"/>
                <a:gd name="T56" fmla="*/ 650 w 2338"/>
                <a:gd name="T57" fmla="*/ 1399 h 1901"/>
                <a:gd name="T58" fmla="*/ 557 w 2338"/>
                <a:gd name="T59" fmla="*/ 1357 h 1901"/>
                <a:gd name="T60" fmla="*/ 467 w 2338"/>
                <a:gd name="T61" fmla="*/ 1321 h 1901"/>
                <a:gd name="T62" fmla="*/ 377 w 2338"/>
                <a:gd name="T63" fmla="*/ 1288 h 1901"/>
                <a:gd name="T64" fmla="*/ 290 w 2338"/>
                <a:gd name="T65" fmla="*/ 1259 h 1901"/>
                <a:gd name="T66" fmla="*/ 204 w 2338"/>
                <a:gd name="T67" fmla="*/ 1234 h 1901"/>
                <a:gd name="T68" fmla="*/ 120 w 2338"/>
                <a:gd name="T69" fmla="*/ 1214 h 1901"/>
                <a:gd name="T70" fmla="*/ 39 w 2338"/>
                <a:gd name="T71" fmla="*/ 1198 h 1901"/>
                <a:gd name="T72" fmla="*/ 0 w 2338"/>
                <a:gd name="T73" fmla="*/ 1192 h 1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38" h="1901">
                  <a:moveTo>
                    <a:pt x="0" y="1192"/>
                  </a:moveTo>
                  <a:lnTo>
                    <a:pt x="0" y="1192"/>
                  </a:lnTo>
                  <a:lnTo>
                    <a:pt x="652" y="0"/>
                  </a:lnTo>
                  <a:lnTo>
                    <a:pt x="652" y="0"/>
                  </a:lnTo>
                  <a:lnTo>
                    <a:pt x="652" y="0"/>
                  </a:lnTo>
                  <a:lnTo>
                    <a:pt x="719" y="18"/>
                  </a:lnTo>
                  <a:lnTo>
                    <a:pt x="787" y="38"/>
                  </a:lnTo>
                  <a:lnTo>
                    <a:pt x="852" y="59"/>
                  </a:lnTo>
                  <a:lnTo>
                    <a:pt x="918" y="81"/>
                  </a:lnTo>
                  <a:lnTo>
                    <a:pt x="981" y="103"/>
                  </a:lnTo>
                  <a:lnTo>
                    <a:pt x="1045" y="126"/>
                  </a:lnTo>
                  <a:lnTo>
                    <a:pt x="1106" y="150"/>
                  </a:lnTo>
                  <a:lnTo>
                    <a:pt x="1167" y="174"/>
                  </a:lnTo>
                  <a:lnTo>
                    <a:pt x="1227" y="199"/>
                  </a:lnTo>
                  <a:lnTo>
                    <a:pt x="1285" y="225"/>
                  </a:lnTo>
                  <a:lnTo>
                    <a:pt x="1343" y="250"/>
                  </a:lnTo>
                  <a:lnTo>
                    <a:pt x="1399" y="276"/>
                  </a:lnTo>
                  <a:lnTo>
                    <a:pt x="1453" y="302"/>
                  </a:lnTo>
                  <a:lnTo>
                    <a:pt x="1507" y="329"/>
                  </a:lnTo>
                  <a:lnTo>
                    <a:pt x="1559" y="355"/>
                  </a:lnTo>
                  <a:lnTo>
                    <a:pt x="1610" y="382"/>
                  </a:lnTo>
                  <a:lnTo>
                    <a:pt x="1610" y="382"/>
                  </a:lnTo>
                  <a:lnTo>
                    <a:pt x="1615" y="384"/>
                  </a:lnTo>
                  <a:lnTo>
                    <a:pt x="1615" y="384"/>
                  </a:lnTo>
                  <a:lnTo>
                    <a:pt x="1637" y="397"/>
                  </a:lnTo>
                  <a:lnTo>
                    <a:pt x="1637" y="397"/>
                  </a:lnTo>
                  <a:lnTo>
                    <a:pt x="1655" y="405"/>
                  </a:lnTo>
                  <a:lnTo>
                    <a:pt x="1655" y="405"/>
                  </a:lnTo>
                  <a:lnTo>
                    <a:pt x="1671" y="414"/>
                  </a:lnTo>
                  <a:lnTo>
                    <a:pt x="1671" y="414"/>
                  </a:lnTo>
                  <a:lnTo>
                    <a:pt x="1760" y="464"/>
                  </a:lnTo>
                  <a:lnTo>
                    <a:pt x="1847" y="516"/>
                  </a:lnTo>
                  <a:lnTo>
                    <a:pt x="1935" y="571"/>
                  </a:lnTo>
                  <a:lnTo>
                    <a:pt x="2019" y="625"/>
                  </a:lnTo>
                  <a:lnTo>
                    <a:pt x="2102" y="681"/>
                  </a:lnTo>
                  <a:lnTo>
                    <a:pt x="2183" y="737"/>
                  </a:lnTo>
                  <a:lnTo>
                    <a:pt x="2261" y="794"/>
                  </a:lnTo>
                  <a:lnTo>
                    <a:pt x="2338" y="850"/>
                  </a:lnTo>
                  <a:lnTo>
                    <a:pt x="2338" y="850"/>
                  </a:lnTo>
                  <a:lnTo>
                    <a:pt x="1477" y="1901"/>
                  </a:lnTo>
                  <a:lnTo>
                    <a:pt x="1477" y="1901"/>
                  </a:lnTo>
                  <a:lnTo>
                    <a:pt x="1427" y="1865"/>
                  </a:lnTo>
                  <a:lnTo>
                    <a:pt x="1377" y="1828"/>
                  </a:lnTo>
                  <a:lnTo>
                    <a:pt x="1327" y="1794"/>
                  </a:lnTo>
                  <a:lnTo>
                    <a:pt x="1279" y="1760"/>
                  </a:lnTo>
                  <a:lnTo>
                    <a:pt x="1229" y="1726"/>
                  </a:lnTo>
                  <a:lnTo>
                    <a:pt x="1180" y="1694"/>
                  </a:lnTo>
                  <a:lnTo>
                    <a:pt x="1130" y="1663"/>
                  </a:lnTo>
                  <a:lnTo>
                    <a:pt x="1081" y="1631"/>
                  </a:lnTo>
                  <a:lnTo>
                    <a:pt x="1032" y="1602"/>
                  </a:lnTo>
                  <a:lnTo>
                    <a:pt x="983" y="1573"/>
                  </a:lnTo>
                  <a:lnTo>
                    <a:pt x="936" y="1546"/>
                  </a:lnTo>
                  <a:lnTo>
                    <a:pt x="887" y="1519"/>
                  </a:lnTo>
                  <a:lnTo>
                    <a:pt x="839" y="1493"/>
                  </a:lnTo>
                  <a:lnTo>
                    <a:pt x="791" y="1468"/>
                  </a:lnTo>
                  <a:lnTo>
                    <a:pt x="744" y="1444"/>
                  </a:lnTo>
                  <a:lnTo>
                    <a:pt x="696" y="1421"/>
                  </a:lnTo>
                  <a:lnTo>
                    <a:pt x="650" y="1399"/>
                  </a:lnTo>
                  <a:lnTo>
                    <a:pt x="604" y="1378"/>
                  </a:lnTo>
                  <a:lnTo>
                    <a:pt x="557" y="1357"/>
                  </a:lnTo>
                  <a:lnTo>
                    <a:pt x="511" y="1339"/>
                  </a:lnTo>
                  <a:lnTo>
                    <a:pt x="467" y="1321"/>
                  </a:lnTo>
                  <a:lnTo>
                    <a:pt x="422" y="1304"/>
                  </a:lnTo>
                  <a:lnTo>
                    <a:pt x="377" y="1288"/>
                  </a:lnTo>
                  <a:lnTo>
                    <a:pt x="334" y="1273"/>
                  </a:lnTo>
                  <a:lnTo>
                    <a:pt x="290" y="1259"/>
                  </a:lnTo>
                  <a:lnTo>
                    <a:pt x="246" y="1246"/>
                  </a:lnTo>
                  <a:lnTo>
                    <a:pt x="204" y="1234"/>
                  </a:lnTo>
                  <a:lnTo>
                    <a:pt x="162" y="1224"/>
                  </a:lnTo>
                  <a:lnTo>
                    <a:pt x="120" y="1214"/>
                  </a:lnTo>
                  <a:lnTo>
                    <a:pt x="80" y="1205"/>
                  </a:lnTo>
                  <a:lnTo>
                    <a:pt x="39" y="1198"/>
                  </a:lnTo>
                  <a:lnTo>
                    <a:pt x="0" y="1192"/>
                  </a:lnTo>
                  <a:lnTo>
                    <a:pt x="0" y="119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8" name="Freeform 108"/>
            <p:cNvSpPr>
              <a:spLocks/>
            </p:cNvSpPr>
            <p:nvPr/>
          </p:nvSpPr>
          <p:spPr bwMode="auto">
            <a:xfrm flipH="1">
              <a:off x="4334473" y="4170167"/>
              <a:ext cx="299301" cy="216706"/>
            </a:xfrm>
            <a:custGeom>
              <a:avLst/>
              <a:gdLst>
                <a:gd name="T0" fmla="*/ 804 w 1628"/>
                <a:gd name="T1" fmla="*/ 1514 h 1514"/>
                <a:gd name="T2" fmla="*/ 804 w 1628"/>
                <a:gd name="T3" fmla="*/ 1514 h 1514"/>
                <a:gd name="T4" fmla="*/ 750 w 1628"/>
                <a:gd name="T5" fmla="*/ 1474 h 1514"/>
                <a:gd name="T6" fmla="*/ 697 w 1628"/>
                <a:gd name="T7" fmla="*/ 1437 h 1514"/>
                <a:gd name="T8" fmla="*/ 644 w 1628"/>
                <a:gd name="T9" fmla="*/ 1400 h 1514"/>
                <a:gd name="T10" fmla="*/ 591 w 1628"/>
                <a:gd name="T11" fmla="*/ 1366 h 1514"/>
                <a:gd name="T12" fmla="*/ 538 w 1628"/>
                <a:gd name="T13" fmla="*/ 1333 h 1514"/>
                <a:gd name="T14" fmla="*/ 486 w 1628"/>
                <a:gd name="T15" fmla="*/ 1303 h 1514"/>
                <a:gd name="T16" fmla="*/ 434 w 1628"/>
                <a:gd name="T17" fmla="*/ 1274 h 1514"/>
                <a:gd name="T18" fmla="*/ 383 w 1628"/>
                <a:gd name="T19" fmla="*/ 1248 h 1514"/>
                <a:gd name="T20" fmla="*/ 332 w 1628"/>
                <a:gd name="T21" fmla="*/ 1223 h 1514"/>
                <a:gd name="T22" fmla="*/ 282 w 1628"/>
                <a:gd name="T23" fmla="*/ 1200 h 1514"/>
                <a:gd name="T24" fmla="*/ 233 w 1628"/>
                <a:gd name="T25" fmla="*/ 1179 h 1514"/>
                <a:gd name="T26" fmla="*/ 184 w 1628"/>
                <a:gd name="T27" fmla="*/ 1160 h 1514"/>
                <a:gd name="T28" fmla="*/ 136 w 1628"/>
                <a:gd name="T29" fmla="*/ 1144 h 1514"/>
                <a:gd name="T30" fmla="*/ 89 w 1628"/>
                <a:gd name="T31" fmla="*/ 1129 h 1514"/>
                <a:gd name="T32" fmla="*/ 44 w 1628"/>
                <a:gd name="T33" fmla="*/ 1117 h 1514"/>
                <a:gd name="T34" fmla="*/ 0 w 1628"/>
                <a:gd name="T35" fmla="*/ 1106 h 1514"/>
                <a:gd name="T36" fmla="*/ 0 w 1628"/>
                <a:gd name="T37" fmla="*/ 1106 h 1514"/>
                <a:gd name="T38" fmla="*/ 605 w 1628"/>
                <a:gd name="T39" fmla="*/ 0 h 1514"/>
                <a:gd name="T40" fmla="*/ 605 w 1628"/>
                <a:gd name="T41" fmla="*/ 0 h 1514"/>
                <a:gd name="T42" fmla="*/ 661 w 1628"/>
                <a:gd name="T43" fmla="*/ 11 h 1514"/>
                <a:gd name="T44" fmla="*/ 719 w 1628"/>
                <a:gd name="T45" fmla="*/ 26 h 1514"/>
                <a:gd name="T46" fmla="*/ 779 w 1628"/>
                <a:gd name="T47" fmla="*/ 43 h 1514"/>
                <a:gd name="T48" fmla="*/ 839 w 1628"/>
                <a:gd name="T49" fmla="*/ 63 h 1514"/>
                <a:gd name="T50" fmla="*/ 900 w 1628"/>
                <a:gd name="T51" fmla="*/ 86 h 1514"/>
                <a:gd name="T52" fmla="*/ 963 w 1628"/>
                <a:gd name="T53" fmla="*/ 112 h 1514"/>
                <a:gd name="T54" fmla="*/ 1026 w 1628"/>
                <a:gd name="T55" fmla="*/ 140 h 1514"/>
                <a:gd name="T56" fmla="*/ 1091 w 1628"/>
                <a:gd name="T57" fmla="*/ 171 h 1514"/>
                <a:gd name="T58" fmla="*/ 1156 w 1628"/>
                <a:gd name="T59" fmla="*/ 204 h 1514"/>
                <a:gd name="T60" fmla="*/ 1222 w 1628"/>
                <a:gd name="T61" fmla="*/ 240 h 1514"/>
                <a:gd name="T62" fmla="*/ 1288 w 1628"/>
                <a:gd name="T63" fmla="*/ 279 h 1514"/>
                <a:gd name="T64" fmla="*/ 1356 w 1628"/>
                <a:gd name="T65" fmla="*/ 320 h 1514"/>
                <a:gd name="T66" fmla="*/ 1423 w 1628"/>
                <a:gd name="T67" fmla="*/ 362 h 1514"/>
                <a:gd name="T68" fmla="*/ 1492 w 1628"/>
                <a:gd name="T69" fmla="*/ 408 h 1514"/>
                <a:gd name="T70" fmla="*/ 1560 w 1628"/>
                <a:gd name="T71" fmla="*/ 456 h 1514"/>
                <a:gd name="T72" fmla="*/ 1628 w 1628"/>
                <a:gd name="T73" fmla="*/ 507 h 1514"/>
                <a:gd name="T74" fmla="*/ 1628 w 1628"/>
                <a:gd name="T75" fmla="*/ 507 h 1514"/>
                <a:gd name="T76" fmla="*/ 804 w 1628"/>
                <a:gd name="T77" fmla="*/ 1514 h 1514"/>
                <a:gd name="T78" fmla="*/ 804 w 1628"/>
                <a:gd name="T79" fmla="*/ 1514 h 1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28" h="1514">
                  <a:moveTo>
                    <a:pt x="804" y="1514"/>
                  </a:moveTo>
                  <a:lnTo>
                    <a:pt x="804" y="1514"/>
                  </a:lnTo>
                  <a:lnTo>
                    <a:pt x="750" y="1474"/>
                  </a:lnTo>
                  <a:lnTo>
                    <a:pt x="697" y="1437"/>
                  </a:lnTo>
                  <a:lnTo>
                    <a:pt x="644" y="1400"/>
                  </a:lnTo>
                  <a:lnTo>
                    <a:pt x="591" y="1366"/>
                  </a:lnTo>
                  <a:lnTo>
                    <a:pt x="538" y="1333"/>
                  </a:lnTo>
                  <a:lnTo>
                    <a:pt x="486" y="1303"/>
                  </a:lnTo>
                  <a:lnTo>
                    <a:pt x="434" y="1274"/>
                  </a:lnTo>
                  <a:lnTo>
                    <a:pt x="383" y="1248"/>
                  </a:lnTo>
                  <a:lnTo>
                    <a:pt x="332" y="1223"/>
                  </a:lnTo>
                  <a:lnTo>
                    <a:pt x="282" y="1200"/>
                  </a:lnTo>
                  <a:lnTo>
                    <a:pt x="233" y="1179"/>
                  </a:lnTo>
                  <a:lnTo>
                    <a:pt x="184" y="1160"/>
                  </a:lnTo>
                  <a:lnTo>
                    <a:pt x="136" y="1144"/>
                  </a:lnTo>
                  <a:lnTo>
                    <a:pt x="89" y="1129"/>
                  </a:lnTo>
                  <a:lnTo>
                    <a:pt x="44" y="1117"/>
                  </a:lnTo>
                  <a:lnTo>
                    <a:pt x="0" y="1106"/>
                  </a:lnTo>
                  <a:lnTo>
                    <a:pt x="0" y="1106"/>
                  </a:lnTo>
                  <a:lnTo>
                    <a:pt x="605" y="0"/>
                  </a:lnTo>
                  <a:lnTo>
                    <a:pt x="605" y="0"/>
                  </a:lnTo>
                  <a:lnTo>
                    <a:pt x="661" y="11"/>
                  </a:lnTo>
                  <a:lnTo>
                    <a:pt x="719" y="26"/>
                  </a:lnTo>
                  <a:lnTo>
                    <a:pt x="779" y="43"/>
                  </a:lnTo>
                  <a:lnTo>
                    <a:pt x="839" y="63"/>
                  </a:lnTo>
                  <a:lnTo>
                    <a:pt x="900" y="86"/>
                  </a:lnTo>
                  <a:lnTo>
                    <a:pt x="963" y="112"/>
                  </a:lnTo>
                  <a:lnTo>
                    <a:pt x="1026" y="140"/>
                  </a:lnTo>
                  <a:lnTo>
                    <a:pt x="1091" y="171"/>
                  </a:lnTo>
                  <a:lnTo>
                    <a:pt x="1156" y="204"/>
                  </a:lnTo>
                  <a:lnTo>
                    <a:pt x="1222" y="240"/>
                  </a:lnTo>
                  <a:lnTo>
                    <a:pt x="1288" y="279"/>
                  </a:lnTo>
                  <a:lnTo>
                    <a:pt x="1356" y="320"/>
                  </a:lnTo>
                  <a:lnTo>
                    <a:pt x="1423" y="362"/>
                  </a:lnTo>
                  <a:lnTo>
                    <a:pt x="1492" y="408"/>
                  </a:lnTo>
                  <a:lnTo>
                    <a:pt x="1560" y="456"/>
                  </a:lnTo>
                  <a:lnTo>
                    <a:pt x="1628" y="507"/>
                  </a:lnTo>
                  <a:lnTo>
                    <a:pt x="1628" y="507"/>
                  </a:lnTo>
                  <a:lnTo>
                    <a:pt x="804" y="1514"/>
                  </a:lnTo>
                  <a:lnTo>
                    <a:pt x="804" y="1514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9" name="Freeform 109"/>
            <p:cNvSpPr>
              <a:spLocks/>
            </p:cNvSpPr>
            <p:nvPr/>
          </p:nvSpPr>
          <p:spPr bwMode="auto">
            <a:xfrm flipH="1">
              <a:off x="4019691" y="3842528"/>
              <a:ext cx="384447" cy="246375"/>
            </a:xfrm>
            <a:custGeom>
              <a:avLst/>
              <a:gdLst>
                <a:gd name="T0" fmla="*/ 0 w 2087"/>
                <a:gd name="T1" fmla="*/ 1113 h 1721"/>
                <a:gd name="T2" fmla="*/ 610 w 2087"/>
                <a:gd name="T3" fmla="*/ 0 h 1721"/>
                <a:gd name="T4" fmla="*/ 690 w 2087"/>
                <a:gd name="T5" fmla="*/ 13 h 1721"/>
                <a:gd name="T6" fmla="*/ 772 w 2087"/>
                <a:gd name="T7" fmla="*/ 32 h 1721"/>
                <a:gd name="T8" fmla="*/ 856 w 2087"/>
                <a:gd name="T9" fmla="*/ 54 h 1721"/>
                <a:gd name="T10" fmla="*/ 944 w 2087"/>
                <a:gd name="T11" fmla="*/ 81 h 1721"/>
                <a:gd name="T12" fmla="*/ 1032 w 2087"/>
                <a:gd name="T13" fmla="*/ 112 h 1721"/>
                <a:gd name="T14" fmla="*/ 1121 w 2087"/>
                <a:gd name="T15" fmla="*/ 147 h 1721"/>
                <a:gd name="T16" fmla="*/ 1214 w 2087"/>
                <a:gd name="T17" fmla="*/ 186 h 1721"/>
                <a:gd name="T18" fmla="*/ 1306 w 2087"/>
                <a:gd name="T19" fmla="*/ 229 h 1721"/>
                <a:gd name="T20" fmla="*/ 1401 w 2087"/>
                <a:gd name="T21" fmla="*/ 276 h 1721"/>
                <a:gd name="T22" fmla="*/ 1497 w 2087"/>
                <a:gd name="T23" fmla="*/ 327 h 1721"/>
                <a:gd name="T24" fmla="*/ 1593 w 2087"/>
                <a:gd name="T25" fmla="*/ 381 h 1721"/>
                <a:gd name="T26" fmla="*/ 1691 w 2087"/>
                <a:gd name="T27" fmla="*/ 439 h 1721"/>
                <a:gd name="T28" fmla="*/ 1790 w 2087"/>
                <a:gd name="T29" fmla="*/ 502 h 1721"/>
                <a:gd name="T30" fmla="*/ 1889 w 2087"/>
                <a:gd name="T31" fmla="*/ 568 h 1721"/>
                <a:gd name="T32" fmla="*/ 1987 w 2087"/>
                <a:gd name="T33" fmla="*/ 636 h 1721"/>
                <a:gd name="T34" fmla="*/ 2087 w 2087"/>
                <a:gd name="T35" fmla="*/ 709 h 1721"/>
                <a:gd name="T36" fmla="*/ 1259 w 2087"/>
                <a:gd name="T37" fmla="*/ 1721 h 1721"/>
                <a:gd name="T38" fmla="*/ 1173 w 2087"/>
                <a:gd name="T39" fmla="*/ 1659 h 1721"/>
                <a:gd name="T40" fmla="*/ 1005 w 2087"/>
                <a:gd name="T41" fmla="*/ 1545 h 1721"/>
                <a:gd name="T42" fmla="*/ 839 w 2087"/>
                <a:gd name="T43" fmla="*/ 1442 h 1721"/>
                <a:gd name="T44" fmla="*/ 674 w 2087"/>
                <a:gd name="T45" fmla="*/ 1352 h 1721"/>
                <a:gd name="T46" fmla="*/ 555 w 2087"/>
                <a:gd name="T47" fmla="*/ 1293 h 1721"/>
                <a:gd name="T48" fmla="*/ 476 w 2087"/>
                <a:gd name="T49" fmla="*/ 1257 h 1721"/>
                <a:gd name="T50" fmla="*/ 398 w 2087"/>
                <a:gd name="T51" fmla="*/ 1226 h 1721"/>
                <a:gd name="T52" fmla="*/ 322 w 2087"/>
                <a:gd name="T53" fmla="*/ 1198 h 1721"/>
                <a:gd name="T54" fmla="*/ 247 w 2087"/>
                <a:gd name="T55" fmla="*/ 1173 h 1721"/>
                <a:gd name="T56" fmla="*/ 174 w 2087"/>
                <a:gd name="T57" fmla="*/ 1151 h 1721"/>
                <a:gd name="T58" fmla="*/ 104 w 2087"/>
                <a:gd name="T59" fmla="*/ 1133 h 1721"/>
                <a:gd name="T60" fmla="*/ 34 w 2087"/>
                <a:gd name="T61" fmla="*/ 1120 h 1721"/>
                <a:gd name="T62" fmla="*/ 0 w 2087"/>
                <a:gd name="T63" fmla="*/ 1113 h 1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87" h="1721">
                  <a:moveTo>
                    <a:pt x="0" y="1113"/>
                  </a:moveTo>
                  <a:lnTo>
                    <a:pt x="0" y="1113"/>
                  </a:lnTo>
                  <a:lnTo>
                    <a:pt x="610" y="0"/>
                  </a:lnTo>
                  <a:lnTo>
                    <a:pt x="610" y="0"/>
                  </a:lnTo>
                  <a:lnTo>
                    <a:pt x="649" y="6"/>
                  </a:lnTo>
                  <a:lnTo>
                    <a:pt x="690" y="13"/>
                  </a:lnTo>
                  <a:lnTo>
                    <a:pt x="730" y="22"/>
                  </a:lnTo>
                  <a:lnTo>
                    <a:pt x="772" y="32"/>
                  </a:lnTo>
                  <a:lnTo>
                    <a:pt x="814" y="42"/>
                  </a:lnTo>
                  <a:lnTo>
                    <a:pt x="856" y="54"/>
                  </a:lnTo>
                  <a:lnTo>
                    <a:pt x="900" y="67"/>
                  </a:lnTo>
                  <a:lnTo>
                    <a:pt x="944" y="81"/>
                  </a:lnTo>
                  <a:lnTo>
                    <a:pt x="987" y="96"/>
                  </a:lnTo>
                  <a:lnTo>
                    <a:pt x="1032" y="112"/>
                  </a:lnTo>
                  <a:lnTo>
                    <a:pt x="1077" y="129"/>
                  </a:lnTo>
                  <a:lnTo>
                    <a:pt x="1121" y="147"/>
                  </a:lnTo>
                  <a:lnTo>
                    <a:pt x="1167" y="165"/>
                  </a:lnTo>
                  <a:lnTo>
                    <a:pt x="1214" y="186"/>
                  </a:lnTo>
                  <a:lnTo>
                    <a:pt x="1260" y="207"/>
                  </a:lnTo>
                  <a:lnTo>
                    <a:pt x="1306" y="229"/>
                  </a:lnTo>
                  <a:lnTo>
                    <a:pt x="1354" y="252"/>
                  </a:lnTo>
                  <a:lnTo>
                    <a:pt x="1401" y="276"/>
                  </a:lnTo>
                  <a:lnTo>
                    <a:pt x="1449" y="301"/>
                  </a:lnTo>
                  <a:lnTo>
                    <a:pt x="1497" y="327"/>
                  </a:lnTo>
                  <a:lnTo>
                    <a:pt x="1546" y="354"/>
                  </a:lnTo>
                  <a:lnTo>
                    <a:pt x="1593" y="381"/>
                  </a:lnTo>
                  <a:lnTo>
                    <a:pt x="1642" y="410"/>
                  </a:lnTo>
                  <a:lnTo>
                    <a:pt x="1691" y="439"/>
                  </a:lnTo>
                  <a:lnTo>
                    <a:pt x="1740" y="471"/>
                  </a:lnTo>
                  <a:lnTo>
                    <a:pt x="1790" y="502"/>
                  </a:lnTo>
                  <a:lnTo>
                    <a:pt x="1839" y="534"/>
                  </a:lnTo>
                  <a:lnTo>
                    <a:pt x="1889" y="568"/>
                  </a:lnTo>
                  <a:lnTo>
                    <a:pt x="1937" y="602"/>
                  </a:lnTo>
                  <a:lnTo>
                    <a:pt x="1987" y="636"/>
                  </a:lnTo>
                  <a:lnTo>
                    <a:pt x="2037" y="673"/>
                  </a:lnTo>
                  <a:lnTo>
                    <a:pt x="2087" y="709"/>
                  </a:lnTo>
                  <a:lnTo>
                    <a:pt x="2087" y="709"/>
                  </a:lnTo>
                  <a:lnTo>
                    <a:pt x="1259" y="1721"/>
                  </a:lnTo>
                  <a:lnTo>
                    <a:pt x="1259" y="1721"/>
                  </a:lnTo>
                  <a:lnTo>
                    <a:pt x="1173" y="1659"/>
                  </a:lnTo>
                  <a:lnTo>
                    <a:pt x="1089" y="1600"/>
                  </a:lnTo>
                  <a:lnTo>
                    <a:pt x="1005" y="1545"/>
                  </a:lnTo>
                  <a:lnTo>
                    <a:pt x="922" y="1492"/>
                  </a:lnTo>
                  <a:lnTo>
                    <a:pt x="839" y="1442"/>
                  </a:lnTo>
                  <a:lnTo>
                    <a:pt x="756" y="1395"/>
                  </a:lnTo>
                  <a:lnTo>
                    <a:pt x="674" y="1352"/>
                  </a:lnTo>
                  <a:lnTo>
                    <a:pt x="594" y="1311"/>
                  </a:lnTo>
                  <a:lnTo>
                    <a:pt x="555" y="1293"/>
                  </a:lnTo>
                  <a:lnTo>
                    <a:pt x="515" y="1275"/>
                  </a:lnTo>
                  <a:lnTo>
                    <a:pt x="476" y="1257"/>
                  </a:lnTo>
                  <a:lnTo>
                    <a:pt x="436" y="1242"/>
                  </a:lnTo>
                  <a:lnTo>
                    <a:pt x="398" y="1226"/>
                  </a:lnTo>
                  <a:lnTo>
                    <a:pt x="359" y="1211"/>
                  </a:lnTo>
                  <a:lnTo>
                    <a:pt x="322" y="1198"/>
                  </a:lnTo>
                  <a:lnTo>
                    <a:pt x="284" y="1184"/>
                  </a:lnTo>
                  <a:lnTo>
                    <a:pt x="247" y="1173"/>
                  </a:lnTo>
                  <a:lnTo>
                    <a:pt x="211" y="1161"/>
                  </a:lnTo>
                  <a:lnTo>
                    <a:pt x="174" y="1151"/>
                  </a:lnTo>
                  <a:lnTo>
                    <a:pt x="139" y="1142"/>
                  </a:lnTo>
                  <a:lnTo>
                    <a:pt x="104" y="1133"/>
                  </a:lnTo>
                  <a:lnTo>
                    <a:pt x="68" y="1126"/>
                  </a:lnTo>
                  <a:lnTo>
                    <a:pt x="34" y="1120"/>
                  </a:lnTo>
                  <a:lnTo>
                    <a:pt x="0" y="1113"/>
                  </a:lnTo>
                  <a:lnTo>
                    <a:pt x="0" y="1113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0" name="Freeform 110"/>
            <p:cNvSpPr>
              <a:spLocks/>
            </p:cNvSpPr>
            <p:nvPr/>
          </p:nvSpPr>
          <p:spPr bwMode="auto">
            <a:xfrm flipH="1">
              <a:off x="4171921" y="4002478"/>
              <a:ext cx="350904" cy="239925"/>
            </a:xfrm>
            <a:custGeom>
              <a:avLst/>
              <a:gdLst>
                <a:gd name="T0" fmla="*/ 1023 w 1902"/>
                <a:gd name="T1" fmla="*/ 1681 h 1681"/>
                <a:gd name="T2" fmla="*/ 1023 w 1902"/>
                <a:gd name="T3" fmla="*/ 1681 h 1681"/>
                <a:gd name="T4" fmla="*/ 955 w 1902"/>
                <a:gd name="T5" fmla="*/ 1630 h 1681"/>
                <a:gd name="T6" fmla="*/ 887 w 1902"/>
                <a:gd name="T7" fmla="*/ 1582 h 1681"/>
                <a:gd name="T8" fmla="*/ 818 w 1902"/>
                <a:gd name="T9" fmla="*/ 1536 h 1681"/>
                <a:gd name="T10" fmla="*/ 751 w 1902"/>
                <a:gd name="T11" fmla="*/ 1494 h 1681"/>
                <a:gd name="T12" fmla="*/ 683 w 1902"/>
                <a:gd name="T13" fmla="*/ 1453 h 1681"/>
                <a:gd name="T14" fmla="*/ 617 w 1902"/>
                <a:gd name="T15" fmla="*/ 1414 h 1681"/>
                <a:gd name="T16" fmla="*/ 551 w 1902"/>
                <a:gd name="T17" fmla="*/ 1378 h 1681"/>
                <a:gd name="T18" fmla="*/ 486 w 1902"/>
                <a:gd name="T19" fmla="*/ 1345 h 1681"/>
                <a:gd name="T20" fmla="*/ 421 w 1902"/>
                <a:gd name="T21" fmla="*/ 1314 h 1681"/>
                <a:gd name="T22" fmla="*/ 358 w 1902"/>
                <a:gd name="T23" fmla="*/ 1286 h 1681"/>
                <a:gd name="T24" fmla="*/ 295 w 1902"/>
                <a:gd name="T25" fmla="*/ 1260 h 1681"/>
                <a:gd name="T26" fmla="*/ 234 w 1902"/>
                <a:gd name="T27" fmla="*/ 1237 h 1681"/>
                <a:gd name="T28" fmla="*/ 174 w 1902"/>
                <a:gd name="T29" fmla="*/ 1217 h 1681"/>
                <a:gd name="T30" fmla="*/ 114 w 1902"/>
                <a:gd name="T31" fmla="*/ 1200 h 1681"/>
                <a:gd name="T32" fmla="*/ 56 w 1902"/>
                <a:gd name="T33" fmla="*/ 1185 h 1681"/>
                <a:gd name="T34" fmla="*/ 0 w 1902"/>
                <a:gd name="T35" fmla="*/ 1174 h 1681"/>
                <a:gd name="T36" fmla="*/ 0 w 1902"/>
                <a:gd name="T37" fmla="*/ 1174 h 1681"/>
                <a:gd name="T38" fmla="*/ 643 w 1902"/>
                <a:gd name="T39" fmla="*/ 0 h 1681"/>
                <a:gd name="T40" fmla="*/ 643 w 1902"/>
                <a:gd name="T41" fmla="*/ 0 h 1681"/>
                <a:gd name="T42" fmla="*/ 677 w 1902"/>
                <a:gd name="T43" fmla="*/ 7 h 1681"/>
                <a:gd name="T44" fmla="*/ 711 w 1902"/>
                <a:gd name="T45" fmla="*/ 13 h 1681"/>
                <a:gd name="T46" fmla="*/ 747 w 1902"/>
                <a:gd name="T47" fmla="*/ 20 h 1681"/>
                <a:gd name="T48" fmla="*/ 782 w 1902"/>
                <a:gd name="T49" fmla="*/ 29 h 1681"/>
                <a:gd name="T50" fmla="*/ 817 w 1902"/>
                <a:gd name="T51" fmla="*/ 38 h 1681"/>
                <a:gd name="T52" fmla="*/ 854 w 1902"/>
                <a:gd name="T53" fmla="*/ 48 h 1681"/>
                <a:gd name="T54" fmla="*/ 890 w 1902"/>
                <a:gd name="T55" fmla="*/ 60 h 1681"/>
                <a:gd name="T56" fmla="*/ 927 w 1902"/>
                <a:gd name="T57" fmla="*/ 71 h 1681"/>
                <a:gd name="T58" fmla="*/ 965 w 1902"/>
                <a:gd name="T59" fmla="*/ 85 h 1681"/>
                <a:gd name="T60" fmla="*/ 1002 w 1902"/>
                <a:gd name="T61" fmla="*/ 98 h 1681"/>
                <a:gd name="T62" fmla="*/ 1041 w 1902"/>
                <a:gd name="T63" fmla="*/ 113 h 1681"/>
                <a:gd name="T64" fmla="*/ 1079 w 1902"/>
                <a:gd name="T65" fmla="*/ 129 h 1681"/>
                <a:gd name="T66" fmla="*/ 1119 w 1902"/>
                <a:gd name="T67" fmla="*/ 144 h 1681"/>
                <a:gd name="T68" fmla="*/ 1158 w 1902"/>
                <a:gd name="T69" fmla="*/ 162 h 1681"/>
                <a:gd name="T70" fmla="*/ 1198 w 1902"/>
                <a:gd name="T71" fmla="*/ 180 h 1681"/>
                <a:gd name="T72" fmla="*/ 1237 w 1902"/>
                <a:gd name="T73" fmla="*/ 198 h 1681"/>
                <a:gd name="T74" fmla="*/ 1317 w 1902"/>
                <a:gd name="T75" fmla="*/ 239 h 1681"/>
                <a:gd name="T76" fmla="*/ 1399 w 1902"/>
                <a:gd name="T77" fmla="*/ 282 h 1681"/>
                <a:gd name="T78" fmla="*/ 1482 w 1902"/>
                <a:gd name="T79" fmla="*/ 329 h 1681"/>
                <a:gd name="T80" fmla="*/ 1565 w 1902"/>
                <a:gd name="T81" fmla="*/ 379 h 1681"/>
                <a:gd name="T82" fmla="*/ 1648 w 1902"/>
                <a:gd name="T83" fmla="*/ 432 h 1681"/>
                <a:gd name="T84" fmla="*/ 1732 w 1902"/>
                <a:gd name="T85" fmla="*/ 487 h 1681"/>
                <a:gd name="T86" fmla="*/ 1816 w 1902"/>
                <a:gd name="T87" fmla="*/ 546 h 1681"/>
                <a:gd name="T88" fmla="*/ 1902 w 1902"/>
                <a:gd name="T89" fmla="*/ 608 h 1681"/>
                <a:gd name="T90" fmla="*/ 1902 w 1902"/>
                <a:gd name="T91" fmla="*/ 608 h 1681"/>
                <a:gd name="T92" fmla="*/ 1023 w 1902"/>
                <a:gd name="T93" fmla="*/ 1681 h 1681"/>
                <a:gd name="T94" fmla="*/ 1023 w 1902"/>
                <a:gd name="T95" fmla="*/ 1681 h 1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902" h="1681">
                  <a:moveTo>
                    <a:pt x="1023" y="1681"/>
                  </a:moveTo>
                  <a:lnTo>
                    <a:pt x="1023" y="1681"/>
                  </a:lnTo>
                  <a:lnTo>
                    <a:pt x="955" y="1630"/>
                  </a:lnTo>
                  <a:lnTo>
                    <a:pt x="887" y="1582"/>
                  </a:lnTo>
                  <a:lnTo>
                    <a:pt x="818" y="1536"/>
                  </a:lnTo>
                  <a:lnTo>
                    <a:pt x="751" y="1494"/>
                  </a:lnTo>
                  <a:lnTo>
                    <a:pt x="683" y="1453"/>
                  </a:lnTo>
                  <a:lnTo>
                    <a:pt x="617" y="1414"/>
                  </a:lnTo>
                  <a:lnTo>
                    <a:pt x="551" y="1378"/>
                  </a:lnTo>
                  <a:lnTo>
                    <a:pt x="486" y="1345"/>
                  </a:lnTo>
                  <a:lnTo>
                    <a:pt x="421" y="1314"/>
                  </a:lnTo>
                  <a:lnTo>
                    <a:pt x="358" y="1286"/>
                  </a:lnTo>
                  <a:lnTo>
                    <a:pt x="295" y="1260"/>
                  </a:lnTo>
                  <a:lnTo>
                    <a:pt x="234" y="1237"/>
                  </a:lnTo>
                  <a:lnTo>
                    <a:pt x="174" y="1217"/>
                  </a:lnTo>
                  <a:lnTo>
                    <a:pt x="114" y="1200"/>
                  </a:lnTo>
                  <a:lnTo>
                    <a:pt x="56" y="1185"/>
                  </a:lnTo>
                  <a:lnTo>
                    <a:pt x="0" y="1174"/>
                  </a:lnTo>
                  <a:lnTo>
                    <a:pt x="0" y="1174"/>
                  </a:lnTo>
                  <a:lnTo>
                    <a:pt x="643" y="0"/>
                  </a:lnTo>
                  <a:lnTo>
                    <a:pt x="643" y="0"/>
                  </a:lnTo>
                  <a:lnTo>
                    <a:pt x="677" y="7"/>
                  </a:lnTo>
                  <a:lnTo>
                    <a:pt x="711" y="13"/>
                  </a:lnTo>
                  <a:lnTo>
                    <a:pt x="747" y="20"/>
                  </a:lnTo>
                  <a:lnTo>
                    <a:pt x="782" y="29"/>
                  </a:lnTo>
                  <a:lnTo>
                    <a:pt x="817" y="38"/>
                  </a:lnTo>
                  <a:lnTo>
                    <a:pt x="854" y="48"/>
                  </a:lnTo>
                  <a:lnTo>
                    <a:pt x="890" y="60"/>
                  </a:lnTo>
                  <a:lnTo>
                    <a:pt x="927" y="71"/>
                  </a:lnTo>
                  <a:lnTo>
                    <a:pt x="965" y="85"/>
                  </a:lnTo>
                  <a:lnTo>
                    <a:pt x="1002" y="98"/>
                  </a:lnTo>
                  <a:lnTo>
                    <a:pt x="1041" y="113"/>
                  </a:lnTo>
                  <a:lnTo>
                    <a:pt x="1079" y="129"/>
                  </a:lnTo>
                  <a:lnTo>
                    <a:pt x="1119" y="144"/>
                  </a:lnTo>
                  <a:lnTo>
                    <a:pt x="1158" y="162"/>
                  </a:lnTo>
                  <a:lnTo>
                    <a:pt x="1198" y="180"/>
                  </a:lnTo>
                  <a:lnTo>
                    <a:pt x="1237" y="198"/>
                  </a:lnTo>
                  <a:lnTo>
                    <a:pt x="1317" y="239"/>
                  </a:lnTo>
                  <a:lnTo>
                    <a:pt x="1399" y="282"/>
                  </a:lnTo>
                  <a:lnTo>
                    <a:pt x="1482" y="329"/>
                  </a:lnTo>
                  <a:lnTo>
                    <a:pt x="1565" y="379"/>
                  </a:lnTo>
                  <a:lnTo>
                    <a:pt x="1648" y="432"/>
                  </a:lnTo>
                  <a:lnTo>
                    <a:pt x="1732" y="487"/>
                  </a:lnTo>
                  <a:lnTo>
                    <a:pt x="1816" y="546"/>
                  </a:lnTo>
                  <a:lnTo>
                    <a:pt x="1902" y="608"/>
                  </a:lnTo>
                  <a:lnTo>
                    <a:pt x="1902" y="608"/>
                  </a:lnTo>
                  <a:lnTo>
                    <a:pt x="1023" y="1681"/>
                  </a:lnTo>
                  <a:lnTo>
                    <a:pt x="1023" y="1681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1" name="Freeform 111"/>
            <p:cNvSpPr>
              <a:spLocks/>
            </p:cNvSpPr>
            <p:nvPr/>
          </p:nvSpPr>
          <p:spPr bwMode="auto">
            <a:xfrm flipH="1">
              <a:off x="4485413" y="4328827"/>
              <a:ext cx="265758" cy="212837"/>
            </a:xfrm>
            <a:custGeom>
              <a:avLst/>
              <a:gdLst>
                <a:gd name="T0" fmla="*/ 555 w 1443"/>
                <a:gd name="T1" fmla="*/ 1490 h 1490"/>
                <a:gd name="T2" fmla="*/ 555 w 1443"/>
                <a:gd name="T3" fmla="*/ 1490 h 1490"/>
                <a:gd name="T4" fmla="*/ 519 w 1443"/>
                <a:gd name="T5" fmla="*/ 1462 h 1490"/>
                <a:gd name="T6" fmla="*/ 483 w 1443"/>
                <a:gd name="T7" fmla="*/ 1436 h 1490"/>
                <a:gd name="T8" fmla="*/ 447 w 1443"/>
                <a:gd name="T9" fmla="*/ 1410 h 1490"/>
                <a:gd name="T10" fmla="*/ 411 w 1443"/>
                <a:gd name="T11" fmla="*/ 1385 h 1490"/>
                <a:gd name="T12" fmla="*/ 376 w 1443"/>
                <a:gd name="T13" fmla="*/ 1361 h 1490"/>
                <a:gd name="T14" fmla="*/ 340 w 1443"/>
                <a:gd name="T15" fmla="*/ 1338 h 1490"/>
                <a:gd name="T16" fmla="*/ 304 w 1443"/>
                <a:gd name="T17" fmla="*/ 1316 h 1490"/>
                <a:gd name="T18" fmla="*/ 269 w 1443"/>
                <a:gd name="T19" fmla="*/ 1295 h 1490"/>
                <a:gd name="T20" fmla="*/ 235 w 1443"/>
                <a:gd name="T21" fmla="*/ 1276 h 1490"/>
                <a:gd name="T22" fmla="*/ 200 w 1443"/>
                <a:gd name="T23" fmla="*/ 1257 h 1490"/>
                <a:gd name="T24" fmla="*/ 165 w 1443"/>
                <a:gd name="T25" fmla="*/ 1239 h 1490"/>
                <a:gd name="T26" fmla="*/ 132 w 1443"/>
                <a:gd name="T27" fmla="*/ 1224 h 1490"/>
                <a:gd name="T28" fmla="*/ 97 w 1443"/>
                <a:gd name="T29" fmla="*/ 1208 h 1490"/>
                <a:gd name="T30" fmla="*/ 64 w 1443"/>
                <a:gd name="T31" fmla="*/ 1193 h 1490"/>
                <a:gd name="T32" fmla="*/ 32 w 1443"/>
                <a:gd name="T33" fmla="*/ 1180 h 1490"/>
                <a:gd name="T34" fmla="*/ 0 w 1443"/>
                <a:gd name="T35" fmla="*/ 1167 h 1490"/>
                <a:gd name="T36" fmla="*/ 0 w 1443"/>
                <a:gd name="T37" fmla="*/ 1167 h 1490"/>
                <a:gd name="T38" fmla="*/ 639 w 1443"/>
                <a:gd name="T39" fmla="*/ 0 h 1490"/>
                <a:gd name="T40" fmla="*/ 639 w 1443"/>
                <a:gd name="T41" fmla="*/ 0 h 1490"/>
                <a:gd name="T42" fmla="*/ 683 w 1443"/>
                <a:gd name="T43" fmla="*/ 11 h 1490"/>
                <a:gd name="T44" fmla="*/ 728 w 1443"/>
                <a:gd name="T45" fmla="*/ 23 h 1490"/>
                <a:gd name="T46" fmla="*/ 775 w 1443"/>
                <a:gd name="T47" fmla="*/ 38 h 1490"/>
                <a:gd name="T48" fmla="*/ 823 w 1443"/>
                <a:gd name="T49" fmla="*/ 54 h 1490"/>
                <a:gd name="T50" fmla="*/ 872 w 1443"/>
                <a:gd name="T51" fmla="*/ 73 h 1490"/>
                <a:gd name="T52" fmla="*/ 921 w 1443"/>
                <a:gd name="T53" fmla="*/ 94 h 1490"/>
                <a:gd name="T54" fmla="*/ 971 w 1443"/>
                <a:gd name="T55" fmla="*/ 117 h 1490"/>
                <a:gd name="T56" fmla="*/ 1022 w 1443"/>
                <a:gd name="T57" fmla="*/ 142 h 1490"/>
                <a:gd name="T58" fmla="*/ 1073 w 1443"/>
                <a:gd name="T59" fmla="*/ 168 h 1490"/>
                <a:gd name="T60" fmla="*/ 1125 w 1443"/>
                <a:gd name="T61" fmla="*/ 197 h 1490"/>
                <a:gd name="T62" fmla="*/ 1177 w 1443"/>
                <a:gd name="T63" fmla="*/ 227 h 1490"/>
                <a:gd name="T64" fmla="*/ 1230 w 1443"/>
                <a:gd name="T65" fmla="*/ 260 h 1490"/>
                <a:gd name="T66" fmla="*/ 1283 w 1443"/>
                <a:gd name="T67" fmla="*/ 294 h 1490"/>
                <a:gd name="T68" fmla="*/ 1336 w 1443"/>
                <a:gd name="T69" fmla="*/ 331 h 1490"/>
                <a:gd name="T70" fmla="*/ 1389 w 1443"/>
                <a:gd name="T71" fmla="*/ 368 h 1490"/>
                <a:gd name="T72" fmla="*/ 1443 w 1443"/>
                <a:gd name="T73" fmla="*/ 408 h 1490"/>
                <a:gd name="T74" fmla="*/ 1443 w 1443"/>
                <a:gd name="T75" fmla="*/ 408 h 1490"/>
                <a:gd name="T76" fmla="*/ 555 w 1443"/>
                <a:gd name="T77" fmla="*/ 1490 h 1490"/>
                <a:gd name="T78" fmla="*/ 555 w 1443"/>
                <a:gd name="T79" fmla="*/ 1490 h 1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443" h="1490">
                  <a:moveTo>
                    <a:pt x="555" y="1490"/>
                  </a:moveTo>
                  <a:lnTo>
                    <a:pt x="555" y="1490"/>
                  </a:lnTo>
                  <a:lnTo>
                    <a:pt x="519" y="1462"/>
                  </a:lnTo>
                  <a:lnTo>
                    <a:pt x="483" y="1436"/>
                  </a:lnTo>
                  <a:lnTo>
                    <a:pt x="447" y="1410"/>
                  </a:lnTo>
                  <a:lnTo>
                    <a:pt x="411" y="1385"/>
                  </a:lnTo>
                  <a:lnTo>
                    <a:pt x="376" y="1361"/>
                  </a:lnTo>
                  <a:lnTo>
                    <a:pt x="340" y="1338"/>
                  </a:lnTo>
                  <a:lnTo>
                    <a:pt x="304" y="1316"/>
                  </a:lnTo>
                  <a:lnTo>
                    <a:pt x="269" y="1295"/>
                  </a:lnTo>
                  <a:lnTo>
                    <a:pt x="235" y="1276"/>
                  </a:lnTo>
                  <a:lnTo>
                    <a:pt x="200" y="1257"/>
                  </a:lnTo>
                  <a:lnTo>
                    <a:pt x="165" y="1239"/>
                  </a:lnTo>
                  <a:lnTo>
                    <a:pt x="132" y="1224"/>
                  </a:lnTo>
                  <a:lnTo>
                    <a:pt x="97" y="1208"/>
                  </a:lnTo>
                  <a:lnTo>
                    <a:pt x="64" y="1193"/>
                  </a:lnTo>
                  <a:lnTo>
                    <a:pt x="32" y="1180"/>
                  </a:lnTo>
                  <a:lnTo>
                    <a:pt x="0" y="1167"/>
                  </a:lnTo>
                  <a:lnTo>
                    <a:pt x="0" y="1167"/>
                  </a:lnTo>
                  <a:lnTo>
                    <a:pt x="639" y="0"/>
                  </a:lnTo>
                  <a:lnTo>
                    <a:pt x="639" y="0"/>
                  </a:lnTo>
                  <a:lnTo>
                    <a:pt x="683" y="11"/>
                  </a:lnTo>
                  <a:lnTo>
                    <a:pt x="728" y="23"/>
                  </a:lnTo>
                  <a:lnTo>
                    <a:pt x="775" y="38"/>
                  </a:lnTo>
                  <a:lnTo>
                    <a:pt x="823" y="54"/>
                  </a:lnTo>
                  <a:lnTo>
                    <a:pt x="872" y="73"/>
                  </a:lnTo>
                  <a:lnTo>
                    <a:pt x="921" y="94"/>
                  </a:lnTo>
                  <a:lnTo>
                    <a:pt x="971" y="117"/>
                  </a:lnTo>
                  <a:lnTo>
                    <a:pt x="1022" y="142"/>
                  </a:lnTo>
                  <a:lnTo>
                    <a:pt x="1073" y="168"/>
                  </a:lnTo>
                  <a:lnTo>
                    <a:pt x="1125" y="197"/>
                  </a:lnTo>
                  <a:lnTo>
                    <a:pt x="1177" y="227"/>
                  </a:lnTo>
                  <a:lnTo>
                    <a:pt x="1230" y="260"/>
                  </a:lnTo>
                  <a:lnTo>
                    <a:pt x="1283" y="294"/>
                  </a:lnTo>
                  <a:lnTo>
                    <a:pt x="1336" y="331"/>
                  </a:lnTo>
                  <a:lnTo>
                    <a:pt x="1389" y="368"/>
                  </a:lnTo>
                  <a:lnTo>
                    <a:pt x="1443" y="408"/>
                  </a:lnTo>
                  <a:lnTo>
                    <a:pt x="1443" y="408"/>
                  </a:lnTo>
                  <a:lnTo>
                    <a:pt x="555" y="1490"/>
                  </a:lnTo>
                  <a:lnTo>
                    <a:pt x="555" y="149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2" name="Freeform 112"/>
            <p:cNvSpPr>
              <a:spLocks/>
            </p:cNvSpPr>
            <p:nvPr/>
          </p:nvSpPr>
          <p:spPr bwMode="auto">
            <a:xfrm flipH="1">
              <a:off x="3453341" y="4174037"/>
              <a:ext cx="10321" cy="16769"/>
            </a:xfrm>
            <a:custGeom>
              <a:avLst/>
              <a:gdLst>
                <a:gd name="T0" fmla="*/ 51 w 53"/>
                <a:gd name="T1" fmla="*/ 120 h 121"/>
                <a:gd name="T2" fmla="*/ 49 w 53"/>
                <a:gd name="T3" fmla="*/ 121 h 121"/>
                <a:gd name="T4" fmla="*/ 49 w 53"/>
                <a:gd name="T5" fmla="*/ 121 h 121"/>
                <a:gd name="T6" fmla="*/ 25 w 53"/>
                <a:gd name="T7" fmla="*/ 61 h 121"/>
                <a:gd name="T8" fmla="*/ 0 w 53"/>
                <a:gd name="T9" fmla="*/ 2 h 121"/>
                <a:gd name="T10" fmla="*/ 4 w 53"/>
                <a:gd name="T11" fmla="*/ 0 h 121"/>
                <a:gd name="T12" fmla="*/ 4 w 53"/>
                <a:gd name="T13" fmla="*/ 0 h 121"/>
                <a:gd name="T14" fmla="*/ 17 w 53"/>
                <a:gd name="T15" fmla="*/ 29 h 121"/>
                <a:gd name="T16" fmla="*/ 29 w 53"/>
                <a:gd name="T17" fmla="*/ 58 h 121"/>
                <a:gd name="T18" fmla="*/ 53 w 53"/>
                <a:gd name="T19" fmla="*/ 120 h 121"/>
                <a:gd name="T20" fmla="*/ 49 w 53"/>
                <a:gd name="T21" fmla="*/ 121 h 121"/>
                <a:gd name="T22" fmla="*/ 51 w 53"/>
                <a:gd name="T23" fmla="*/ 120 h 121"/>
                <a:gd name="T24" fmla="*/ 49 w 53"/>
                <a:gd name="T25" fmla="*/ 121 h 121"/>
                <a:gd name="T26" fmla="*/ 49 w 53"/>
                <a:gd name="T27" fmla="*/ 121 h 121"/>
                <a:gd name="T28" fmla="*/ 25 w 53"/>
                <a:gd name="T29" fmla="*/ 60 h 121"/>
                <a:gd name="T30" fmla="*/ 13 w 53"/>
                <a:gd name="T31" fmla="*/ 30 h 121"/>
                <a:gd name="T32" fmla="*/ 0 w 53"/>
                <a:gd name="T33" fmla="*/ 2 h 121"/>
                <a:gd name="T34" fmla="*/ 2 w 53"/>
                <a:gd name="T35" fmla="*/ 1 h 121"/>
                <a:gd name="T36" fmla="*/ 4 w 53"/>
                <a:gd name="T37" fmla="*/ 0 h 121"/>
                <a:gd name="T38" fmla="*/ 4 w 53"/>
                <a:gd name="T39" fmla="*/ 0 h 121"/>
                <a:gd name="T40" fmla="*/ 29 w 53"/>
                <a:gd name="T41" fmla="*/ 60 h 121"/>
                <a:gd name="T42" fmla="*/ 52 w 53"/>
                <a:gd name="T43" fmla="*/ 120 h 121"/>
                <a:gd name="T44" fmla="*/ 51 w 53"/>
                <a:gd name="T45" fmla="*/ 120 h 121"/>
                <a:gd name="T46" fmla="*/ 49 w 53"/>
                <a:gd name="T47" fmla="*/ 121 h 121"/>
                <a:gd name="T48" fmla="*/ 51 w 53"/>
                <a:gd name="T49" fmla="*/ 12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3" h="121">
                  <a:moveTo>
                    <a:pt x="51" y="120"/>
                  </a:moveTo>
                  <a:lnTo>
                    <a:pt x="49" y="121"/>
                  </a:lnTo>
                  <a:lnTo>
                    <a:pt x="49" y="121"/>
                  </a:lnTo>
                  <a:lnTo>
                    <a:pt x="25" y="61"/>
                  </a:lnTo>
                  <a:lnTo>
                    <a:pt x="0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17" y="29"/>
                  </a:lnTo>
                  <a:lnTo>
                    <a:pt x="29" y="58"/>
                  </a:lnTo>
                  <a:lnTo>
                    <a:pt x="53" y="120"/>
                  </a:lnTo>
                  <a:lnTo>
                    <a:pt x="49" y="121"/>
                  </a:lnTo>
                  <a:lnTo>
                    <a:pt x="51" y="120"/>
                  </a:lnTo>
                  <a:lnTo>
                    <a:pt x="49" y="121"/>
                  </a:lnTo>
                  <a:lnTo>
                    <a:pt x="49" y="121"/>
                  </a:lnTo>
                  <a:lnTo>
                    <a:pt x="25" y="60"/>
                  </a:lnTo>
                  <a:lnTo>
                    <a:pt x="13" y="30"/>
                  </a:lnTo>
                  <a:lnTo>
                    <a:pt x="0" y="2"/>
                  </a:lnTo>
                  <a:lnTo>
                    <a:pt x="2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29" y="60"/>
                  </a:lnTo>
                  <a:lnTo>
                    <a:pt x="52" y="120"/>
                  </a:lnTo>
                  <a:lnTo>
                    <a:pt x="51" y="120"/>
                  </a:lnTo>
                  <a:lnTo>
                    <a:pt x="49" y="121"/>
                  </a:lnTo>
                  <a:lnTo>
                    <a:pt x="51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3" name="Freeform 113"/>
            <p:cNvSpPr>
              <a:spLocks/>
            </p:cNvSpPr>
            <p:nvPr/>
          </p:nvSpPr>
          <p:spPr bwMode="auto">
            <a:xfrm flipH="1">
              <a:off x="3433990" y="4241113"/>
              <a:ext cx="0" cy="1290"/>
            </a:xfrm>
            <a:custGeom>
              <a:avLst/>
              <a:gdLst>
                <a:gd name="T0" fmla="*/ 2 w 4"/>
                <a:gd name="T1" fmla="*/ 1 h 6"/>
                <a:gd name="T2" fmla="*/ 4 w 4"/>
                <a:gd name="T3" fmla="*/ 2 h 6"/>
                <a:gd name="T4" fmla="*/ 4 w 4"/>
                <a:gd name="T5" fmla="*/ 2 h 6"/>
                <a:gd name="T6" fmla="*/ 2 w 4"/>
                <a:gd name="T7" fmla="*/ 6 h 6"/>
                <a:gd name="T8" fmla="*/ 0 w 4"/>
                <a:gd name="T9" fmla="*/ 1 h 6"/>
                <a:gd name="T10" fmla="*/ 4 w 4"/>
                <a:gd name="T11" fmla="*/ 0 h 6"/>
                <a:gd name="T12" fmla="*/ 4 w 4"/>
                <a:gd name="T13" fmla="*/ 1 h 6"/>
                <a:gd name="T14" fmla="*/ 4 w 4"/>
                <a:gd name="T15" fmla="*/ 1 h 6"/>
                <a:gd name="T16" fmla="*/ 4 w 4"/>
                <a:gd name="T17" fmla="*/ 2 h 6"/>
                <a:gd name="T18" fmla="*/ 2 w 4"/>
                <a:gd name="T19" fmla="*/ 1 h 6"/>
                <a:gd name="T20" fmla="*/ 1 w 4"/>
                <a:gd name="T21" fmla="*/ 2 h 6"/>
                <a:gd name="T22" fmla="*/ 1 w 4"/>
                <a:gd name="T23" fmla="*/ 2 h 6"/>
                <a:gd name="T24" fmla="*/ 2 w 4"/>
                <a:gd name="T25" fmla="*/ 1 h 6"/>
                <a:gd name="T26" fmla="*/ 4 w 4"/>
                <a:gd name="T27" fmla="*/ 0 h 6"/>
                <a:gd name="T28" fmla="*/ 4 w 4"/>
                <a:gd name="T29" fmla="*/ 1 h 6"/>
                <a:gd name="T30" fmla="*/ 2 w 4"/>
                <a:gd name="T31" fmla="*/ 1 h 6"/>
                <a:gd name="T32" fmla="*/ 1 w 4"/>
                <a:gd name="T33" fmla="*/ 1 h 6"/>
                <a:gd name="T34" fmla="*/ 1 w 4"/>
                <a:gd name="T35" fmla="*/ 1 h 6"/>
                <a:gd name="T36" fmla="*/ 2 w 4"/>
                <a:gd name="T37" fmla="*/ 1 h 6"/>
                <a:gd name="T38" fmla="*/ 1 w 4"/>
                <a:gd name="T39" fmla="*/ 2 h 6"/>
                <a:gd name="T40" fmla="*/ 2 w 4"/>
                <a:gd name="T4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6">
                  <a:moveTo>
                    <a:pt x="2" y="1"/>
                  </a:moveTo>
                  <a:lnTo>
                    <a:pt x="4" y="2"/>
                  </a:lnTo>
                  <a:lnTo>
                    <a:pt x="4" y="2"/>
                  </a:lnTo>
                  <a:lnTo>
                    <a:pt x="2" y="6"/>
                  </a:lnTo>
                  <a:lnTo>
                    <a:pt x="0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2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1" y="2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4" name="Freeform 114"/>
            <p:cNvSpPr>
              <a:spLocks/>
            </p:cNvSpPr>
            <p:nvPr/>
          </p:nvSpPr>
          <p:spPr bwMode="auto">
            <a:xfrm flipH="1">
              <a:off x="4700857" y="4659046"/>
              <a:ext cx="238667" cy="187038"/>
            </a:xfrm>
            <a:custGeom>
              <a:avLst/>
              <a:gdLst>
                <a:gd name="T0" fmla="*/ 300 w 1291"/>
                <a:gd name="T1" fmla="*/ 166 h 1310"/>
                <a:gd name="T2" fmla="*/ 251 w 1291"/>
                <a:gd name="T3" fmla="*/ 254 h 1310"/>
                <a:gd name="T4" fmla="*/ 223 w 1291"/>
                <a:gd name="T5" fmla="*/ 330 h 1310"/>
                <a:gd name="T6" fmla="*/ 218 w 1291"/>
                <a:gd name="T7" fmla="*/ 399 h 1310"/>
                <a:gd name="T8" fmla="*/ 235 w 1291"/>
                <a:gd name="T9" fmla="*/ 458 h 1310"/>
                <a:gd name="T10" fmla="*/ 270 w 1291"/>
                <a:gd name="T11" fmla="*/ 507 h 1310"/>
                <a:gd name="T12" fmla="*/ 323 w 1291"/>
                <a:gd name="T13" fmla="*/ 545 h 1310"/>
                <a:gd name="T14" fmla="*/ 343 w 1291"/>
                <a:gd name="T15" fmla="*/ 553 h 1310"/>
                <a:gd name="T16" fmla="*/ 373 w 1291"/>
                <a:gd name="T17" fmla="*/ 556 h 1310"/>
                <a:gd name="T18" fmla="*/ 404 w 1291"/>
                <a:gd name="T19" fmla="*/ 549 h 1310"/>
                <a:gd name="T20" fmla="*/ 434 w 1291"/>
                <a:gd name="T21" fmla="*/ 535 h 1310"/>
                <a:gd name="T22" fmla="*/ 484 w 1291"/>
                <a:gd name="T23" fmla="*/ 497 h 1310"/>
                <a:gd name="T24" fmla="*/ 544 w 1291"/>
                <a:gd name="T25" fmla="*/ 436 h 1310"/>
                <a:gd name="T26" fmla="*/ 635 w 1291"/>
                <a:gd name="T27" fmla="*/ 326 h 1310"/>
                <a:gd name="T28" fmla="*/ 726 w 1291"/>
                <a:gd name="T29" fmla="*/ 217 h 1310"/>
                <a:gd name="T30" fmla="*/ 866 w 1291"/>
                <a:gd name="T31" fmla="*/ 336 h 1310"/>
                <a:gd name="T32" fmla="*/ 958 w 1291"/>
                <a:gd name="T33" fmla="*/ 429 h 1310"/>
                <a:gd name="T34" fmla="*/ 1083 w 1291"/>
                <a:gd name="T35" fmla="*/ 577 h 1310"/>
                <a:gd name="T36" fmla="*/ 1180 w 1291"/>
                <a:gd name="T37" fmla="*/ 725 h 1310"/>
                <a:gd name="T38" fmla="*/ 1229 w 1291"/>
                <a:gd name="T39" fmla="*/ 820 h 1310"/>
                <a:gd name="T40" fmla="*/ 1257 w 1291"/>
                <a:gd name="T41" fmla="*/ 888 h 1310"/>
                <a:gd name="T42" fmla="*/ 1277 w 1291"/>
                <a:gd name="T43" fmla="*/ 952 h 1310"/>
                <a:gd name="T44" fmla="*/ 1288 w 1291"/>
                <a:gd name="T45" fmla="*/ 1013 h 1310"/>
                <a:gd name="T46" fmla="*/ 1291 w 1291"/>
                <a:gd name="T47" fmla="*/ 1068 h 1310"/>
                <a:gd name="T48" fmla="*/ 1288 w 1291"/>
                <a:gd name="T49" fmla="*/ 1102 h 1310"/>
                <a:gd name="T50" fmla="*/ 1021 w 1291"/>
                <a:gd name="T51" fmla="*/ 1226 h 1310"/>
                <a:gd name="T52" fmla="*/ 975 w 1291"/>
                <a:gd name="T53" fmla="*/ 1251 h 1310"/>
                <a:gd name="T54" fmla="*/ 902 w 1291"/>
                <a:gd name="T55" fmla="*/ 1282 h 1310"/>
                <a:gd name="T56" fmla="*/ 826 w 1291"/>
                <a:gd name="T57" fmla="*/ 1300 h 1310"/>
                <a:gd name="T58" fmla="*/ 748 w 1291"/>
                <a:gd name="T59" fmla="*/ 1310 h 1310"/>
                <a:gd name="T60" fmla="*/ 668 w 1291"/>
                <a:gd name="T61" fmla="*/ 1309 h 1310"/>
                <a:gd name="T62" fmla="*/ 588 w 1291"/>
                <a:gd name="T63" fmla="*/ 1297 h 1310"/>
                <a:gd name="T64" fmla="*/ 508 w 1291"/>
                <a:gd name="T65" fmla="*/ 1276 h 1310"/>
                <a:gd name="T66" fmla="*/ 430 w 1291"/>
                <a:gd name="T67" fmla="*/ 1246 h 1310"/>
                <a:gd name="T68" fmla="*/ 354 w 1291"/>
                <a:gd name="T69" fmla="*/ 1206 h 1310"/>
                <a:gd name="T70" fmla="*/ 283 w 1291"/>
                <a:gd name="T71" fmla="*/ 1154 h 1310"/>
                <a:gd name="T72" fmla="*/ 215 w 1291"/>
                <a:gd name="T73" fmla="*/ 1095 h 1310"/>
                <a:gd name="T74" fmla="*/ 177 w 1291"/>
                <a:gd name="T75" fmla="*/ 1053 h 1310"/>
                <a:gd name="T76" fmla="*/ 127 w 1291"/>
                <a:gd name="T77" fmla="*/ 988 h 1310"/>
                <a:gd name="T78" fmla="*/ 84 w 1291"/>
                <a:gd name="T79" fmla="*/ 919 h 1310"/>
                <a:gd name="T80" fmla="*/ 51 w 1291"/>
                <a:gd name="T81" fmla="*/ 847 h 1310"/>
                <a:gd name="T82" fmla="*/ 25 w 1291"/>
                <a:gd name="T83" fmla="*/ 773 h 1310"/>
                <a:gd name="T84" fmla="*/ 9 w 1291"/>
                <a:gd name="T85" fmla="*/ 698 h 1310"/>
                <a:gd name="T86" fmla="*/ 1 w 1291"/>
                <a:gd name="T87" fmla="*/ 623 h 1310"/>
                <a:gd name="T88" fmla="*/ 2 w 1291"/>
                <a:gd name="T89" fmla="*/ 548 h 1310"/>
                <a:gd name="T90" fmla="*/ 11 w 1291"/>
                <a:gd name="T91" fmla="*/ 475 h 1310"/>
                <a:gd name="T92" fmla="*/ 30 w 1291"/>
                <a:gd name="T93" fmla="*/ 404 h 1310"/>
                <a:gd name="T94" fmla="*/ 57 w 1291"/>
                <a:gd name="T95" fmla="*/ 337 h 1310"/>
                <a:gd name="T96" fmla="*/ 213 w 1291"/>
                <a:gd name="T97" fmla="*/ 1 h 1310"/>
                <a:gd name="T98" fmla="*/ 250 w 1291"/>
                <a:gd name="T99" fmla="*/ 1 h 1310"/>
                <a:gd name="T100" fmla="*/ 312 w 1291"/>
                <a:gd name="T101" fmla="*/ 8 h 1310"/>
                <a:gd name="T102" fmla="*/ 378 w 1291"/>
                <a:gd name="T103" fmla="*/ 25 h 1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91" h="1310">
                  <a:moveTo>
                    <a:pt x="378" y="25"/>
                  </a:moveTo>
                  <a:lnTo>
                    <a:pt x="378" y="25"/>
                  </a:lnTo>
                  <a:lnTo>
                    <a:pt x="300" y="166"/>
                  </a:lnTo>
                  <a:lnTo>
                    <a:pt x="266" y="227"/>
                  </a:lnTo>
                  <a:lnTo>
                    <a:pt x="266" y="227"/>
                  </a:lnTo>
                  <a:lnTo>
                    <a:pt x="251" y="254"/>
                  </a:lnTo>
                  <a:lnTo>
                    <a:pt x="239" y="280"/>
                  </a:lnTo>
                  <a:lnTo>
                    <a:pt x="230" y="305"/>
                  </a:lnTo>
                  <a:lnTo>
                    <a:pt x="223" y="330"/>
                  </a:lnTo>
                  <a:lnTo>
                    <a:pt x="219" y="354"/>
                  </a:lnTo>
                  <a:lnTo>
                    <a:pt x="217" y="377"/>
                  </a:lnTo>
                  <a:lnTo>
                    <a:pt x="218" y="399"/>
                  </a:lnTo>
                  <a:lnTo>
                    <a:pt x="221" y="420"/>
                  </a:lnTo>
                  <a:lnTo>
                    <a:pt x="227" y="440"/>
                  </a:lnTo>
                  <a:lnTo>
                    <a:pt x="235" y="458"/>
                  </a:lnTo>
                  <a:lnTo>
                    <a:pt x="244" y="476"/>
                  </a:lnTo>
                  <a:lnTo>
                    <a:pt x="257" y="493"/>
                  </a:lnTo>
                  <a:lnTo>
                    <a:pt x="270" y="507"/>
                  </a:lnTo>
                  <a:lnTo>
                    <a:pt x="286" y="521"/>
                  </a:lnTo>
                  <a:lnTo>
                    <a:pt x="303" y="535"/>
                  </a:lnTo>
                  <a:lnTo>
                    <a:pt x="323" y="545"/>
                  </a:lnTo>
                  <a:lnTo>
                    <a:pt x="323" y="545"/>
                  </a:lnTo>
                  <a:lnTo>
                    <a:pt x="333" y="550"/>
                  </a:lnTo>
                  <a:lnTo>
                    <a:pt x="343" y="553"/>
                  </a:lnTo>
                  <a:lnTo>
                    <a:pt x="353" y="555"/>
                  </a:lnTo>
                  <a:lnTo>
                    <a:pt x="364" y="556"/>
                  </a:lnTo>
                  <a:lnTo>
                    <a:pt x="373" y="556"/>
                  </a:lnTo>
                  <a:lnTo>
                    <a:pt x="384" y="555"/>
                  </a:lnTo>
                  <a:lnTo>
                    <a:pt x="394" y="553"/>
                  </a:lnTo>
                  <a:lnTo>
                    <a:pt x="404" y="549"/>
                  </a:lnTo>
                  <a:lnTo>
                    <a:pt x="415" y="546"/>
                  </a:lnTo>
                  <a:lnTo>
                    <a:pt x="424" y="541"/>
                  </a:lnTo>
                  <a:lnTo>
                    <a:pt x="434" y="535"/>
                  </a:lnTo>
                  <a:lnTo>
                    <a:pt x="445" y="528"/>
                  </a:lnTo>
                  <a:lnTo>
                    <a:pt x="465" y="514"/>
                  </a:lnTo>
                  <a:lnTo>
                    <a:pt x="484" y="497"/>
                  </a:lnTo>
                  <a:lnTo>
                    <a:pt x="504" y="477"/>
                  </a:lnTo>
                  <a:lnTo>
                    <a:pt x="524" y="456"/>
                  </a:lnTo>
                  <a:lnTo>
                    <a:pt x="544" y="436"/>
                  </a:lnTo>
                  <a:lnTo>
                    <a:pt x="562" y="413"/>
                  </a:lnTo>
                  <a:lnTo>
                    <a:pt x="600" y="368"/>
                  </a:lnTo>
                  <a:lnTo>
                    <a:pt x="635" y="326"/>
                  </a:lnTo>
                  <a:lnTo>
                    <a:pt x="635" y="326"/>
                  </a:lnTo>
                  <a:lnTo>
                    <a:pt x="726" y="217"/>
                  </a:lnTo>
                  <a:lnTo>
                    <a:pt x="726" y="217"/>
                  </a:lnTo>
                  <a:lnTo>
                    <a:pt x="772" y="254"/>
                  </a:lnTo>
                  <a:lnTo>
                    <a:pt x="819" y="294"/>
                  </a:lnTo>
                  <a:lnTo>
                    <a:pt x="866" y="336"/>
                  </a:lnTo>
                  <a:lnTo>
                    <a:pt x="912" y="380"/>
                  </a:lnTo>
                  <a:lnTo>
                    <a:pt x="912" y="380"/>
                  </a:lnTo>
                  <a:lnTo>
                    <a:pt x="958" y="429"/>
                  </a:lnTo>
                  <a:lnTo>
                    <a:pt x="1003" y="478"/>
                  </a:lnTo>
                  <a:lnTo>
                    <a:pt x="1045" y="527"/>
                  </a:lnTo>
                  <a:lnTo>
                    <a:pt x="1083" y="577"/>
                  </a:lnTo>
                  <a:lnTo>
                    <a:pt x="1119" y="627"/>
                  </a:lnTo>
                  <a:lnTo>
                    <a:pt x="1151" y="676"/>
                  </a:lnTo>
                  <a:lnTo>
                    <a:pt x="1180" y="725"/>
                  </a:lnTo>
                  <a:lnTo>
                    <a:pt x="1206" y="773"/>
                  </a:lnTo>
                  <a:lnTo>
                    <a:pt x="1218" y="796"/>
                  </a:lnTo>
                  <a:lnTo>
                    <a:pt x="1229" y="820"/>
                  </a:lnTo>
                  <a:lnTo>
                    <a:pt x="1239" y="843"/>
                  </a:lnTo>
                  <a:lnTo>
                    <a:pt x="1249" y="865"/>
                  </a:lnTo>
                  <a:lnTo>
                    <a:pt x="1257" y="888"/>
                  </a:lnTo>
                  <a:lnTo>
                    <a:pt x="1264" y="910"/>
                  </a:lnTo>
                  <a:lnTo>
                    <a:pt x="1270" y="932"/>
                  </a:lnTo>
                  <a:lnTo>
                    <a:pt x="1277" y="952"/>
                  </a:lnTo>
                  <a:lnTo>
                    <a:pt x="1281" y="973"/>
                  </a:lnTo>
                  <a:lnTo>
                    <a:pt x="1285" y="993"/>
                  </a:lnTo>
                  <a:lnTo>
                    <a:pt x="1288" y="1013"/>
                  </a:lnTo>
                  <a:lnTo>
                    <a:pt x="1290" y="1032"/>
                  </a:lnTo>
                  <a:lnTo>
                    <a:pt x="1291" y="1050"/>
                  </a:lnTo>
                  <a:lnTo>
                    <a:pt x="1291" y="1068"/>
                  </a:lnTo>
                  <a:lnTo>
                    <a:pt x="1290" y="1086"/>
                  </a:lnTo>
                  <a:lnTo>
                    <a:pt x="1288" y="1102"/>
                  </a:lnTo>
                  <a:lnTo>
                    <a:pt x="1288" y="1102"/>
                  </a:lnTo>
                  <a:lnTo>
                    <a:pt x="1123" y="1180"/>
                  </a:lnTo>
                  <a:lnTo>
                    <a:pt x="1021" y="1226"/>
                  </a:lnTo>
                  <a:lnTo>
                    <a:pt x="1021" y="1226"/>
                  </a:lnTo>
                  <a:lnTo>
                    <a:pt x="1021" y="1226"/>
                  </a:lnTo>
                  <a:lnTo>
                    <a:pt x="998" y="1240"/>
                  </a:lnTo>
                  <a:lnTo>
                    <a:pt x="975" y="1251"/>
                  </a:lnTo>
                  <a:lnTo>
                    <a:pt x="951" y="1263"/>
                  </a:lnTo>
                  <a:lnTo>
                    <a:pt x="927" y="1272"/>
                  </a:lnTo>
                  <a:lnTo>
                    <a:pt x="902" y="1282"/>
                  </a:lnTo>
                  <a:lnTo>
                    <a:pt x="877" y="1289"/>
                  </a:lnTo>
                  <a:lnTo>
                    <a:pt x="852" y="1295"/>
                  </a:lnTo>
                  <a:lnTo>
                    <a:pt x="826" y="1300"/>
                  </a:lnTo>
                  <a:lnTo>
                    <a:pt x="800" y="1305"/>
                  </a:lnTo>
                  <a:lnTo>
                    <a:pt x="774" y="1308"/>
                  </a:lnTo>
                  <a:lnTo>
                    <a:pt x="748" y="1310"/>
                  </a:lnTo>
                  <a:lnTo>
                    <a:pt x="721" y="1310"/>
                  </a:lnTo>
                  <a:lnTo>
                    <a:pt x="695" y="1310"/>
                  </a:lnTo>
                  <a:lnTo>
                    <a:pt x="668" y="1309"/>
                  </a:lnTo>
                  <a:lnTo>
                    <a:pt x="641" y="1306"/>
                  </a:lnTo>
                  <a:lnTo>
                    <a:pt x="615" y="1302"/>
                  </a:lnTo>
                  <a:lnTo>
                    <a:pt x="588" y="1297"/>
                  </a:lnTo>
                  <a:lnTo>
                    <a:pt x="561" y="1292"/>
                  </a:lnTo>
                  <a:lnTo>
                    <a:pt x="535" y="1285"/>
                  </a:lnTo>
                  <a:lnTo>
                    <a:pt x="508" y="1276"/>
                  </a:lnTo>
                  <a:lnTo>
                    <a:pt x="482" y="1267"/>
                  </a:lnTo>
                  <a:lnTo>
                    <a:pt x="456" y="1258"/>
                  </a:lnTo>
                  <a:lnTo>
                    <a:pt x="430" y="1246"/>
                  </a:lnTo>
                  <a:lnTo>
                    <a:pt x="404" y="1234"/>
                  </a:lnTo>
                  <a:lnTo>
                    <a:pt x="379" y="1220"/>
                  </a:lnTo>
                  <a:lnTo>
                    <a:pt x="354" y="1206"/>
                  </a:lnTo>
                  <a:lnTo>
                    <a:pt x="331" y="1190"/>
                  </a:lnTo>
                  <a:lnTo>
                    <a:pt x="307" y="1173"/>
                  </a:lnTo>
                  <a:lnTo>
                    <a:pt x="283" y="1154"/>
                  </a:lnTo>
                  <a:lnTo>
                    <a:pt x="260" y="1136"/>
                  </a:lnTo>
                  <a:lnTo>
                    <a:pt x="237" y="1116"/>
                  </a:lnTo>
                  <a:lnTo>
                    <a:pt x="215" y="1095"/>
                  </a:lnTo>
                  <a:lnTo>
                    <a:pt x="215" y="1095"/>
                  </a:lnTo>
                  <a:lnTo>
                    <a:pt x="195" y="1074"/>
                  </a:lnTo>
                  <a:lnTo>
                    <a:pt x="177" y="1053"/>
                  </a:lnTo>
                  <a:lnTo>
                    <a:pt x="159" y="1032"/>
                  </a:lnTo>
                  <a:lnTo>
                    <a:pt x="142" y="1010"/>
                  </a:lnTo>
                  <a:lnTo>
                    <a:pt x="127" y="988"/>
                  </a:lnTo>
                  <a:lnTo>
                    <a:pt x="111" y="965"/>
                  </a:lnTo>
                  <a:lnTo>
                    <a:pt x="98" y="942"/>
                  </a:lnTo>
                  <a:lnTo>
                    <a:pt x="84" y="919"/>
                  </a:lnTo>
                  <a:lnTo>
                    <a:pt x="72" y="895"/>
                  </a:lnTo>
                  <a:lnTo>
                    <a:pt x="60" y="871"/>
                  </a:lnTo>
                  <a:lnTo>
                    <a:pt x="51" y="847"/>
                  </a:lnTo>
                  <a:lnTo>
                    <a:pt x="41" y="822"/>
                  </a:lnTo>
                  <a:lnTo>
                    <a:pt x="33" y="798"/>
                  </a:lnTo>
                  <a:lnTo>
                    <a:pt x="25" y="773"/>
                  </a:lnTo>
                  <a:lnTo>
                    <a:pt x="19" y="748"/>
                  </a:lnTo>
                  <a:lnTo>
                    <a:pt x="13" y="723"/>
                  </a:lnTo>
                  <a:lnTo>
                    <a:pt x="9" y="698"/>
                  </a:lnTo>
                  <a:lnTo>
                    <a:pt x="5" y="673"/>
                  </a:lnTo>
                  <a:lnTo>
                    <a:pt x="3" y="648"/>
                  </a:lnTo>
                  <a:lnTo>
                    <a:pt x="1" y="623"/>
                  </a:lnTo>
                  <a:lnTo>
                    <a:pt x="0" y="598"/>
                  </a:lnTo>
                  <a:lnTo>
                    <a:pt x="1" y="573"/>
                  </a:lnTo>
                  <a:lnTo>
                    <a:pt x="2" y="548"/>
                  </a:lnTo>
                  <a:lnTo>
                    <a:pt x="4" y="524"/>
                  </a:lnTo>
                  <a:lnTo>
                    <a:pt x="7" y="499"/>
                  </a:lnTo>
                  <a:lnTo>
                    <a:pt x="11" y="475"/>
                  </a:lnTo>
                  <a:lnTo>
                    <a:pt x="17" y="451"/>
                  </a:lnTo>
                  <a:lnTo>
                    <a:pt x="23" y="428"/>
                  </a:lnTo>
                  <a:lnTo>
                    <a:pt x="30" y="404"/>
                  </a:lnTo>
                  <a:lnTo>
                    <a:pt x="38" y="381"/>
                  </a:lnTo>
                  <a:lnTo>
                    <a:pt x="47" y="359"/>
                  </a:lnTo>
                  <a:lnTo>
                    <a:pt x="57" y="337"/>
                  </a:lnTo>
                  <a:lnTo>
                    <a:pt x="57" y="337"/>
                  </a:lnTo>
                  <a:lnTo>
                    <a:pt x="115" y="212"/>
                  </a:lnTo>
                  <a:lnTo>
                    <a:pt x="213" y="1"/>
                  </a:lnTo>
                  <a:lnTo>
                    <a:pt x="213" y="1"/>
                  </a:lnTo>
                  <a:lnTo>
                    <a:pt x="231" y="0"/>
                  </a:lnTo>
                  <a:lnTo>
                    <a:pt x="250" y="1"/>
                  </a:lnTo>
                  <a:lnTo>
                    <a:pt x="270" y="2"/>
                  </a:lnTo>
                  <a:lnTo>
                    <a:pt x="291" y="4"/>
                  </a:lnTo>
                  <a:lnTo>
                    <a:pt x="312" y="8"/>
                  </a:lnTo>
                  <a:lnTo>
                    <a:pt x="334" y="13"/>
                  </a:lnTo>
                  <a:lnTo>
                    <a:pt x="355" y="19"/>
                  </a:lnTo>
                  <a:lnTo>
                    <a:pt x="378" y="25"/>
                  </a:lnTo>
                  <a:lnTo>
                    <a:pt x="378" y="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5" name="Freeform 115"/>
            <p:cNvSpPr>
              <a:spLocks/>
            </p:cNvSpPr>
            <p:nvPr/>
          </p:nvSpPr>
          <p:spPr bwMode="auto">
            <a:xfrm flipH="1">
              <a:off x="4805355" y="4662915"/>
              <a:ext cx="94177" cy="76106"/>
            </a:xfrm>
            <a:custGeom>
              <a:avLst/>
              <a:gdLst>
                <a:gd name="T0" fmla="*/ 106 w 509"/>
                <a:gd name="T1" fmla="*/ 520 h 531"/>
                <a:gd name="T2" fmla="*/ 106 w 509"/>
                <a:gd name="T3" fmla="*/ 520 h 531"/>
                <a:gd name="T4" fmla="*/ 86 w 509"/>
                <a:gd name="T5" fmla="*/ 510 h 531"/>
                <a:gd name="T6" fmla="*/ 69 w 509"/>
                <a:gd name="T7" fmla="*/ 496 h 531"/>
                <a:gd name="T8" fmla="*/ 53 w 509"/>
                <a:gd name="T9" fmla="*/ 482 h 531"/>
                <a:gd name="T10" fmla="*/ 40 w 509"/>
                <a:gd name="T11" fmla="*/ 468 h 531"/>
                <a:gd name="T12" fmla="*/ 27 w 509"/>
                <a:gd name="T13" fmla="*/ 451 h 531"/>
                <a:gd name="T14" fmla="*/ 18 w 509"/>
                <a:gd name="T15" fmla="*/ 433 h 531"/>
                <a:gd name="T16" fmla="*/ 10 w 509"/>
                <a:gd name="T17" fmla="*/ 415 h 531"/>
                <a:gd name="T18" fmla="*/ 4 w 509"/>
                <a:gd name="T19" fmla="*/ 395 h 531"/>
                <a:gd name="T20" fmla="*/ 1 w 509"/>
                <a:gd name="T21" fmla="*/ 374 h 531"/>
                <a:gd name="T22" fmla="*/ 0 w 509"/>
                <a:gd name="T23" fmla="*/ 352 h 531"/>
                <a:gd name="T24" fmla="*/ 2 w 509"/>
                <a:gd name="T25" fmla="*/ 329 h 531"/>
                <a:gd name="T26" fmla="*/ 6 w 509"/>
                <a:gd name="T27" fmla="*/ 305 h 531"/>
                <a:gd name="T28" fmla="*/ 13 w 509"/>
                <a:gd name="T29" fmla="*/ 280 h 531"/>
                <a:gd name="T30" fmla="*/ 22 w 509"/>
                <a:gd name="T31" fmla="*/ 255 h 531"/>
                <a:gd name="T32" fmla="*/ 34 w 509"/>
                <a:gd name="T33" fmla="*/ 229 h 531"/>
                <a:gd name="T34" fmla="*/ 49 w 509"/>
                <a:gd name="T35" fmla="*/ 202 h 531"/>
                <a:gd name="T36" fmla="*/ 49 w 509"/>
                <a:gd name="T37" fmla="*/ 202 h 531"/>
                <a:gd name="T38" fmla="*/ 83 w 509"/>
                <a:gd name="T39" fmla="*/ 141 h 531"/>
                <a:gd name="T40" fmla="*/ 161 w 509"/>
                <a:gd name="T41" fmla="*/ 0 h 531"/>
                <a:gd name="T42" fmla="*/ 161 w 509"/>
                <a:gd name="T43" fmla="*/ 0 h 531"/>
                <a:gd name="T44" fmla="*/ 202 w 509"/>
                <a:gd name="T45" fmla="*/ 15 h 531"/>
                <a:gd name="T46" fmla="*/ 243 w 509"/>
                <a:gd name="T47" fmla="*/ 31 h 531"/>
                <a:gd name="T48" fmla="*/ 286 w 509"/>
                <a:gd name="T49" fmla="*/ 51 h 531"/>
                <a:gd name="T50" fmla="*/ 329 w 509"/>
                <a:gd name="T51" fmla="*/ 74 h 531"/>
                <a:gd name="T52" fmla="*/ 373 w 509"/>
                <a:gd name="T53" fmla="*/ 100 h 531"/>
                <a:gd name="T54" fmla="*/ 418 w 509"/>
                <a:gd name="T55" fmla="*/ 128 h 531"/>
                <a:gd name="T56" fmla="*/ 463 w 509"/>
                <a:gd name="T57" fmla="*/ 158 h 531"/>
                <a:gd name="T58" fmla="*/ 509 w 509"/>
                <a:gd name="T59" fmla="*/ 192 h 531"/>
                <a:gd name="T60" fmla="*/ 509 w 509"/>
                <a:gd name="T61" fmla="*/ 192 h 531"/>
                <a:gd name="T62" fmla="*/ 418 w 509"/>
                <a:gd name="T63" fmla="*/ 301 h 531"/>
                <a:gd name="T64" fmla="*/ 418 w 509"/>
                <a:gd name="T65" fmla="*/ 301 h 531"/>
                <a:gd name="T66" fmla="*/ 383 w 509"/>
                <a:gd name="T67" fmla="*/ 343 h 531"/>
                <a:gd name="T68" fmla="*/ 345 w 509"/>
                <a:gd name="T69" fmla="*/ 388 h 531"/>
                <a:gd name="T70" fmla="*/ 327 w 509"/>
                <a:gd name="T71" fmla="*/ 411 h 531"/>
                <a:gd name="T72" fmla="*/ 307 w 509"/>
                <a:gd name="T73" fmla="*/ 431 h 531"/>
                <a:gd name="T74" fmla="*/ 287 w 509"/>
                <a:gd name="T75" fmla="*/ 452 h 531"/>
                <a:gd name="T76" fmla="*/ 267 w 509"/>
                <a:gd name="T77" fmla="*/ 472 h 531"/>
                <a:gd name="T78" fmla="*/ 248 w 509"/>
                <a:gd name="T79" fmla="*/ 489 h 531"/>
                <a:gd name="T80" fmla="*/ 228 w 509"/>
                <a:gd name="T81" fmla="*/ 503 h 531"/>
                <a:gd name="T82" fmla="*/ 217 w 509"/>
                <a:gd name="T83" fmla="*/ 510 h 531"/>
                <a:gd name="T84" fmla="*/ 207 w 509"/>
                <a:gd name="T85" fmla="*/ 516 h 531"/>
                <a:gd name="T86" fmla="*/ 198 w 509"/>
                <a:gd name="T87" fmla="*/ 521 h 531"/>
                <a:gd name="T88" fmla="*/ 187 w 509"/>
                <a:gd name="T89" fmla="*/ 524 h 531"/>
                <a:gd name="T90" fmla="*/ 177 w 509"/>
                <a:gd name="T91" fmla="*/ 528 h 531"/>
                <a:gd name="T92" fmla="*/ 167 w 509"/>
                <a:gd name="T93" fmla="*/ 530 h 531"/>
                <a:gd name="T94" fmla="*/ 156 w 509"/>
                <a:gd name="T95" fmla="*/ 531 h 531"/>
                <a:gd name="T96" fmla="*/ 147 w 509"/>
                <a:gd name="T97" fmla="*/ 531 h 531"/>
                <a:gd name="T98" fmla="*/ 136 w 509"/>
                <a:gd name="T99" fmla="*/ 530 h 531"/>
                <a:gd name="T100" fmla="*/ 126 w 509"/>
                <a:gd name="T101" fmla="*/ 528 h 531"/>
                <a:gd name="T102" fmla="*/ 116 w 509"/>
                <a:gd name="T103" fmla="*/ 525 h 531"/>
                <a:gd name="T104" fmla="*/ 106 w 509"/>
                <a:gd name="T105" fmla="*/ 520 h 531"/>
                <a:gd name="T106" fmla="*/ 106 w 509"/>
                <a:gd name="T107" fmla="*/ 52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09" h="531">
                  <a:moveTo>
                    <a:pt x="106" y="520"/>
                  </a:moveTo>
                  <a:lnTo>
                    <a:pt x="106" y="520"/>
                  </a:lnTo>
                  <a:lnTo>
                    <a:pt x="86" y="510"/>
                  </a:lnTo>
                  <a:lnTo>
                    <a:pt x="69" y="496"/>
                  </a:lnTo>
                  <a:lnTo>
                    <a:pt x="53" y="482"/>
                  </a:lnTo>
                  <a:lnTo>
                    <a:pt x="40" y="468"/>
                  </a:lnTo>
                  <a:lnTo>
                    <a:pt x="27" y="451"/>
                  </a:lnTo>
                  <a:lnTo>
                    <a:pt x="18" y="433"/>
                  </a:lnTo>
                  <a:lnTo>
                    <a:pt x="10" y="415"/>
                  </a:lnTo>
                  <a:lnTo>
                    <a:pt x="4" y="395"/>
                  </a:lnTo>
                  <a:lnTo>
                    <a:pt x="1" y="374"/>
                  </a:lnTo>
                  <a:lnTo>
                    <a:pt x="0" y="352"/>
                  </a:lnTo>
                  <a:lnTo>
                    <a:pt x="2" y="329"/>
                  </a:lnTo>
                  <a:lnTo>
                    <a:pt x="6" y="305"/>
                  </a:lnTo>
                  <a:lnTo>
                    <a:pt x="13" y="280"/>
                  </a:lnTo>
                  <a:lnTo>
                    <a:pt x="22" y="255"/>
                  </a:lnTo>
                  <a:lnTo>
                    <a:pt x="34" y="229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83" y="141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202" y="15"/>
                  </a:lnTo>
                  <a:lnTo>
                    <a:pt x="243" y="31"/>
                  </a:lnTo>
                  <a:lnTo>
                    <a:pt x="286" y="51"/>
                  </a:lnTo>
                  <a:lnTo>
                    <a:pt x="329" y="74"/>
                  </a:lnTo>
                  <a:lnTo>
                    <a:pt x="373" y="100"/>
                  </a:lnTo>
                  <a:lnTo>
                    <a:pt x="418" y="128"/>
                  </a:lnTo>
                  <a:lnTo>
                    <a:pt x="463" y="158"/>
                  </a:lnTo>
                  <a:lnTo>
                    <a:pt x="509" y="192"/>
                  </a:lnTo>
                  <a:lnTo>
                    <a:pt x="509" y="192"/>
                  </a:lnTo>
                  <a:lnTo>
                    <a:pt x="418" y="301"/>
                  </a:lnTo>
                  <a:lnTo>
                    <a:pt x="418" y="301"/>
                  </a:lnTo>
                  <a:lnTo>
                    <a:pt x="383" y="343"/>
                  </a:lnTo>
                  <a:lnTo>
                    <a:pt x="345" y="388"/>
                  </a:lnTo>
                  <a:lnTo>
                    <a:pt x="327" y="411"/>
                  </a:lnTo>
                  <a:lnTo>
                    <a:pt x="307" y="431"/>
                  </a:lnTo>
                  <a:lnTo>
                    <a:pt x="287" y="452"/>
                  </a:lnTo>
                  <a:lnTo>
                    <a:pt x="267" y="472"/>
                  </a:lnTo>
                  <a:lnTo>
                    <a:pt x="248" y="489"/>
                  </a:lnTo>
                  <a:lnTo>
                    <a:pt x="228" y="503"/>
                  </a:lnTo>
                  <a:lnTo>
                    <a:pt x="217" y="510"/>
                  </a:lnTo>
                  <a:lnTo>
                    <a:pt x="207" y="516"/>
                  </a:lnTo>
                  <a:lnTo>
                    <a:pt x="198" y="521"/>
                  </a:lnTo>
                  <a:lnTo>
                    <a:pt x="187" y="524"/>
                  </a:lnTo>
                  <a:lnTo>
                    <a:pt x="177" y="528"/>
                  </a:lnTo>
                  <a:lnTo>
                    <a:pt x="167" y="530"/>
                  </a:lnTo>
                  <a:lnTo>
                    <a:pt x="156" y="531"/>
                  </a:lnTo>
                  <a:lnTo>
                    <a:pt x="147" y="531"/>
                  </a:lnTo>
                  <a:lnTo>
                    <a:pt x="136" y="530"/>
                  </a:lnTo>
                  <a:lnTo>
                    <a:pt x="126" y="528"/>
                  </a:lnTo>
                  <a:lnTo>
                    <a:pt x="116" y="525"/>
                  </a:lnTo>
                  <a:lnTo>
                    <a:pt x="106" y="520"/>
                  </a:lnTo>
                  <a:lnTo>
                    <a:pt x="106" y="52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6" name="Freeform 116"/>
            <p:cNvSpPr>
              <a:spLocks noEditPoints="1"/>
            </p:cNvSpPr>
            <p:nvPr/>
          </p:nvSpPr>
          <p:spPr bwMode="auto">
            <a:xfrm flipH="1">
              <a:off x="3433990" y="3670969"/>
              <a:ext cx="1465542" cy="1068051"/>
            </a:xfrm>
            <a:custGeom>
              <a:avLst/>
              <a:gdLst>
                <a:gd name="T0" fmla="*/ 4366 w 7949"/>
                <a:gd name="T1" fmla="*/ 5559 h 7445"/>
                <a:gd name="T2" fmla="*/ 4434 w 7949"/>
                <a:gd name="T3" fmla="*/ 5747 h 7445"/>
                <a:gd name="T4" fmla="*/ 5600 w 7949"/>
                <a:gd name="T5" fmla="*/ 5042 h 7445"/>
                <a:gd name="T6" fmla="*/ 5535 w 7949"/>
                <a:gd name="T7" fmla="*/ 4859 h 7445"/>
                <a:gd name="T8" fmla="*/ 7792 w 7949"/>
                <a:gd name="T9" fmla="*/ 3504 h 7445"/>
                <a:gd name="T10" fmla="*/ 7884 w 7949"/>
                <a:gd name="T11" fmla="*/ 3750 h 7445"/>
                <a:gd name="T12" fmla="*/ 7949 w 7949"/>
                <a:gd name="T13" fmla="*/ 3979 h 7445"/>
                <a:gd name="T14" fmla="*/ 6732 w 7949"/>
                <a:gd name="T15" fmla="*/ 4489 h 7445"/>
                <a:gd name="T16" fmla="*/ 6656 w 7949"/>
                <a:gd name="T17" fmla="*/ 4248 h 7445"/>
                <a:gd name="T18" fmla="*/ 5635 w 7949"/>
                <a:gd name="T19" fmla="*/ 850 h 7445"/>
                <a:gd name="T20" fmla="*/ 5316 w 7949"/>
                <a:gd name="T21" fmla="*/ 625 h 7445"/>
                <a:gd name="T22" fmla="*/ 4968 w 7949"/>
                <a:gd name="T23" fmla="*/ 414 h 7445"/>
                <a:gd name="T24" fmla="*/ 4912 w 7949"/>
                <a:gd name="T25" fmla="*/ 384 h 7445"/>
                <a:gd name="T26" fmla="*/ 4804 w 7949"/>
                <a:gd name="T27" fmla="*/ 329 h 7445"/>
                <a:gd name="T28" fmla="*/ 4524 w 7949"/>
                <a:gd name="T29" fmla="*/ 199 h 7445"/>
                <a:gd name="T30" fmla="*/ 4215 w 7949"/>
                <a:gd name="T31" fmla="*/ 81 h 7445"/>
                <a:gd name="T32" fmla="*/ 3949 w 7949"/>
                <a:gd name="T33" fmla="*/ 0 h 7445"/>
                <a:gd name="T34" fmla="*/ 3377 w 7949"/>
                <a:gd name="T35" fmla="*/ 1205 h 7445"/>
                <a:gd name="T36" fmla="*/ 3587 w 7949"/>
                <a:gd name="T37" fmla="*/ 1259 h 7445"/>
                <a:gd name="T38" fmla="*/ 3808 w 7949"/>
                <a:gd name="T39" fmla="*/ 1339 h 7445"/>
                <a:gd name="T40" fmla="*/ 4041 w 7949"/>
                <a:gd name="T41" fmla="*/ 1444 h 7445"/>
                <a:gd name="T42" fmla="*/ 4280 w 7949"/>
                <a:gd name="T43" fmla="*/ 1573 h 7445"/>
                <a:gd name="T44" fmla="*/ 4526 w 7949"/>
                <a:gd name="T45" fmla="*/ 1726 h 7445"/>
                <a:gd name="T46" fmla="*/ 4774 w 7949"/>
                <a:gd name="T47" fmla="*/ 1901 h 7445"/>
                <a:gd name="T48" fmla="*/ 2931 w 7949"/>
                <a:gd name="T49" fmla="*/ 3887 h 7445"/>
                <a:gd name="T50" fmla="*/ 2595 w 7949"/>
                <a:gd name="T51" fmla="*/ 3683 h 7445"/>
                <a:gd name="T52" fmla="*/ 2278 w 7949"/>
                <a:gd name="T53" fmla="*/ 3542 h 7445"/>
                <a:gd name="T54" fmla="*/ 2044 w 7949"/>
                <a:gd name="T55" fmla="*/ 3479 h 7445"/>
                <a:gd name="T56" fmla="*/ 2791 w 7949"/>
                <a:gd name="T57" fmla="*/ 2325 h 7445"/>
                <a:gd name="T58" fmla="*/ 2971 w 7949"/>
                <a:gd name="T59" fmla="*/ 2376 h 7445"/>
                <a:gd name="T60" fmla="*/ 3163 w 7949"/>
                <a:gd name="T61" fmla="*/ 2449 h 7445"/>
                <a:gd name="T62" fmla="*/ 3443 w 7949"/>
                <a:gd name="T63" fmla="*/ 2587 h 7445"/>
                <a:gd name="T64" fmla="*/ 3860 w 7949"/>
                <a:gd name="T65" fmla="*/ 2851 h 7445"/>
                <a:gd name="T66" fmla="*/ 1355 w 7949"/>
                <a:gd name="T67" fmla="*/ 6075 h 7445"/>
                <a:gd name="T68" fmla="*/ 1211 w 7949"/>
                <a:gd name="T69" fmla="*/ 5970 h 7445"/>
                <a:gd name="T70" fmla="*/ 1035 w 7949"/>
                <a:gd name="T71" fmla="*/ 5861 h 7445"/>
                <a:gd name="T72" fmla="*/ 864 w 7949"/>
                <a:gd name="T73" fmla="*/ 5778 h 7445"/>
                <a:gd name="T74" fmla="*/ 1439 w 7949"/>
                <a:gd name="T75" fmla="*/ 4585 h 7445"/>
                <a:gd name="T76" fmla="*/ 1672 w 7949"/>
                <a:gd name="T77" fmla="*/ 4658 h 7445"/>
                <a:gd name="T78" fmla="*/ 1925 w 7949"/>
                <a:gd name="T79" fmla="*/ 4782 h 7445"/>
                <a:gd name="T80" fmla="*/ 2189 w 7949"/>
                <a:gd name="T81" fmla="*/ 4953 h 7445"/>
                <a:gd name="T82" fmla="*/ 106 w 7949"/>
                <a:gd name="T83" fmla="*/ 7434 h 7445"/>
                <a:gd name="T84" fmla="*/ 40 w 7949"/>
                <a:gd name="T85" fmla="*/ 7382 h 7445"/>
                <a:gd name="T86" fmla="*/ 1 w 7949"/>
                <a:gd name="T87" fmla="*/ 7288 h 7445"/>
                <a:gd name="T88" fmla="*/ 22 w 7949"/>
                <a:gd name="T89" fmla="*/ 7169 h 7445"/>
                <a:gd name="T90" fmla="*/ 161 w 7949"/>
                <a:gd name="T91" fmla="*/ 6914 h 7445"/>
                <a:gd name="T92" fmla="*/ 329 w 7949"/>
                <a:gd name="T93" fmla="*/ 6988 h 7445"/>
                <a:gd name="T94" fmla="*/ 509 w 7949"/>
                <a:gd name="T95" fmla="*/ 7106 h 7445"/>
                <a:gd name="T96" fmla="*/ 327 w 7949"/>
                <a:gd name="T97" fmla="*/ 7325 h 7445"/>
                <a:gd name="T98" fmla="*/ 228 w 7949"/>
                <a:gd name="T99" fmla="*/ 7417 h 7445"/>
                <a:gd name="T100" fmla="*/ 177 w 7949"/>
                <a:gd name="T101" fmla="*/ 7442 h 7445"/>
                <a:gd name="T102" fmla="*/ 126 w 7949"/>
                <a:gd name="T103" fmla="*/ 7442 h 7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949" h="7445">
                  <a:moveTo>
                    <a:pt x="5535" y="4859"/>
                  </a:moveTo>
                  <a:lnTo>
                    <a:pt x="5535" y="4859"/>
                  </a:lnTo>
                  <a:lnTo>
                    <a:pt x="4899" y="5241"/>
                  </a:lnTo>
                  <a:lnTo>
                    <a:pt x="4366" y="5559"/>
                  </a:lnTo>
                  <a:lnTo>
                    <a:pt x="4366" y="5559"/>
                  </a:lnTo>
                  <a:lnTo>
                    <a:pt x="4385" y="5607"/>
                  </a:lnTo>
                  <a:lnTo>
                    <a:pt x="4403" y="5654"/>
                  </a:lnTo>
                  <a:lnTo>
                    <a:pt x="4420" y="5701"/>
                  </a:lnTo>
                  <a:lnTo>
                    <a:pt x="4434" y="5747"/>
                  </a:lnTo>
                  <a:lnTo>
                    <a:pt x="4434" y="5747"/>
                  </a:lnTo>
                  <a:lnTo>
                    <a:pt x="5629" y="5147"/>
                  </a:lnTo>
                  <a:lnTo>
                    <a:pt x="5629" y="5147"/>
                  </a:lnTo>
                  <a:lnTo>
                    <a:pt x="5620" y="5113"/>
                  </a:lnTo>
                  <a:lnTo>
                    <a:pt x="5610" y="5077"/>
                  </a:lnTo>
                  <a:lnTo>
                    <a:pt x="5600" y="5042"/>
                  </a:lnTo>
                  <a:lnTo>
                    <a:pt x="5588" y="5006"/>
                  </a:lnTo>
                  <a:lnTo>
                    <a:pt x="5576" y="4970"/>
                  </a:lnTo>
                  <a:lnTo>
                    <a:pt x="5563" y="4933"/>
                  </a:lnTo>
                  <a:lnTo>
                    <a:pt x="5535" y="4859"/>
                  </a:lnTo>
                  <a:lnTo>
                    <a:pt x="5535" y="4859"/>
                  </a:lnTo>
                  <a:close/>
                  <a:moveTo>
                    <a:pt x="6637" y="4198"/>
                  </a:moveTo>
                  <a:lnTo>
                    <a:pt x="6637" y="4198"/>
                  </a:lnTo>
                  <a:lnTo>
                    <a:pt x="7792" y="3504"/>
                  </a:lnTo>
                  <a:lnTo>
                    <a:pt x="7792" y="3504"/>
                  </a:lnTo>
                  <a:lnTo>
                    <a:pt x="7792" y="3504"/>
                  </a:lnTo>
                  <a:lnTo>
                    <a:pt x="7817" y="3564"/>
                  </a:lnTo>
                  <a:lnTo>
                    <a:pt x="7841" y="3623"/>
                  </a:lnTo>
                  <a:lnTo>
                    <a:pt x="7841" y="3623"/>
                  </a:lnTo>
                  <a:lnTo>
                    <a:pt x="7864" y="3687"/>
                  </a:lnTo>
                  <a:lnTo>
                    <a:pt x="7884" y="3750"/>
                  </a:lnTo>
                  <a:lnTo>
                    <a:pt x="7902" y="3808"/>
                  </a:lnTo>
                  <a:lnTo>
                    <a:pt x="7918" y="3862"/>
                  </a:lnTo>
                  <a:lnTo>
                    <a:pt x="7941" y="3943"/>
                  </a:lnTo>
                  <a:lnTo>
                    <a:pt x="7949" y="3979"/>
                  </a:lnTo>
                  <a:lnTo>
                    <a:pt x="7949" y="3979"/>
                  </a:lnTo>
                  <a:lnTo>
                    <a:pt x="7949" y="3979"/>
                  </a:lnTo>
                  <a:lnTo>
                    <a:pt x="6753" y="4582"/>
                  </a:lnTo>
                  <a:lnTo>
                    <a:pt x="6753" y="4582"/>
                  </a:lnTo>
                  <a:lnTo>
                    <a:pt x="6742" y="4536"/>
                  </a:lnTo>
                  <a:lnTo>
                    <a:pt x="6732" y="4489"/>
                  </a:lnTo>
                  <a:lnTo>
                    <a:pt x="6718" y="4443"/>
                  </a:lnTo>
                  <a:lnTo>
                    <a:pt x="6705" y="4395"/>
                  </a:lnTo>
                  <a:lnTo>
                    <a:pt x="6690" y="4347"/>
                  </a:lnTo>
                  <a:lnTo>
                    <a:pt x="6674" y="4298"/>
                  </a:lnTo>
                  <a:lnTo>
                    <a:pt x="6656" y="4248"/>
                  </a:lnTo>
                  <a:lnTo>
                    <a:pt x="6637" y="4198"/>
                  </a:lnTo>
                  <a:lnTo>
                    <a:pt x="6637" y="4198"/>
                  </a:lnTo>
                  <a:close/>
                  <a:moveTo>
                    <a:pt x="4774" y="1901"/>
                  </a:moveTo>
                  <a:lnTo>
                    <a:pt x="4774" y="1901"/>
                  </a:lnTo>
                  <a:lnTo>
                    <a:pt x="5635" y="850"/>
                  </a:lnTo>
                  <a:lnTo>
                    <a:pt x="5635" y="850"/>
                  </a:lnTo>
                  <a:lnTo>
                    <a:pt x="5558" y="794"/>
                  </a:lnTo>
                  <a:lnTo>
                    <a:pt x="5480" y="737"/>
                  </a:lnTo>
                  <a:lnTo>
                    <a:pt x="5399" y="681"/>
                  </a:lnTo>
                  <a:lnTo>
                    <a:pt x="5316" y="625"/>
                  </a:lnTo>
                  <a:lnTo>
                    <a:pt x="5232" y="571"/>
                  </a:lnTo>
                  <a:lnTo>
                    <a:pt x="5144" y="516"/>
                  </a:lnTo>
                  <a:lnTo>
                    <a:pt x="5057" y="464"/>
                  </a:lnTo>
                  <a:lnTo>
                    <a:pt x="4968" y="414"/>
                  </a:lnTo>
                  <a:lnTo>
                    <a:pt x="4968" y="414"/>
                  </a:lnTo>
                  <a:lnTo>
                    <a:pt x="4952" y="405"/>
                  </a:lnTo>
                  <a:lnTo>
                    <a:pt x="4952" y="405"/>
                  </a:lnTo>
                  <a:lnTo>
                    <a:pt x="4934" y="397"/>
                  </a:lnTo>
                  <a:lnTo>
                    <a:pt x="4934" y="397"/>
                  </a:lnTo>
                  <a:lnTo>
                    <a:pt x="4912" y="384"/>
                  </a:lnTo>
                  <a:lnTo>
                    <a:pt x="4912" y="384"/>
                  </a:lnTo>
                  <a:lnTo>
                    <a:pt x="4907" y="382"/>
                  </a:lnTo>
                  <a:lnTo>
                    <a:pt x="4907" y="382"/>
                  </a:lnTo>
                  <a:lnTo>
                    <a:pt x="4856" y="355"/>
                  </a:lnTo>
                  <a:lnTo>
                    <a:pt x="4804" y="329"/>
                  </a:lnTo>
                  <a:lnTo>
                    <a:pt x="4750" y="302"/>
                  </a:lnTo>
                  <a:lnTo>
                    <a:pt x="4696" y="276"/>
                  </a:lnTo>
                  <a:lnTo>
                    <a:pt x="4640" y="250"/>
                  </a:lnTo>
                  <a:lnTo>
                    <a:pt x="4582" y="225"/>
                  </a:lnTo>
                  <a:lnTo>
                    <a:pt x="4524" y="199"/>
                  </a:lnTo>
                  <a:lnTo>
                    <a:pt x="4464" y="174"/>
                  </a:lnTo>
                  <a:lnTo>
                    <a:pt x="4403" y="150"/>
                  </a:lnTo>
                  <a:lnTo>
                    <a:pt x="4342" y="126"/>
                  </a:lnTo>
                  <a:lnTo>
                    <a:pt x="4278" y="103"/>
                  </a:lnTo>
                  <a:lnTo>
                    <a:pt x="4215" y="81"/>
                  </a:lnTo>
                  <a:lnTo>
                    <a:pt x="4149" y="59"/>
                  </a:lnTo>
                  <a:lnTo>
                    <a:pt x="4084" y="38"/>
                  </a:lnTo>
                  <a:lnTo>
                    <a:pt x="4016" y="18"/>
                  </a:lnTo>
                  <a:lnTo>
                    <a:pt x="3949" y="0"/>
                  </a:lnTo>
                  <a:lnTo>
                    <a:pt x="3949" y="0"/>
                  </a:lnTo>
                  <a:lnTo>
                    <a:pt x="3949" y="0"/>
                  </a:lnTo>
                  <a:lnTo>
                    <a:pt x="3297" y="1192"/>
                  </a:lnTo>
                  <a:lnTo>
                    <a:pt x="3297" y="1192"/>
                  </a:lnTo>
                  <a:lnTo>
                    <a:pt x="3336" y="1198"/>
                  </a:lnTo>
                  <a:lnTo>
                    <a:pt x="3377" y="1205"/>
                  </a:lnTo>
                  <a:lnTo>
                    <a:pt x="3417" y="1214"/>
                  </a:lnTo>
                  <a:lnTo>
                    <a:pt x="3459" y="1224"/>
                  </a:lnTo>
                  <a:lnTo>
                    <a:pt x="3501" y="1234"/>
                  </a:lnTo>
                  <a:lnTo>
                    <a:pt x="3543" y="1246"/>
                  </a:lnTo>
                  <a:lnTo>
                    <a:pt x="3587" y="1259"/>
                  </a:lnTo>
                  <a:lnTo>
                    <a:pt x="3631" y="1273"/>
                  </a:lnTo>
                  <a:lnTo>
                    <a:pt x="3674" y="1288"/>
                  </a:lnTo>
                  <a:lnTo>
                    <a:pt x="3719" y="1304"/>
                  </a:lnTo>
                  <a:lnTo>
                    <a:pt x="3764" y="1321"/>
                  </a:lnTo>
                  <a:lnTo>
                    <a:pt x="3808" y="1339"/>
                  </a:lnTo>
                  <a:lnTo>
                    <a:pt x="3854" y="1357"/>
                  </a:lnTo>
                  <a:lnTo>
                    <a:pt x="3901" y="1378"/>
                  </a:lnTo>
                  <a:lnTo>
                    <a:pt x="3947" y="1399"/>
                  </a:lnTo>
                  <a:lnTo>
                    <a:pt x="3993" y="1421"/>
                  </a:lnTo>
                  <a:lnTo>
                    <a:pt x="4041" y="1444"/>
                  </a:lnTo>
                  <a:lnTo>
                    <a:pt x="4088" y="1468"/>
                  </a:lnTo>
                  <a:lnTo>
                    <a:pt x="4136" y="1493"/>
                  </a:lnTo>
                  <a:lnTo>
                    <a:pt x="4184" y="1519"/>
                  </a:lnTo>
                  <a:lnTo>
                    <a:pt x="4233" y="1546"/>
                  </a:lnTo>
                  <a:lnTo>
                    <a:pt x="4280" y="1573"/>
                  </a:lnTo>
                  <a:lnTo>
                    <a:pt x="4329" y="1602"/>
                  </a:lnTo>
                  <a:lnTo>
                    <a:pt x="4378" y="1631"/>
                  </a:lnTo>
                  <a:lnTo>
                    <a:pt x="4427" y="1663"/>
                  </a:lnTo>
                  <a:lnTo>
                    <a:pt x="4477" y="1694"/>
                  </a:lnTo>
                  <a:lnTo>
                    <a:pt x="4526" y="1726"/>
                  </a:lnTo>
                  <a:lnTo>
                    <a:pt x="4576" y="1760"/>
                  </a:lnTo>
                  <a:lnTo>
                    <a:pt x="4624" y="1794"/>
                  </a:lnTo>
                  <a:lnTo>
                    <a:pt x="4674" y="1828"/>
                  </a:lnTo>
                  <a:lnTo>
                    <a:pt x="4724" y="1865"/>
                  </a:lnTo>
                  <a:lnTo>
                    <a:pt x="4774" y="1901"/>
                  </a:lnTo>
                  <a:lnTo>
                    <a:pt x="4774" y="1901"/>
                  </a:lnTo>
                  <a:close/>
                  <a:moveTo>
                    <a:pt x="3067" y="3986"/>
                  </a:moveTo>
                  <a:lnTo>
                    <a:pt x="3067" y="3986"/>
                  </a:lnTo>
                  <a:lnTo>
                    <a:pt x="2999" y="3935"/>
                  </a:lnTo>
                  <a:lnTo>
                    <a:pt x="2931" y="3887"/>
                  </a:lnTo>
                  <a:lnTo>
                    <a:pt x="2862" y="3841"/>
                  </a:lnTo>
                  <a:lnTo>
                    <a:pt x="2795" y="3799"/>
                  </a:lnTo>
                  <a:lnTo>
                    <a:pt x="2727" y="3758"/>
                  </a:lnTo>
                  <a:lnTo>
                    <a:pt x="2661" y="3719"/>
                  </a:lnTo>
                  <a:lnTo>
                    <a:pt x="2595" y="3683"/>
                  </a:lnTo>
                  <a:lnTo>
                    <a:pt x="2530" y="3650"/>
                  </a:lnTo>
                  <a:lnTo>
                    <a:pt x="2465" y="3619"/>
                  </a:lnTo>
                  <a:lnTo>
                    <a:pt x="2402" y="3591"/>
                  </a:lnTo>
                  <a:lnTo>
                    <a:pt x="2339" y="3565"/>
                  </a:lnTo>
                  <a:lnTo>
                    <a:pt x="2278" y="3542"/>
                  </a:lnTo>
                  <a:lnTo>
                    <a:pt x="2218" y="3522"/>
                  </a:lnTo>
                  <a:lnTo>
                    <a:pt x="2158" y="3505"/>
                  </a:lnTo>
                  <a:lnTo>
                    <a:pt x="2100" y="3490"/>
                  </a:lnTo>
                  <a:lnTo>
                    <a:pt x="2044" y="3479"/>
                  </a:lnTo>
                  <a:lnTo>
                    <a:pt x="2044" y="3479"/>
                  </a:lnTo>
                  <a:lnTo>
                    <a:pt x="2687" y="2305"/>
                  </a:lnTo>
                  <a:lnTo>
                    <a:pt x="2687" y="2305"/>
                  </a:lnTo>
                  <a:lnTo>
                    <a:pt x="2721" y="2312"/>
                  </a:lnTo>
                  <a:lnTo>
                    <a:pt x="2755" y="2318"/>
                  </a:lnTo>
                  <a:lnTo>
                    <a:pt x="2791" y="2325"/>
                  </a:lnTo>
                  <a:lnTo>
                    <a:pt x="2826" y="2334"/>
                  </a:lnTo>
                  <a:lnTo>
                    <a:pt x="2861" y="2343"/>
                  </a:lnTo>
                  <a:lnTo>
                    <a:pt x="2898" y="2353"/>
                  </a:lnTo>
                  <a:lnTo>
                    <a:pt x="2934" y="2365"/>
                  </a:lnTo>
                  <a:lnTo>
                    <a:pt x="2971" y="2376"/>
                  </a:lnTo>
                  <a:lnTo>
                    <a:pt x="3009" y="2390"/>
                  </a:lnTo>
                  <a:lnTo>
                    <a:pt x="3046" y="2403"/>
                  </a:lnTo>
                  <a:lnTo>
                    <a:pt x="3085" y="2418"/>
                  </a:lnTo>
                  <a:lnTo>
                    <a:pt x="3123" y="2434"/>
                  </a:lnTo>
                  <a:lnTo>
                    <a:pt x="3163" y="2449"/>
                  </a:lnTo>
                  <a:lnTo>
                    <a:pt x="3202" y="2467"/>
                  </a:lnTo>
                  <a:lnTo>
                    <a:pt x="3242" y="2485"/>
                  </a:lnTo>
                  <a:lnTo>
                    <a:pt x="3281" y="2503"/>
                  </a:lnTo>
                  <a:lnTo>
                    <a:pt x="3361" y="2544"/>
                  </a:lnTo>
                  <a:lnTo>
                    <a:pt x="3443" y="2587"/>
                  </a:lnTo>
                  <a:lnTo>
                    <a:pt x="3526" y="2634"/>
                  </a:lnTo>
                  <a:lnTo>
                    <a:pt x="3609" y="2684"/>
                  </a:lnTo>
                  <a:lnTo>
                    <a:pt x="3692" y="2737"/>
                  </a:lnTo>
                  <a:lnTo>
                    <a:pt x="3776" y="2792"/>
                  </a:lnTo>
                  <a:lnTo>
                    <a:pt x="3860" y="2851"/>
                  </a:lnTo>
                  <a:lnTo>
                    <a:pt x="3946" y="2913"/>
                  </a:lnTo>
                  <a:lnTo>
                    <a:pt x="3946" y="2913"/>
                  </a:lnTo>
                  <a:lnTo>
                    <a:pt x="3067" y="3986"/>
                  </a:lnTo>
                  <a:lnTo>
                    <a:pt x="3067" y="3986"/>
                  </a:lnTo>
                  <a:close/>
                  <a:moveTo>
                    <a:pt x="1355" y="6075"/>
                  </a:moveTo>
                  <a:lnTo>
                    <a:pt x="1355" y="6075"/>
                  </a:lnTo>
                  <a:lnTo>
                    <a:pt x="1319" y="6047"/>
                  </a:lnTo>
                  <a:lnTo>
                    <a:pt x="1283" y="6021"/>
                  </a:lnTo>
                  <a:lnTo>
                    <a:pt x="1247" y="5995"/>
                  </a:lnTo>
                  <a:lnTo>
                    <a:pt x="1211" y="5970"/>
                  </a:lnTo>
                  <a:lnTo>
                    <a:pt x="1176" y="5946"/>
                  </a:lnTo>
                  <a:lnTo>
                    <a:pt x="1140" y="5923"/>
                  </a:lnTo>
                  <a:lnTo>
                    <a:pt x="1104" y="5901"/>
                  </a:lnTo>
                  <a:lnTo>
                    <a:pt x="1069" y="5880"/>
                  </a:lnTo>
                  <a:lnTo>
                    <a:pt x="1035" y="5861"/>
                  </a:lnTo>
                  <a:lnTo>
                    <a:pt x="1000" y="5842"/>
                  </a:lnTo>
                  <a:lnTo>
                    <a:pt x="965" y="5824"/>
                  </a:lnTo>
                  <a:lnTo>
                    <a:pt x="932" y="5809"/>
                  </a:lnTo>
                  <a:lnTo>
                    <a:pt x="897" y="5793"/>
                  </a:lnTo>
                  <a:lnTo>
                    <a:pt x="864" y="5778"/>
                  </a:lnTo>
                  <a:lnTo>
                    <a:pt x="832" y="5765"/>
                  </a:lnTo>
                  <a:lnTo>
                    <a:pt x="800" y="5752"/>
                  </a:lnTo>
                  <a:lnTo>
                    <a:pt x="800" y="5752"/>
                  </a:lnTo>
                  <a:lnTo>
                    <a:pt x="1439" y="4585"/>
                  </a:lnTo>
                  <a:lnTo>
                    <a:pt x="1439" y="4585"/>
                  </a:lnTo>
                  <a:lnTo>
                    <a:pt x="1483" y="4596"/>
                  </a:lnTo>
                  <a:lnTo>
                    <a:pt x="1528" y="4608"/>
                  </a:lnTo>
                  <a:lnTo>
                    <a:pt x="1575" y="4623"/>
                  </a:lnTo>
                  <a:lnTo>
                    <a:pt x="1623" y="4639"/>
                  </a:lnTo>
                  <a:lnTo>
                    <a:pt x="1672" y="4658"/>
                  </a:lnTo>
                  <a:lnTo>
                    <a:pt x="1721" y="4679"/>
                  </a:lnTo>
                  <a:lnTo>
                    <a:pt x="1771" y="4702"/>
                  </a:lnTo>
                  <a:lnTo>
                    <a:pt x="1822" y="4727"/>
                  </a:lnTo>
                  <a:lnTo>
                    <a:pt x="1873" y="4753"/>
                  </a:lnTo>
                  <a:lnTo>
                    <a:pt x="1925" y="4782"/>
                  </a:lnTo>
                  <a:lnTo>
                    <a:pt x="1977" y="4812"/>
                  </a:lnTo>
                  <a:lnTo>
                    <a:pt x="2030" y="4845"/>
                  </a:lnTo>
                  <a:lnTo>
                    <a:pt x="2083" y="4879"/>
                  </a:lnTo>
                  <a:lnTo>
                    <a:pt x="2136" y="4916"/>
                  </a:lnTo>
                  <a:lnTo>
                    <a:pt x="2189" y="4953"/>
                  </a:lnTo>
                  <a:lnTo>
                    <a:pt x="2243" y="4993"/>
                  </a:lnTo>
                  <a:lnTo>
                    <a:pt x="2243" y="4993"/>
                  </a:lnTo>
                  <a:lnTo>
                    <a:pt x="1355" y="6075"/>
                  </a:lnTo>
                  <a:lnTo>
                    <a:pt x="1355" y="6075"/>
                  </a:lnTo>
                  <a:close/>
                  <a:moveTo>
                    <a:pt x="106" y="7434"/>
                  </a:moveTo>
                  <a:lnTo>
                    <a:pt x="106" y="7434"/>
                  </a:lnTo>
                  <a:lnTo>
                    <a:pt x="86" y="7424"/>
                  </a:lnTo>
                  <a:lnTo>
                    <a:pt x="69" y="7410"/>
                  </a:lnTo>
                  <a:lnTo>
                    <a:pt x="53" y="7396"/>
                  </a:lnTo>
                  <a:lnTo>
                    <a:pt x="40" y="7382"/>
                  </a:lnTo>
                  <a:lnTo>
                    <a:pt x="27" y="7365"/>
                  </a:lnTo>
                  <a:lnTo>
                    <a:pt x="18" y="7347"/>
                  </a:lnTo>
                  <a:lnTo>
                    <a:pt x="10" y="7329"/>
                  </a:lnTo>
                  <a:lnTo>
                    <a:pt x="4" y="7309"/>
                  </a:lnTo>
                  <a:lnTo>
                    <a:pt x="1" y="7288"/>
                  </a:lnTo>
                  <a:lnTo>
                    <a:pt x="0" y="7266"/>
                  </a:lnTo>
                  <a:lnTo>
                    <a:pt x="2" y="7243"/>
                  </a:lnTo>
                  <a:lnTo>
                    <a:pt x="6" y="7219"/>
                  </a:lnTo>
                  <a:lnTo>
                    <a:pt x="13" y="7194"/>
                  </a:lnTo>
                  <a:lnTo>
                    <a:pt x="22" y="7169"/>
                  </a:lnTo>
                  <a:lnTo>
                    <a:pt x="34" y="7143"/>
                  </a:lnTo>
                  <a:lnTo>
                    <a:pt x="49" y="7116"/>
                  </a:lnTo>
                  <a:lnTo>
                    <a:pt x="49" y="7116"/>
                  </a:lnTo>
                  <a:lnTo>
                    <a:pt x="83" y="7055"/>
                  </a:lnTo>
                  <a:lnTo>
                    <a:pt x="161" y="6914"/>
                  </a:lnTo>
                  <a:lnTo>
                    <a:pt x="161" y="6914"/>
                  </a:lnTo>
                  <a:lnTo>
                    <a:pt x="202" y="6929"/>
                  </a:lnTo>
                  <a:lnTo>
                    <a:pt x="243" y="6945"/>
                  </a:lnTo>
                  <a:lnTo>
                    <a:pt x="286" y="6965"/>
                  </a:lnTo>
                  <a:lnTo>
                    <a:pt x="329" y="6988"/>
                  </a:lnTo>
                  <a:lnTo>
                    <a:pt x="373" y="7014"/>
                  </a:lnTo>
                  <a:lnTo>
                    <a:pt x="418" y="7042"/>
                  </a:lnTo>
                  <a:lnTo>
                    <a:pt x="463" y="7072"/>
                  </a:lnTo>
                  <a:lnTo>
                    <a:pt x="509" y="7106"/>
                  </a:lnTo>
                  <a:lnTo>
                    <a:pt x="509" y="7106"/>
                  </a:lnTo>
                  <a:lnTo>
                    <a:pt x="418" y="7215"/>
                  </a:lnTo>
                  <a:lnTo>
                    <a:pt x="418" y="7215"/>
                  </a:lnTo>
                  <a:lnTo>
                    <a:pt x="383" y="7257"/>
                  </a:lnTo>
                  <a:lnTo>
                    <a:pt x="345" y="7302"/>
                  </a:lnTo>
                  <a:lnTo>
                    <a:pt x="327" y="7325"/>
                  </a:lnTo>
                  <a:lnTo>
                    <a:pt x="307" y="7345"/>
                  </a:lnTo>
                  <a:lnTo>
                    <a:pt x="287" y="7366"/>
                  </a:lnTo>
                  <a:lnTo>
                    <a:pt x="267" y="7386"/>
                  </a:lnTo>
                  <a:lnTo>
                    <a:pt x="248" y="7403"/>
                  </a:lnTo>
                  <a:lnTo>
                    <a:pt x="228" y="7417"/>
                  </a:lnTo>
                  <a:lnTo>
                    <a:pt x="217" y="7424"/>
                  </a:lnTo>
                  <a:lnTo>
                    <a:pt x="207" y="7430"/>
                  </a:lnTo>
                  <a:lnTo>
                    <a:pt x="198" y="7435"/>
                  </a:lnTo>
                  <a:lnTo>
                    <a:pt x="187" y="7438"/>
                  </a:lnTo>
                  <a:lnTo>
                    <a:pt x="177" y="7442"/>
                  </a:lnTo>
                  <a:lnTo>
                    <a:pt x="167" y="7444"/>
                  </a:lnTo>
                  <a:lnTo>
                    <a:pt x="156" y="7445"/>
                  </a:lnTo>
                  <a:lnTo>
                    <a:pt x="147" y="7445"/>
                  </a:lnTo>
                  <a:lnTo>
                    <a:pt x="136" y="7444"/>
                  </a:lnTo>
                  <a:lnTo>
                    <a:pt x="126" y="7442"/>
                  </a:lnTo>
                  <a:lnTo>
                    <a:pt x="116" y="7439"/>
                  </a:lnTo>
                  <a:lnTo>
                    <a:pt x="106" y="7434"/>
                  </a:lnTo>
                  <a:lnTo>
                    <a:pt x="106" y="7434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7" name="Freeform 117"/>
            <p:cNvSpPr>
              <a:spLocks/>
            </p:cNvSpPr>
            <p:nvPr/>
          </p:nvSpPr>
          <p:spPr bwMode="auto">
            <a:xfrm flipH="1">
              <a:off x="4649254" y="4496516"/>
              <a:ext cx="220606" cy="193488"/>
            </a:xfrm>
            <a:custGeom>
              <a:avLst/>
              <a:gdLst>
                <a:gd name="T0" fmla="*/ 0 w 1194"/>
                <a:gd name="T1" fmla="*/ 1162 h 1354"/>
                <a:gd name="T2" fmla="*/ 0 w 1194"/>
                <a:gd name="T3" fmla="*/ 1162 h 1354"/>
                <a:gd name="T4" fmla="*/ 261 w 1194"/>
                <a:gd name="T5" fmla="*/ 688 h 1354"/>
                <a:gd name="T6" fmla="*/ 639 w 1194"/>
                <a:gd name="T7" fmla="*/ 0 h 1354"/>
                <a:gd name="T8" fmla="*/ 639 w 1194"/>
                <a:gd name="T9" fmla="*/ 0 h 1354"/>
                <a:gd name="T10" fmla="*/ 671 w 1194"/>
                <a:gd name="T11" fmla="*/ 13 h 1354"/>
                <a:gd name="T12" fmla="*/ 703 w 1194"/>
                <a:gd name="T13" fmla="*/ 26 h 1354"/>
                <a:gd name="T14" fmla="*/ 736 w 1194"/>
                <a:gd name="T15" fmla="*/ 41 h 1354"/>
                <a:gd name="T16" fmla="*/ 771 w 1194"/>
                <a:gd name="T17" fmla="*/ 57 h 1354"/>
                <a:gd name="T18" fmla="*/ 804 w 1194"/>
                <a:gd name="T19" fmla="*/ 72 h 1354"/>
                <a:gd name="T20" fmla="*/ 839 w 1194"/>
                <a:gd name="T21" fmla="*/ 90 h 1354"/>
                <a:gd name="T22" fmla="*/ 874 w 1194"/>
                <a:gd name="T23" fmla="*/ 109 h 1354"/>
                <a:gd name="T24" fmla="*/ 908 w 1194"/>
                <a:gd name="T25" fmla="*/ 128 h 1354"/>
                <a:gd name="T26" fmla="*/ 943 w 1194"/>
                <a:gd name="T27" fmla="*/ 149 h 1354"/>
                <a:gd name="T28" fmla="*/ 979 w 1194"/>
                <a:gd name="T29" fmla="*/ 171 h 1354"/>
                <a:gd name="T30" fmla="*/ 1015 w 1194"/>
                <a:gd name="T31" fmla="*/ 194 h 1354"/>
                <a:gd name="T32" fmla="*/ 1050 w 1194"/>
                <a:gd name="T33" fmla="*/ 218 h 1354"/>
                <a:gd name="T34" fmla="*/ 1086 w 1194"/>
                <a:gd name="T35" fmla="*/ 243 h 1354"/>
                <a:gd name="T36" fmla="*/ 1122 w 1194"/>
                <a:gd name="T37" fmla="*/ 269 h 1354"/>
                <a:gd name="T38" fmla="*/ 1158 w 1194"/>
                <a:gd name="T39" fmla="*/ 295 h 1354"/>
                <a:gd name="T40" fmla="*/ 1194 w 1194"/>
                <a:gd name="T41" fmla="*/ 323 h 1354"/>
                <a:gd name="T42" fmla="*/ 1194 w 1194"/>
                <a:gd name="T43" fmla="*/ 323 h 1354"/>
                <a:gd name="T44" fmla="*/ 677 w 1194"/>
                <a:gd name="T45" fmla="*/ 954 h 1354"/>
                <a:gd name="T46" fmla="*/ 348 w 1194"/>
                <a:gd name="T47" fmla="*/ 1354 h 1354"/>
                <a:gd name="T48" fmla="*/ 348 w 1194"/>
                <a:gd name="T49" fmla="*/ 1354 h 1354"/>
                <a:gd name="T50" fmla="*/ 302 w 1194"/>
                <a:gd name="T51" fmla="*/ 1320 h 1354"/>
                <a:gd name="T52" fmla="*/ 257 w 1194"/>
                <a:gd name="T53" fmla="*/ 1290 h 1354"/>
                <a:gd name="T54" fmla="*/ 212 w 1194"/>
                <a:gd name="T55" fmla="*/ 1262 h 1354"/>
                <a:gd name="T56" fmla="*/ 168 w 1194"/>
                <a:gd name="T57" fmla="*/ 1236 h 1354"/>
                <a:gd name="T58" fmla="*/ 125 w 1194"/>
                <a:gd name="T59" fmla="*/ 1213 h 1354"/>
                <a:gd name="T60" fmla="*/ 82 w 1194"/>
                <a:gd name="T61" fmla="*/ 1193 h 1354"/>
                <a:gd name="T62" fmla="*/ 41 w 1194"/>
                <a:gd name="T63" fmla="*/ 1177 h 1354"/>
                <a:gd name="T64" fmla="*/ 0 w 1194"/>
                <a:gd name="T65" fmla="*/ 1162 h 1354"/>
                <a:gd name="T66" fmla="*/ 0 w 1194"/>
                <a:gd name="T67" fmla="*/ 1162 h 1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4" h="1354">
                  <a:moveTo>
                    <a:pt x="0" y="1162"/>
                  </a:moveTo>
                  <a:lnTo>
                    <a:pt x="0" y="1162"/>
                  </a:lnTo>
                  <a:lnTo>
                    <a:pt x="261" y="688"/>
                  </a:lnTo>
                  <a:lnTo>
                    <a:pt x="639" y="0"/>
                  </a:lnTo>
                  <a:lnTo>
                    <a:pt x="639" y="0"/>
                  </a:lnTo>
                  <a:lnTo>
                    <a:pt x="671" y="13"/>
                  </a:lnTo>
                  <a:lnTo>
                    <a:pt x="703" y="26"/>
                  </a:lnTo>
                  <a:lnTo>
                    <a:pt x="736" y="41"/>
                  </a:lnTo>
                  <a:lnTo>
                    <a:pt x="771" y="57"/>
                  </a:lnTo>
                  <a:lnTo>
                    <a:pt x="804" y="72"/>
                  </a:lnTo>
                  <a:lnTo>
                    <a:pt x="839" y="90"/>
                  </a:lnTo>
                  <a:lnTo>
                    <a:pt x="874" y="109"/>
                  </a:lnTo>
                  <a:lnTo>
                    <a:pt x="908" y="128"/>
                  </a:lnTo>
                  <a:lnTo>
                    <a:pt x="943" y="149"/>
                  </a:lnTo>
                  <a:lnTo>
                    <a:pt x="979" y="171"/>
                  </a:lnTo>
                  <a:lnTo>
                    <a:pt x="1015" y="194"/>
                  </a:lnTo>
                  <a:lnTo>
                    <a:pt x="1050" y="218"/>
                  </a:lnTo>
                  <a:lnTo>
                    <a:pt x="1086" y="243"/>
                  </a:lnTo>
                  <a:lnTo>
                    <a:pt x="1122" y="269"/>
                  </a:lnTo>
                  <a:lnTo>
                    <a:pt x="1158" y="295"/>
                  </a:lnTo>
                  <a:lnTo>
                    <a:pt x="1194" y="323"/>
                  </a:lnTo>
                  <a:lnTo>
                    <a:pt x="1194" y="323"/>
                  </a:lnTo>
                  <a:lnTo>
                    <a:pt x="677" y="954"/>
                  </a:lnTo>
                  <a:lnTo>
                    <a:pt x="348" y="1354"/>
                  </a:lnTo>
                  <a:lnTo>
                    <a:pt x="348" y="1354"/>
                  </a:lnTo>
                  <a:lnTo>
                    <a:pt x="302" y="1320"/>
                  </a:lnTo>
                  <a:lnTo>
                    <a:pt x="257" y="1290"/>
                  </a:lnTo>
                  <a:lnTo>
                    <a:pt x="212" y="1262"/>
                  </a:lnTo>
                  <a:lnTo>
                    <a:pt x="168" y="1236"/>
                  </a:lnTo>
                  <a:lnTo>
                    <a:pt x="125" y="1213"/>
                  </a:lnTo>
                  <a:lnTo>
                    <a:pt x="82" y="1193"/>
                  </a:lnTo>
                  <a:lnTo>
                    <a:pt x="41" y="1177"/>
                  </a:lnTo>
                  <a:lnTo>
                    <a:pt x="0" y="1162"/>
                  </a:lnTo>
                  <a:lnTo>
                    <a:pt x="0" y="116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8" name="Freeform 118"/>
            <p:cNvSpPr>
              <a:spLocks noEditPoints="1"/>
            </p:cNvSpPr>
            <p:nvPr/>
          </p:nvSpPr>
          <p:spPr bwMode="auto">
            <a:xfrm flipH="1">
              <a:off x="3654595" y="3842528"/>
              <a:ext cx="1215264" cy="847476"/>
            </a:xfrm>
            <a:custGeom>
              <a:avLst/>
              <a:gdLst>
                <a:gd name="T0" fmla="*/ 4242 w 6592"/>
                <a:gd name="T1" fmla="*/ 4462 h 5914"/>
                <a:gd name="T2" fmla="*/ 3896 w 6592"/>
                <a:gd name="T3" fmla="*/ 4552 h 5914"/>
                <a:gd name="T4" fmla="*/ 3696 w 6592"/>
                <a:gd name="T5" fmla="*/ 4671 h 5914"/>
                <a:gd name="T6" fmla="*/ 3636 w 6592"/>
                <a:gd name="T7" fmla="*/ 4719 h 5914"/>
                <a:gd name="T8" fmla="*/ 3606 w 6592"/>
                <a:gd name="T9" fmla="*/ 4759 h 5914"/>
                <a:gd name="T10" fmla="*/ 3601 w 6592"/>
                <a:gd name="T11" fmla="*/ 4791 h 5914"/>
                <a:gd name="T12" fmla="*/ 3618 w 6592"/>
                <a:gd name="T13" fmla="*/ 4812 h 5914"/>
                <a:gd name="T14" fmla="*/ 3655 w 6592"/>
                <a:gd name="T15" fmla="*/ 4823 h 5914"/>
                <a:gd name="T16" fmla="*/ 3707 w 6592"/>
                <a:gd name="T17" fmla="*/ 4820 h 5914"/>
                <a:gd name="T18" fmla="*/ 3772 w 6592"/>
                <a:gd name="T19" fmla="*/ 4801 h 5914"/>
                <a:gd name="T20" fmla="*/ 3960 w 6592"/>
                <a:gd name="T21" fmla="*/ 4711 h 5914"/>
                <a:gd name="T22" fmla="*/ 5374 w 6592"/>
                <a:gd name="T23" fmla="*/ 3667 h 5914"/>
                <a:gd name="T24" fmla="*/ 6513 w 6592"/>
                <a:gd name="T25" fmla="*/ 3106 h 5914"/>
                <a:gd name="T26" fmla="*/ 6571 w 6592"/>
                <a:gd name="T27" fmla="*/ 3297 h 5914"/>
                <a:gd name="T28" fmla="*/ 5468 w 6592"/>
                <a:gd name="T29" fmla="*/ 3955 h 5914"/>
                <a:gd name="T30" fmla="*/ 5439 w 6592"/>
                <a:gd name="T31" fmla="*/ 3850 h 5914"/>
                <a:gd name="T32" fmla="*/ 5374 w 6592"/>
                <a:gd name="T33" fmla="*/ 3667 h 5914"/>
                <a:gd name="T34" fmla="*/ 2838 w 6592"/>
                <a:gd name="T35" fmla="*/ 2743 h 5914"/>
                <a:gd name="T36" fmla="*/ 2566 w 6592"/>
                <a:gd name="T37" fmla="*/ 2566 h 5914"/>
                <a:gd name="T38" fmla="*/ 2304 w 6592"/>
                <a:gd name="T39" fmla="*/ 2427 h 5914"/>
                <a:gd name="T40" fmla="*/ 2057 w 6592"/>
                <a:gd name="T41" fmla="*/ 2330 h 5914"/>
                <a:gd name="T42" fmla="*/ 1883 w 6592"/>
                <a:gd name="T43" fmla="*/ 2287 h 5914"/>
                <a:gd name="T44" fmla="*/ 1367 w 6592"/>
                <a:gd name="T45" fmla="*/ 3416 h 5914"/>
                <a:gd name="T46" fmla="*/ 1560 w 6592"/>
                <a:gd name="T47" fmla="*/ 3487 h 5914"/>
                <a:gd name="T48" fmla="*/ 1764 w 6592"/>
                <a:gd name="T49" fmla="*/ 3590 h 5914"/>
                <a:gd name="T50" fmla="*/ 1975 w 6592"/>
                <a:gd name="T51" fmla="*/ 3724 h 5914"/>
                <a:gd name="T52" fmla="*/ 2906 w 6592"/>
                <a:gd name="T53" fmla="*/ 2794 h 5914"/>
                <a:gd name="T54" fmla="*/ 3136 w 6592"/>
                <a:gd name="T55" fmla="*/ 0 h 5914"/>
                <a:gd name="T56" fmla="*/ 3256 w 6592"/>
                <a:gd name="T57" fmla="*/ 22 h 5914"/>
                <a:gd name="T58" fmla="*/ 3426 w 6592"/>
                <a:gd name="T59" fmla="*/ 67 h 5914"/>
                <a:gd name="T60" fmla="*/ 3603 w 6592"/>
                <a:gd name="T61" fmla="*/ 129 h 5914"/>
                <a:gd name="T62" fmla="*/ 3786 w 6592"/>
                <a:gd name="T63" fmla="*/ 207 h 5914"/>
                <a:gd name="T64" fmla="*/ 3975 w 6592"/>
                <a:gd name="T65" fmla="*/ 301 h 5914"/>
                <a:gd name="T66" fmla="*/ 4168 w 6592"/>
                <a:gd name="T67" fmla="*/ 410 h 5914"/>
                <a:gd name="T68" fmla="*/ 4365 w 6592"/>
                <a:gd name="T69" fmla="*/ 534 h 5914"/>
                <a:gd name="T70" fmla="*/ 4563 w 6592"/>
                <a:gd name="T71" fmla="*/ 673 h 5914"/>
                <a:gd name="T72" fmla="*/ 3785 w 6592"/>
                <a:gd name="T73" fmla="*/ 1721 h 5914"/>
                <a:gd name="T74" fmla="*/ 3448 w 6592"/>
                <a:gd name="T75" fmla="*/ 1492 h 5914"/>
                <a:gd name="T76" fmla="*/ 3120 w 6592"/>
                <a:gd name="T77" fmla="*/ 1311 h 5914"/>
                <a:gd name="T78" fmla="*/ 2962 w 6592"/>
                <a:gd name="T79" fmla="*/ 1242 h 5914"/>
                <a:gd name="T80" fmla="*/ 2810 w 6592"/>
                <a:gd name="T81" fmla="*/ 1184 h 5914"/>
                <a:gd name="T82" fmla="*/ 2665 w 6592"/>
                <a:gd name="T83" fmla="*/ 1142 h 5914"/>
                <a:gd name="T84" fmla="*/ 2526 w 6592"/>
                <a:gd name="T85" fmla="*/ 1113 h 5914"/>
                <a:gd name="T86" fmla="*/ 261 w 6592"/>
                <a:gd name="T87" fmla="*/ 5248 h 5914"/>
                <a:gd name="T88" fmla="*/ 703 w 6592"/>
                <a:gd name="T89" fmla="*/ 4586 h 5914"/>
                <a:gd name="T90" fmla="*/ 839 w 6592"/>
                <a:gd name="T91" fmla="*/ 4650 h 5914"/>
                <a:gd name="T92" fmla="*/ 979 w 6592"/>
                <a:gd name="T93" fmla="*/ 4731 h 5914"/>
                <a:gd name="T94" fmla="*/ 1122 w 6592"/>
                <a:gd name="T95" fmla="*/ 4829 h 5914"/>
                <a:gd name="T96" fmla="*/ 677 w 6592"/>
                <a:gd name="T97" fmla="*/ 5514 h 5914"/>
                <a:gd name="T98" fmla="*/ 257 w 6592"/>
                <a:gd name="T99" fmla="*/ 5850 h 5914"/>
                <a:gd name="T100" fmla="*/ 82 w 6592"/>
                <a:gd name="T101" fmla="*/ 5753 h 5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592" h="5914">
                  <a:moveTo>
                    <a:pt x="4273" y="4555"/>
                  </a:moveTo>
                  <a:lnTo>
                    <a:pt x="4273" y="4555"/>
                  </a:lnTo>
                  <a:lnTo>
                    <a:pt x="4259" y="4509"/>
                  </a:lnTo>
                  <a:lnTo>
                    <a:pt x="4242" y="4462"/>
                  </a:lnTo>
                  <a:lnTo>
                    <a:pt x="4224" y="4415"/>
                  </a:lnTo>
                  <a:lnTo>
                    <a:pt x="4205" y="4367"/>
                  </a:lnTo>
                  <a:lnTo>
                    <a:pt x="4205" y="4367"/>
                  </a:lnTo>
                  <a:lnTo>
                    <a:pt x="3896" y="4552"/>
                  </a:lnTo>
                  <a:lnTo>
                    <a:pt x="3738" y="4645"/>
                  </a:lnTo>
                  <a:lnTo>
                    <a:pt x="3738" y="4645"/>
                  </a:lnTo>
                  <a:lnTo>
                    <a:pt x="3716" y="4658"/>
                  </a:lnTo>
                  <a:lnTo>
                    <a:pt x="3696" y="4671"/>
                  </a:lnTo>
                  <a:lnTo>
                    <a:pt x="3679" y="4683"/>
                  </a:lnTo>
                  <a:lnTo>
                    <a:pt x="3663" y="4696"/>
                  </a:lnTo>
                  <a:lnTo>
                    <a:pt x="3648" y="4707"/>
                  </a:lnTo>
                  <a:lnTo>
                    <a:pt x="3636" y="4719"/>
                  </a:lnTo>
                  <a:lnTo>
                    <a:pt x="3627" y="4729"/>
                  </a:lnTo>
                  <a:lnTo>
                    <a:pt x="3617" y="4739"/>
                  </a:lnTo>
                  <a:lnTo>
                    <a:pt x="3611" y="4750"/>
                  </a:lnTo>
                  <a:lnTo>
                    <a:pt x="3606" y="4759"/>
                  </a:lnTo>
                  <a:lnTo>
                    <a:pt x="3602" y="4768"/>
                  </a:lnTo>
                  <a:lnTo>
                    <a:pt x="3600" y="4776"/>
                  </a:lnTo>
                  <a:lnTo>
                    <a:pt x="3600" y="4784"/>
                  </a:lnTo>
                  <a:lnTo>
                    <a:pt x="3601" y="4791"/>
                  </a:lnTo>
                  <a:lnTo>
                    <a:pt x="3603" y="4798"/>
                  </a:lnTo>
                  <a:lnTo>
                    <a:pt x="3607" y="4803"/>
                  </a:lnTo>
                  <a:lnTo>
                    <a:pt x="3612" y="4808"/>
                  </a:lnTo>
                  <a:lnTo>
                    <a:pt x="3618" y="4812"/>
                  </a:lnTo>
                  <a:lnTo>
                    <a:pt x="3626" y="4817"/>
                  </a:lnTo>
                  <a:lnTo>
                    <a:pt x="3634" y="4820"/>
                  </a:lnTo>
                  <a:lnTo>
                    <a:pt x="3643" y="4822"/>
                  </a:lnTo>
                  <a:lnTo>
                    <a:pt x="3655" y="4823"/>
                  </a:lnTo>
                  <a:lnTo>
                    <a:pt x="3666" y="4824"/>
                  </a:lnTo>
                  <a:lnTo>
                    <a:pt x="3679" y="4823"/>
                  </a:lnTo>
                  <a:lnTo>
                    <a:pt x="3692" y="4822"/>
                  </a:lnTo>
                  <a:lnTo>
                    <a:pt x="3707" y="4820"/>
                  </a:lnTo>
                  <a:lnTo>
                    <a:pt x="3722" y="4817"/>
                  </a:lnTo>
                  <a:lnTo>
                    <a:pt x="3738" y="4812"/>
                  </a:lnTo>
                  <a:lnTo>
                    <a:pt x="3754" y="4807"/>
                  </a:lnTo>
                  <a:lnTo>
                    <a:pt x="3772" y="4801"/>
                  </a:lnTo>
                  <a:lnTo>
                    <a:pt x="3790" y="4794"/>
                  </a:lnTo>
                  <a:lnTo>
                    <a:pt x="3809" y="4785"/>
                  </a:lnTo>
                  <a:lnTo>
                    <a:pt x="3809" y="4785"/>
                  </a:lnTo>
                  <a:lnTo>
                    <a:pt x="3960" y="4711"/>
                  </a:lnTo>
                  <a:lnTo>
                    <a:pt x="4273" y="4555"/>
                  </a:lnTo>
                  <a:lnTo>
                    <a:pt x="4273" y="4555"/>
                  </a:lnTo>
                  <a:close/>
                  <a:moveTo>
                    <a:pt x="5374" y="3667"/>
                  </a:moveTo>
                  <a:lnTo>
                    <a:pt x="5374" y="3667"/>
                  </a:lnTo>
                  <a:lnTo>
                    <a:pt x="6476" y="3006"/>
                  </a:lnTo>
                  <a:lnTo>
                    <a:pt x="6476" y="3006"/>
                  </a:lnTo>
                  <a:lnTo>
                    <a:pt x="6495" y="3056"/>
                  </a:lnTo>
                  <a:lnTo>
                    <a:pt x="6513" y="3106"/>
                  </a:lnTo>
                  <a:lnTo>
                    <a:pt x="6529" y="3155"/>
                  </a:lnTo>
                  <a:lnTo>
                    <a:pt x="6544" y="3203"/>
                  </a:lnTo>
                  <a:lnTo>
                    <a:pt x="6557" y="3251"/>
                  </a:lnTo>
                  <a:lnTo>
                    <a:pt x="6571" y="3297"/>
                  </a:lnTo>
                  <a:lnTo>
                    <a:pt x="6581" y="3344"/>
                  </a:lnTo>
                  <a:lnTo>
                    <a:pt x="6592" y="3390"/>
                  </a:lnTo>
                  <a:lnTo>
                    <a:pt x="6592" y="3390"/>
                  </a:lnTo>
                  <a:lnTo>
                    <a:pt x="5468" y="3955"/>
                  </a:lnTo>
                  <a:lnTo>
                    <a:pt x="5468" y="3955"/>
                  </a:lnTo>
                  <a:lnTo>
                    <a:pt x="5459" y="3921"/>
                  </a:lnTo>
                  <a:lnTo>
                    <a:pt x="5449" y="3885"/>
                  </a:lnTo>
                  <a:lnTo>
                    <a:pt x="5439" y="3850"/>
                  </a:lnTo>
                  <a:lnTo>
                    <a:pt x="5427" y="3814"/>
                  </a:lnTo>
                  <a:lnTo>
                    <a:pt x="5415" y="3778"/>
                  </a:lnTo>
                  <a:lnTo>
                    <a:pt x="5402" y="3741"/>
                  </a:lnTo>
                  <a:lnTo>
                    <a:pt x="5374" y="3667"/>
                  </a:lnTo>
                  <a:lnTo>
                    <a:pt x="5374" y="3667"/>
                  </a:lnTo>
                  <a:close/>
                  <a:moveTo>
                    <a:pt x="2906" y="2794"/>
                  </a:moveTo>
                  <a:lnTo>
                    <a:pt x="2906" y="2794"/>
                  </a:lnTo>
                  <a:lnTo>
                    <a:pt x="2838" y="2743"/>
                  </a:lnTo>
                  <a:lnTo>
                    <a:pt x="2770" y="2695"/>
                  </a:lnTo>
                  <a:lnTo>
                    <a:pt x="2701" y="2649"/>
                  </a:lnTo>
                  <a:lnTo>
                    <a:pt x="2634" y="2607"/>
                  </a:lnTo>
                  <a:lnTo>
                    <a:pt x="2566" y="2566"/>
                  </a:lnTo>
                  <a:lnTo>
                    <a:pt x="2500" y="2527"/>
                  </a:lnTo>
                  <a:lnTo>
                    <a:pt x="2434" y="2491"/>
                  </a:lnTo>
                  <a:lnTo>
                    <a:pt x="2369" y="2458"/>
                  </a:lnTo>
                  <a:lnTo>
                    <a:pt x="2304" y="2427"/>
                  </a:lnTo>
                  <a:lnTo>
                    <a:pt x="2241" y="2399"/>
                  </a:lnTo>
                  <a:lnTo>
                    <a:pt x="2178" y="2373"/>
                  </a:lnTo>
                  <a:lnTo>
                    <a:pt x="2117" y="2350"/>
                  </a:lnTo>
                  <a:lnTo>
                    <a:pt x="2057" y="2330"/>
                  </a:lnTo>
                  <a:lnTo>
                    <a:pt x="1997" y="2313"/>
                  </a:lnTo>
                  <a:lnTo>
                    <a:pt x="1939" y="2298"/>
                  </a:lnTo>
                  <a:lnTo>
                    <a:pt x="1883" y="2287"/>
                  </a:lnTo>
                  <a:lnTo>
                    <a:pt x="1883" y="2287"/>
                  </a:lnTo>
                  <a:lnTo>
                    <a:pt x="1278" y="3393"/>
                  </a:lnTo>
                  <a:lnTo>
                    <a:pt x="1278" y="3393"/>
                  </a:lnTo>
                  <a:lnTo>
                    <a:pt x="1322" y="3404"/>
                  </a:lnTo>
                  <a:lnTo>
                    <a:pt x="1367" y="3416"/>
                  </a:lnTo>
                  <a:lnTo>
                    <a:pt x="1414" y="3431"/>
                  </a:lnTo>
                  <a:lnTo>
                    <a:pt x="1462" y="3447"/>
                  </a:lnTo>
                  <a:lnTo>
                    <a:pt x="1511" y="3466"/>
                  </a:lnTo>
                  <a:lnTo>
                    <a:pt x="1560" y="3487"/>
                  </a:lnTo>
                  <a:lnTo>
                    <a:pt x="1610" y="3510"/>
                  </a:lnTo>
                  <a:lnTo>
                    <a:pt x="1661" y="3535"/>
                  </a:lnTo>
                  <a:lnTo>
                    <a:pt x="1712" y="3561"/>
                  </a:lnTo>
                  <a:lnTo>
                    <a:pt x="1764" y="3590"/>
                  </a:lnTo>
                  <a:lnTo>
                    <a:pt x="1816" y="3620"/>
                  </a:lnTo>
                  <a:lnTo>
                    <a:pt x="1869" y="3653"/>
                  </a:lnTo>
                  <a:lnTo>
                    <a:pt x="1922" y="3687"/>
                  </a:lnTo>
                  <a:lnTo>
                    <a:pt x="1975" y="3724"/>
                  </a:lnTo>
                  <a:lnTo>
                    <a:pt x="2028" y="3761"/>
                  </a:lnTo>
                  <a:lnTo>
                    <a:pt x="2082" y="3801"/>
                  </a:lnTo>
                  <a:lnTo>
                    <a:pt x="2082" y="3801"/>
                  </a:lnTo>
                  <a:lnTo>
                    <a:pt x="2906" y="2794"/>
                  </a:lnTo>
                  <a:lnTo>
                    <a:pt x="2906" y="2794"/>
                  </a:lnTo>
                  <a:close/>
                  <a:moveTo>
                    <a:pt x="2526" y="1113"/>
                  </a:moveTo>
                  <a:lnTo>
                    <a:pt x="2526" y="1113"/>
                  </a:lnTo>
                  <a:lnTo>
                    <a:pt x="3136" y="0"/>
                  </a:lnTo>
                  <a:lnTo>
                    <a:pt x="3136" y="0"/>
                  </a:lnTo>
                  <a:lnTo>
                    <a:pt x="3175" y="6"/>
                  </a:lnTo>
                  <a:lnTo>
                    <a:pt x="3216" y="13"/>
                  </a:lnTo>
                  <a:lnTo>
                    <a:pt x="3256" y="22"/>
                  </a:lnTo>
                  <a:lnTo>
                    <a:pt x="3298" y="32"/>
                  </a:lnTo>
                  <a:lnTo>
                    <a:pt x="3340" y="42"/>
                  </a:lnTo>
                  <a:lnTo>
                    <a:pt x="3382" y="54"/>
                  </a:lnTo>
                  <a:lnTo>
                    <a:pt x="3426" y="67"/>
                  </a:lnTo>
                  <a:lnTo>
                    <a:pt x="3470" y="81"/>
                  </a:lnTo>
                  <a:lnTo>
                    <a:pt x="3513" y="96"/>
                  </a:lnTo>
                  <a:lnTo>
                    <a:pt x="3558" y="112"/>
                  </a:lnTo>
                  <a:lnTo>
                    <a:pt x="3603" y="129"/>
                  </a:lnTo>
                  <a:lnTo>
                    <a:pt x="3647" y="147"/>
                  </a:lnTo>
                  <a:lnTo>
                    <a:pt x="3693" y="165"/>
                  </a:lnTo>
                  <a:lnTo>
                    <a:pt x="3740" y="186"/>
                  </a:lnTo>
                  <a:lnTo>
                    <a:pt x="3786" y="207"/>
                  </a:lnTo>
                  <a:lnTo>
                    <a:pt x="3832" y="229"/>
                  </a:lnTo>
                  <a:lnTo>
                    <a:pt x="3880" y="252"/>
                  </a:lnTo>
                  <a:lnTo>
                    <a:pt x="3927" y="276"/>
                  </a:lnTo>
                  <a:lnTo>
                    <a:pt x="3975" y="301"/>
                  </a:lnTo>
                  <a:lnTo>
                    <a:pt x="4023" y="327"/>
                  </a:lnTo>
                  <a:lnTo>
                    <a:pt x="4072" y="354"/>
                  </a:lnTo>
                  <a:lnTo>
                    <a:pt x="4119" y="381"/>
                  </a:lnTo>
                  <a:lnTo>
                    <a:pt x="4168" y="410"/>
                  </a:lnTo>
                  <a:lnTo>
                    <a:pt x="4217" y="439"/>
                  </a:lnTo>
                  <a:lnTo>
                    <a:pt x="4266" y="471"/>
                  </a:lnTo>
                  <a:lnTo>
                    <a:pt x="4316" y="502"/>
                  </a:lnTo>
                  <a:lnTo>
                    <a:pt x="4365" y="534"/>
                  </a:lnTo>
                  <a:lnTo>
                    <a:pt x="4415" y="568"/>
                  </a:lnTo>
                  <a:lnTo>
                    <a:pt x="4463" y="602"/>
                  </a:lnTo>
                  <a:lnTo>
                    <a:pt x="4513" y="636"/>
                  </a:lnTo>
                  <a:lnTo>
                    <a:pt x="4563" y="673"/>
                  </a:lnTo>
                  <a:lnTo>
                    <a:pt x="4613" y="709"/>
                  </a:lnTo>
                  <a:lnTo>
                    <a:pt x="4613" y="709"/>
                  </a:lnTo>
                  <a:lnTo>
                    <a:pt x="3785" y="1721"/>
                  </a:lnTo>
                  <a:lnTo>
                    <a:pt x="3785" y="1721"/>
                  </a:lnTo>
                  <a:lnTo>
                    <a:pt x="3699" y="1659"/>
                  </a:lnTo>
                  <a:lnTo>
                    <a:pt x="3615" y="1600"/>
                  </a:lnTo>
                  <a:lnTo>
                    <a:pt x="3531" y="1545"/>
                  </a:lnTo>
                  <a:lnTo>
                    <a:pt x="3448" y="1492"/>
                  </a:lnTo>
                  <a:lnTo>
                    <a:pt x="3365" y="1442"/>
                  </a:lnTo>
                  <a:lnTo>
                    <a:pt x="3282" y="1395"/>
                  </a:lnTo>
                  <a:lnTo>
                    <a:pt x="3200" y="1352"/>
                  </a:lnTo>
                  <a:lnTo>
                    <a:pt x="3120" y="1311"/>
                  </a:lnTo>
                  <a:lnTo>
                    <a:pt x="3081" y="1293"/>
                  </a:lnTo>
                  <a:lnTo>
                    <a:pt x="3041" y="1275"/>
                  </a:lnTo>
                  <a:lnTo>
                    <a:pt x="3002" y="1257"/>
                  </a:lnTo>
                  <a:lnTo>
                    <a:pt x="2962" y="1242"/>
                  </a:lnTo>
                  <a:lnTo>
                    <a:pt x="2924" y="1226"/>
                  </a:lnTo>
                  <a:lnTo>
                    <a:pt x="2885" y="1211"/>
                  </a:lnTo>
                  <a:lnTo>
                    <a:pt x="2848" y="1198"/>
                  </a:lnTo>
                  <a:lnTo>
                    <a:pt x="2810" y="1184"/>
                  </a:lnTo>
                  <a:lnTo>
                    <a:pt x="2773" y="1173"/>
                  </a:lnTo>
                  <a:lnTo>
                    <a:pt x="2737" y="1161"/>
                  </a:lnTo>
                  <a:lnTo>
                    <a:pt x="2700" y="1151"/>
                  </a:lnTo>
                  <a:lnTo>
                    <a:pt x="2665" y="1142"/>
                  </a:lnTo>
                  <a:lnTo>
                    <a:pt x="2630" y="1133"/>
                  </a:lnTo>
                  <a:lnTo>
                    <a:pt x="2594" y="1126"/>
                  </a:lnTo>
                  <a:lnTo>
                    <a:pt x="2560" y="1120"/>
                  </a:lnTo>
                  <a:lnTo>
                    <a:pt x="2526" y="1113"/>
                  </a:lnTo>
                  <a:lnTo>
                    <a:pt x="2526" y="1113"/>
                  </a:lnTo>
                  <a:close/>
                  <a:moveTo>
                    <a:pt x="0" y="5722"/>
                  </a:moveTo>
                  <a:lnTo>
                    <a:pt x="0" y="5722"/>
                  </a:lnTo>
                  <a:lnTo>
                    <a:pt x="261" y="5248"/>
                  </a:lnTo>
                  <a:lnTo>
                    <a:pt x="639" y="4560"/>
                  </a:lnTo>
                  <a:lnTo>
                    <a:pt x="639" y="4560"/>
                  </a:lnTo>
                  <a:lnTo>
                    <a:pt x="671" y="4573"/>
                  </a:lnTo>
                  <a:lnTo>
                    <a:pt x="703" y="4586"/>
                  </a:lnTo>
                  <a:lnTo>
                    <a:pt x="736" y="4601"/>
                  </a:lnTo>
                  <a:lnTo>
                    <a:pt x="771" y="4617"/>
                  </a:lnTo>
                  <a:lnTo>
                    <a:pt x="804" y="4632"/>
                  </a:lnTo>
                  <a:lnTo>
                    <a:pt x="839" y="4650"/>
                  </a:lnTo>
                  <a:lnTo>
                    <a:pt x="874" y="4669"/>
                  </a:lnTo>
                  <a:lnTo>
                    <a:pt x="908" y="4688"/>
                  </a:lnTo>
                  <a:lnTo>
                    <a:pt x="943" y="4709"/>
                  </a:lnTo>
                  <a:lnTo>
                    <a:pt x="979" y="4731"/>
                  </a:lnTo>
                  <a:lnTo>
                    <a:pt x="1015" y="4754"/>
                  </a:lnTo>
                  <a:lnTo>
                    <a:pt x="1050" y="4778"/>
                  </a:lnTo>
                  <a:lnTo>
                    <a:pt x="1086" y="4803"/>
                  </a:lnTo>
                  <a:lnTo>
                    <a:pt x="1122" y="4829"/>
                  </a:lnTo>
                  <a:lnTo>
                    <a:pt x="1158" y="4855"/>
                  </a:lnTo>
                  <a:lnTo>
                    <a:pt x="1194" y="4883"/>
                  </a:lnTo>
                  <a:lnTo>
                    <a:pt x="1194" y="4883"/>
                  </a:lnTo>
                  <a:lnTo>
                    <a:pt x="677" y="5514"/>
                  </a:lnTo>
                  <a:lnTo>
                    <a:pt x="348" y="5914"/>
                  </a:lnTo>
                  <a:lnTo>
                    <a:pt x="348" y="5914"/>
                  </a:lnTo>
                  <a:lnTo>
                    <a:pt x="302" y="5880"/>
                  </a:lnTo>
                  <a:lnTo>
                    <a:pt x="257" y="5850"/>
                  </a:lnTo>
                  <a:lnTo>
                    <a:pt x="212" y="5822"/>
                  </a:lnTo>
                  <a:lnTo>
                    <a:pt x="168" y="5796"/>
                  </a:lnTo>
                  <a:lnTo>
                    <a:pt x="125" y="5773"/>
                  </a:lnTo>
                  <a:lnTo>
                    <a:pt x="82" y="5753"/>
                  </a:lnTo>
                  <a:lnTo>
                    <a:pt x="41" y="5737"/>
                  </a:lnTo>
                  <a:lnTo>
                    <a:pt x="0" y="5722"/>
                  </a:lnTo>
                  <a:lnTo>
                    <a:pt x="0" y="5722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9" name="Freeform 119"/>
            <p:cNvSpPr>
              <a:spLocks noEditPoints="1"/>
            </p:cNvSpPr>
            <p:nvPr/>
          </p:nvSpPr>
          <p:spPr bwMode="auto">
            <a:xfrm flipH="1">
              <a:off x="3147589" y="3743205"/>
              <a:ext cx="1781614" cy="1092560"/>
            </a:xfrm>
            <a:custGeom>
              <a:avLst/>
              <a:gdLst>
                <a:gd name="T0" fmla="*/ 7006 w 9661"/>
                <a:gd name="T1" fmla="*/ 1516 h 7624"/>
                <a:gd name="T2" fmla="*/ 7608 w 9661"/>
                <a:gd name="T3" fmla="*/ 2357 h 7624"/>
                <a:gd name="T4" fmla="*/ 7943 w 9661"/>
                <a:gd name="T5" fmla="*/ 3009 h 7624"/>
                <a:gd name="T6" fmla="*/ 8120 w 9661"/>
                <a:gd name="T7" fmla="*/ 3679 h 7624"/>
                <a:gd name="T8" fmla="*/ 8080 w 9661"/>
                <a:gd name="T9" fmla="*/ 4035 h 7624"/>
                <a:gd name="T10" fmla="*/ 7907 w 9661"/>
                <a:gd name="T11" fmla="*/ 4274 h 7624"/>
                <a:gd name="T12" fmla="*/ 9365 w 9661"/>
                <a:gd name="T13" fmla="*/ 5541 h 7624"/>
                <a:gd name="T14" fmla="*/ 9574 w 9661"/>
                <a:gd name="T15" fmla="*/ 5487 h 7624"/>
                <a:gd name="T16" fmla="*/ 9658 w 9661"/>
                <a:gd name="T17" fmla="*/ 5343 h 7624"/>
                <a:gd name="T18" fmla="*/ 7942 w 9661"/>
                <a:gd name="T19" fmla="*/ 458 h 7624"/>
                <a:gd name="T20" fmla="*/ 7662 w 9661"/>
                <a:gd name="T21" fmla="*/ 49 h 7624"/>
                <a:gd name="T22" fmla="*/ 6944 w 9661"/>
                <a:gd name="T23" fmla="*/ 4363 h 7624"/>
                <a:gd name="T24" fmla="*/ 6900 w 9661"/>
                <a:gd name="T25" fmla="*/ 4651 h 7624"/>
                <a:gd name="T26" fmla="*/ 6793 w 9661"/>
                <a:gd name="T27" fmla="*/ 4840 h 7624"/>
                <a:gd name="T28" fmla="*/ 5794 w 9661"/>
                <a:gd name="T29" fmla="*/ 5202 h 7624"/>
                <a:gd name="T30" fmla="*/ 5829 w 9661"/>
                <a:gd name="T31" fmla="*/ 4912 h 7624"/>
                <a:gd name="T32" fmla="*/ 6777 w 9661"/>
                <a:gd name="T33" fmla="*/ 3646 h 7624"/>
                <a:gd name="T34" fmla="*/ 6483 w 9661"/>
                <a:gd name="T35" fmla="*/ 3077 h 7624"/>
                <a:gd name="T36" fmla="*/ 6058 w 9661"/>
                <a:gd name="T37" fmla="*/ 2482 h 7624"/>
                <a:gd name="T38" fmla="*/ 5537 w 9661"/>
                <a:gd name="T39" fmla="*/ 1915 h 7624"/>
                <a:gd name="T40" fmla="*/ 4179 w 9661"/>
                <a:gd name="T41" fmla="*/ 2468 h 7624"/>
                <a:gd name="T42" fmla="*/ 4826 w 9661"/>
                <a:gd name="T43" fmla="*/ 3060 h 7624"/>
                <a:gd name="T44" fmla="*/ 5242 w 9661"/>
                <a:gd name="T45" fmla="*/ 3561 h 7624"/>
                <a:gd name="T46" fmla="*/ 5554 w 9661"/>
                <a:gd name="T47" fmla="*/ 4057 h 7624"/>
                <a:gd name="T48" fmla="*/ 2273 w 9661"/>
                <a:gd name="T49" fmla="*/ 1910 h 7624"/>
                <a:gd name="T50" fmla="*/ 2596 w 9661"/>
                <a:gd name="T51" fmla="*/ 1791 h 7624"/>
                <a:gd name="T52" fmla="*/ 3354 w 9661"/>
                <a:gd name="T53" fmla="*/ 677 h 7624"/>
                <a:gd name="T54" fmla="*/ 2938 w 9661"/>
                <a:gd name="T55" fmla="*/ 731 h 7624"/>
                <a:gd name="T56" fmla="*/ 2789 w 9661"/>
                <a:gd name="T57" fmla="*/ 4828 h 7624"/>
                <a:gd name="T58" fmla="*/ 3227 w 9661"/>
                <a:gd name="T59" fmla="*/ 3484 h 7624"/>
                <a:gd name="T60" fmla="*/ 3780 w 9661"/>
                <a:gd name="T61" fmla="*/ 3977 h 7624"/>
                <a:gd name="T62" fmla="*/ 4387 w 9661"/>
                <a:gd name="T63" fmla="*/ 4779 h 7624"/>
                <a:gd name="T64" fmla="*/ 4000 w 9661"/>
                <a:gd name="T65" fmla="*/ 5373 h 7624"/>
                <a:gd name="T66" fmla="*/ 3922 w 9661"/>
                <a:gd name="T67" fmla="*/ 5481 h 7624"/>
                <a:gd name="T68" fmla="*/ 4013 w 9661"/>
                <a:gd name="T69" fmla="*/ 5512 h 7624"/>
                <a:gd name="T70" fmla="*/ 4594 w 9661"/>
                <a:gd name="T71" fmla="*/ 5245 h 7624"/>
                <a:gd name="T72" fmla="*/ 4641 w 9661"/>
                <a:gd name="T73" fmla="*/ 5735 h 7624"/>
                <a:gd name="T74" fmla="*/ 4574 w 9661"/>
                <a:gd name="T75" fmla="*/ 5899 h 7624"/>
                <a:gd name="T76" fmla="*/ 3549 w 9661"/>
                <a:gd name="T77" fmla="*/ 6255 h 7624"/>
                <a:gd name="T78" fmla="*/ 3474 w 9661"/>
                <a:gd name="T79" fmla="*/ 5823 h 7624"/>
                <a:gd name="T80" fmla="*/ 3130 w 9661"/>
                <a:gd name="T81" fmla="*/ 5222 h 7624"/>
                <a:gd name="T82" fmla="*/ 1235 w 9661"/>
                <a:gd name="T83" fmla="*/ 4099 h 7624"/>
                <a:gd name="T84" fmla="*/ 1446 w 9661"/>
                <a:gd name="T85" fmla="*/ 4065 h 7624"/>
                <a:gd name="T86" fmla="*/ 2137 w 9661"/>
                <a:gd name="T87" fmla="*/ 2966 h 7624"/>
                <a:gd name="T88" fmla="*/ 1814 w 9661"/>
                <a:gd name="T89" fmla="*/ 2992 h 7624"/>
                <a:gd name="T90" fmla="*/ 775 w 9661"/>
                <a:gd name="T91" fmla="*/ 5201 h 7624"/>
                <a:gd name="T92" fmla="*/ 298 w 9661"/>
                <a:gd name="T93" fmla="*/ 6406 h 7624"/>
                <a:gd name="T94" fmla="*/ 2423 w 9661"/>
                <a:gd name="T95" fmla="*/ 6895 h 7624"/>
                <a:gd name="T96" fmla="*/ 2321 w 9661"/>
                <a:gd name="T97" fmla="*/ 6547 h 7624"/>
                <a:gd name="T98" fmla="*/ 2081 w 9661"/>
                <a:gd name="T99" fmla="*/ 6152 h 7624"/>
                <a:gd name="T100" fmla="*/ 1762 w 9661"/>
                <a:gd name="T101" fmla="*/ 5789 h 7624"/>
                <a:gd name="T102" fmla="*/ 669 w 9661"/>
                <a:gd name="T103" fmla="*/ 6604 h 7624"/>
                <a:gd name="T104" fmla="*/ 1094 w 9661"/>
                <a:gd name="T105" fmla="*/ 7063 h 7624"/>
                <a:gd name="T106" fmla="*/ 1224 w 9661"/>
                <a:gd name="T107" fmla="*/ 7360 h 7624"/>
                <a:gd name="T108" fmla="*/ 2426 w 9661"/>
                <a:gd name="T109" fmla="*/ 6924 h 7624"/>
                <a:gd name="T110" fmla="*/ 685 w 9661"/>
                <a:gd name="T111" fmla="*/ 7506 h 7624"/>
                <a:gd name="T112" fmla="*/ 566 w 9661"/>
                <a:gd name="T113" fmla="*/ 7245 h 7624"/>
                <a:gd name="T114" fmla="*/ 246 w 9661"/>
                <a:gd name="T115" fmla="*/ 6975 h 7624"/>
                <a:gd name="T116" fmla="*/ 71 w 9661"/>
                <a:gd name="T117" fmla="*/ 6940 h 7624"/>
                <a:gd name="T118" fmla="*/ 3 w 9661"/>
                <a:gd name="T119" fmla="*/ 7008 h 7624"/>
                <a:gd name="T120" fmla="*/ 38 w 9661"/>
                <a:gd name="T121" fmla="*/ 7184 h 7624"/>
                <a:gd name="T122" fmla="*/ 308 w 9661"/>
                <a:gd name="T123" fmla="*/ 7504 h 7624"/>
                <a:gd name="T124" fmla="*/ 569 w 9661"/>
                <a:gd name="T125" fmla="*/ 7624 h 7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661" h="7624">
                  <a:moveTo>
                    <a:pt x="7616" y="0"/>
                  </a:moveTo>
                  <a:lnTo>
                    <a:pt x="6581" y="1038"/>
                  </a:lnTo>
                  <a:lnTo>
                    <a:pt x="6581" y="1038"/>
                  </a:lnTo>
                  <a:lnTo>
                    <a:pt x="6599" y="1055"/>
                  </a:lnTo>
                  <a:lnTo>
                    <a:pt x="6648" y="1107"/>
                  </a:lnTo>
                  <a:lnTo>
                    <a:pt x="6724" y="1190"/>
                  </a:lnTo>
                  <a:lnTo>
                    <a:pt x="6771" y="1243"/>
                  </a:lnTo>
                  <a:lnTo>
                    <a:pt x="6824" y="1301"/>
                  </a:lnTo>
                  <a:lnTo>
                    <a:pt x="6880" y="1367"/>
                  </a:lnTo>
                  <a:lnTo>
                    <a:pt x="6942" y="1439"/>
                  </a:lnTo>
                  <a:lnTo>
                    <a:pt x="7006" y="1516"/>
                  </a:lnTo>
                  <a:lnTo>
                    <a:pt x="7073" y="1599"/>
                  </a:lnTo>
                  <a:lnTo>
                    <a:pt x="7142" y="1687"/>
                  </a:lnTo>
                  <a:lnTo>
                    <a:pt x="7213" y="1780"/>
                  </a:lnTo>
                  <a:lnTo>
                    <a:pt x="7286" y="1876"/>
                  </a:lnTo>
                  <a:lnTo>
                    <a:pt x="7358" y="1978"/>
                  </a:lnTo>
                  <a:lnTo>
                    <a:pt x="7430" y="2082"/>
                  </a:lnTo>
                  <a:lnTo>
                    <a:pt x="7467" y="2135"/>
                  </a:lnTo>
                  <a:lnTo>
                    <a:pt x="7503" y="2190"/>
                  </a:lnTo>
                  <a:lnTo>
                    <a:pt x="7538" y="2244"/>
                  </a:lnTo>
                  <a:lnTo>
                    <a:pt x="7574" y="2301"/>
                  </a:lnTo>
                  <a:lnTo>
                    <a:pt x="7608" y="2357"/>
                  </a:lnTo>
                  <a:lnTo>
                    <a:pt x="7642" y="2414"/>
                  </a:lnTo>
                  <a:lnTo>
                    <a:pt x="7677" y="2471"/>
                  </a:lnTo>
                  <a:lnTo>
                    <a:pt x="7710" y="2530"/>
                  </a:lnTo>
                  <a:lnTo>
                    <a:pt x="7742" y="2588"/>
                  </a:lnTo>
                  <a:lnTo>
                    <a:pt x="7773" y="2647"/>
                  </a:lnTo>
                  <a:lnTo>
                    <a:pt x="7805" y="2707"/>
                  </a:lnTo>
                  <a:lnTo>
                    <a:pt x="7834" y="2767"/>
                  </a:lnTo>
                  <a:lnTo>
                    <a:pt x="7863" y="2827"/>
                  </a:lnTo>
                  <a:lnTo>
                    <a:pt x="7891" y="2887"/>
                  </a:lnTo>
                  <a:lnTo>
                    <a:pt x="7917" y="2949"/>
                  </a:lnTo>
                  <a:lnTo>
                    <a:pt x="7943" y="3009"/>
                  </a:lnTo>
                  <a:lnTo>
                    <a:pt x="7967" y="3071"/>
                  </a:lnTo>
                  <a:lnTo>
                    <a:pt x="7990" y="3131"/>
                  </a:lnTo>
                  <a:lnTo>
                    <a:pt x="8010" y="3192"/>
                  </a:lnTo>
                  <a:lnTo>
                    <a:pt x="8030" y="3254"/>
                  </a:lnTo>
                  <a:lnTo>
                    <a:pt x="8048" y="3314"/>
                  </a:lnTo>
                  <a:lnTo>
                    <a:pt x="8065" y="3376"/>
                  </a:lnTo>
                  <a:lnTo>
                    <a:pt x="8080" y="3437"/>
                  </a:lnTo>
                  <a:lnTo>
                    <a:pt x="8093" y="3498"/>
                  </a:lnTo>
                  <a:lnTo>
                    <a:pt x="8104" y="3558"/>
                  </a:lnTo>
                  <a:lnTo>
                    <a:pt x="8113" y="3619"/>
                  </a:lnTo>
                  <a:lnTo>
                    <a:pt x="8120" y="3679"/>
                  </a:lnTo>
                  <a:lnTo>
                    <a:pt x="8125" y="3738"/>
                  </a:lnTo>
                  <a:lnTo>
                    <a:pt x="8128" y="3798"/>
                  </a:lnTo>
                  <a:lnTo>
                    <a:pt x="8129" y="3857"/>
                  </a:lnTo>
                  <a:lnTo>
                    <a:pt x="8129" y="3857"/>
                  </a:lnTo>
                  <a:lnTo>
                    <a:pt x="8127" y="3872"/>
                  </a:lnTo>
                  <a:lnTo>
                    <a:pt x="8125" y="3891"/>
                  </a:lnTo>
                  <a:lnTo>
                    <a:pt x="8120" y="3914"/>
                  </a:lnTo>
                  <a:lnTo>
                    <a:pt x="8112" y="3944"/>
                  </a:lnTo>
                  <a:lnTo>
                    <a:pt x="8102" y="3978"/>
                  </a:lnTo>
                  <a:lnTo>
                    <a:pt x="8088" y="4016"/>
                  </a:lnTo>
                  <a:lnTo>
                    <a:pt x="8080" y="4035"/>
                  </a:lnTo>
                  <a:lnTo>
                    <a:pt x="8071" y="4055"/>
                  </a:lnTo>
                  <a:lnTo>
                    <a:pt x="8060" y="4076"/>
                  </a:lnTo>
                  <a:lnTo>
                    <a:pt x="8048" y="4098"/>
                  </a:lnTo>
                  <a:lnTo>
                    <a:pt x="8035" y="4120"/>
                  </a:lnTo>
                  <a:lnTo>
                    <a:pt x="8022" y="4142"/>
                  </a:lnTo>
                  <a:lnTo>
                    <a:pt x="8006" y="4164"/>
                  </a:lnTo>
                  <a:lnTo>
                    <a:pt x="7989" y="4186"/>
                  </a:lnTo>
                  <a:lnTo>
                    <a:pt x="7971" y="4208"/>
                  </a:lnTo>
                  <a:lnTo>
                    <a:pt x="7951" y="4230"/>
                  </a:lnTo>
                  <a:lnTo>
                    <a:pt x="7929" y="4252"/>
                  </a:lnTo>
                  <a:lnTo>
                    <a:pt x="7907" y="4274"/>
                  </a:lnTo>
                  <a:lnTo>
                    <a:pt x="7882" y="4295"/>
                  </a:lnTo>
                  <a:lnTo>
                    <a:pt x="7855" y="4316"/>
                  </a:lnTo>
                  <a:lnTo>
                    <a:pt x="7826" y="4335"/>
                  </a:lnTo>
                  <a:lnTo>
                    <a:pt x="7796" y="4354"/>
                  </a:lnTo>
                  <a:lnTo>
                    <a:pt x="7764" y="4373"/>
                  </a:lnTo>
                  <a:lnTo>
                    <a:pt x="7730" y="4391"/>
                  </a:lnTo>
                  <a:lnTo>
                    <a:pt x="7730" y="4391"/>
                  </a:lnTo>
                  <a:lnTo>
                    <a:pt x="7237" y="4627"/>
                  </a:lnTo>
                  <a:lnTo>
                    <a:pt x="7027" y="4727"/>
                  </a:lnTo>
                  <a:lnTo>
                    <a:pt x="9365" y="5541"/>
                  </a:lnTo>
                  <a:lnTo>
                    <a:pt x="9365" y="5541"/>
                  </a:lnTo>
                  <a:lnTo>
                    <a:pt x="9372" y="5542"/>
                  </a:lnTo>
                  <a:lnTo>
                    <a:pt x="9392" y="5542"/>
                  </a:lnTo>
                  <a:lnTo>
                    <a:pt x="9420" y="5540"/>
                  </a:lnTo>
                  <a:lnTo>
                    <a:pt x="9438" y="5539"/>
                  </a:lnTo>
                  <a:lnTo>
                    <a:pt x="9456" y="5536"/>
                  </a:lnTo>
                  <a:lnTo>
                    <a:pt x="9475" y="5532"/>
                  </a:lnTo>
                  <a:lnTo>
                    <a:pt x="9495" y="5526"/>
                  </a:lnTo>
                  <a:lnTo>
                    <a:pt x="9516" y="5519"/>
                  </a:lnTo>
                  <a:lnTo>
                    <a:pt x="9536" y="5511"/>
                  </a:lnTo>
                  <a:lnTo>
                    <a:pt x="9555" y="5500"/>
                  </a:lnTo>
                  <a:lnTo>
                    <a:pt x="9574" y="5487"/>
                  </a:lnTo>
                  <a:lnTo>
                    <a:pt x="9583" y="5481"/>
                  </a:lnTo>
                  <a:lnTo>
                    <a:pt x="9592" y="5472"/>
                  </a:lnTo>
                  <a:lnTo>
                    <a:pt x="9600" y="5464"/>
                  </a:lnTo>
                  <a:lnTo>
                    <a:pt x="9608" y="5454"/>
                  </a:lnTo>
                  <a:lnTo>
                    <a:pt x="9608" y="5454"/>
                  </a:lnTo>
                  <a:lnTo>
                    <a:pt x="9622" y="5436"/>
                  </a:lnTo>
                  <a:lnTo>
                    <a:pt x="9633" y="5417"/>
                  </a:lnTo>
                  <a:lnTo>
                    <a:pt x="9643" y="5398"/>
                  </a:lnTo>
                  <a:lnTo>
                    <a:pt x="9650" y="5379"/>
                  </a:lnTo>
                  <a:lnTo>
                    <a:pt x="9655" y="5361"/>
                  </a:lnTo>
                  <a:lnTo>
                    <a:pt x="9658" y="5343"/>
                  </a:lnTo>
                  <a:lnTo>
                    <a:pt x="9661" y="5326"/>
                  </a:lnTo>
                  <a:lnTo>
                    <a:pt x="9661" y="5311"/>
                  </a:lnTo>
                  <a:lnTo>
                    <a:pt x="9661" y="5296"/>
                  </a:lnTo>
                  <a:lnTo>
                    <a:pt x="9661" y="5283"/>
                  </a:lnTo>
                  <a:lnTo>
                    <a:pt x="9658" y="5261"/>
                  </a:lnTo>
                  <a:lnTo>
                    <a:pt x="9655" y="5247"/>
                  </a:lnTo>
                  <a:lnTo>
                    <a:pt x="9654" y="5242"/>
                  </a:lnTo>
                  <a:lnTo>
                    <a:pt x="7960" y="500"/>
                  </a:lnTo>
                  <a:lnTo>
                    <a:pt x="7960" y="500"/>
                  </a:lnTo>
                  <a:lnTo>
                    <a:pt x="7955" y="490"/>
                  </a:lnTo>
                  <a:lnTo>
                    <a:pt x="7942" y="458"/>
                  </a:lnTo>
                  <a:lnTo>
                    <a:pt x="7931" y="438"/>
                  </a:lnTo>
                  <a:lnTo>
                    <a:pt x="7919" y="411"/>
                  </a:lnTo>
                  <a:lnTo>
                    <a:pt x="7902" y="381"/>
                  </a:lnTo>
                  <a:lnTo>
                    <a:pt x="7885" y="349"/>
                  </a:lnTo>
                  <a:lnTo>
                    <a:pt x="7863" y="312"/>
                  </a:lnTo>
                  <a:lnTo>
                    <a:pt x="7838" y="274"/>
                  </a:lnTo>
                  <a:lnTo>
                    <a:pt x="7810" y="232"/>
                  </a:lnTo>
                  <a:lnTo>
                    <a:pt x="7779" y="190"/>
                  </a:lnTo>
                  <a:lnTo>
                    <a:pt x="7743" y="144"/>
                  </a:lnTo>
                  <a:lnTo>
                    <a:pt x="7705" y="97"/>
                  </a:lnTo>
                  <a:lnTo>
                    <a:pt x="7662" y="49"/>
                  </a:lnTo>
                  <a:lnTo>
                    <a:pt x="7616" y="0"/>
                  </a:lnTo>
                  <a:lnTo>
                    <a:pt x="7616" y="0"/>
                  </a:lnTo>
                  <a:close/>
                  <a:moveTo>
                    <a:pt x="5789" y="4645"/>
                  </a:moveTo>
                  <a:lnTo>
                    <a:pt x="5789" y="4645"/>
                  </a:lnTo>
                  <a:lnTo>
                    <a:pt x="6913" y="4080"/>
                  </a:lnTo>
                  <a:lnTo>
                    <a:pt x="6913" y="4080"/>
                  </a:lnTo>
                  <a:lnTo>
                    <a:pt x="6923" y="4140"/>
                  </a:lnTo>
                  <a:lnTo>
                    <a:pt x="6932" y="4197"/>
                  </a:lnTo>
                  <a:lnTo>
                    <a:pt x="6939" y="4254"/>
                  </a:lnTo>
                  <a:lnTo>
                    <a:pt x="6942" y="4309"/>
                  </a:lnTo>
                  <a:lnTo>
                    <a:pt x="6944" y="4363"/>
                  </a:lnTo>
                  <a:lnTo>
                    <a:pt x="6943" y="4415"/>
                  </a:lnTo>
                  <a:lnTo>
                    <a:pt x="6941" y="4441"/>
                  </a:lnTo>
                  <a:lnTo>
                    <a:pt x="6939" y="4466"/>
                  </a:lnTo>
                  <a:lnTo>
                    <a:pt x="6937" y="4491"/>
                  </a:lnTo>
                  <a:lnTo>
                    <a:pt x="6933" y="4515"/>
                  </a:lnTo>
                  <a:lnTo>
                    <a:pt x="6929" y="4539"/>
                  </a:lnTo>
                  <a:lnTo>
                    <a:pt x="6924" y="4562"/>
                  </a:lnTo>
                  <a:lnTo>
                    <a:pt x="6919" y="4584"/>
                  </a:lnTo>
                  <a:lnTo>
                    <a:pt x="6914" y="4607"/>
                  </a:lnTo>
                  <a:lnTo>
                    <a:pt x="6907" y="4629"/>
                  </a:lnTo>
                  <a:lnTo>
                    <a:pt x="6900" y="4651"/>
                  </a:lnTo>
                  <a:lnTo>
                    <a:pt x="6892" y="4672"/>
                  </a:lnTo>
                  <a:lnTo>
                    <a:pt x="6884" y="4693"/>
                  </a:lnTo>
                  <a:lnTo>
                    <a:pt x="6875" y="4713"/>
                  </a:lnTo>
                  <a:lnTo>
                    <a:pt x="6865" y="4732"/>
                  </a:lnTo>
                  <a:lnTo>
                    <a:pt x="6854" y="4752"/>
                  </a:lnTo>
                  <a:lnTo>
                    <a:pt x="6844" y="4771"/>
                  </a:lnTo>
                  <a:lnTo>
                    <a:pt x="6832" y="4789"/>
                  </a:lnTo>
                  <a:lnTo>
                    <a:pt x="6820" y="4806"/>
                  </a:lnTo>
                  <a:lnTo>
                    <a:pt x="6807" y="4823"/>
                  </a:lnTo>
                  <a:lnTo>
                    <a:pt x="6793" y="4840"/>
                  </a:lnTo>
                  <a:lnTo>
                    <a:pt x="6793" y="4840"/>
                  </a:lnTo>
                  <a:lnTo>
                    <a:pt x="5707" y="5359"/>
                  </a:lnTo>
                  <a:lnTo>
                    <a:pt x="5707" y="5359"/>
                  </a:lnTo>
                  <a:lnTo>
                    <a:pt x="5719" y="5343"/>
                  </a:lnTo>
                  <a:lnTo>
                    <a:pt x="5731" y="5327"/>
                  </a:lnTo>
                  <a:lnTo>
                    <a:pt x="5742" y="5311"/>
                  </a:lnTo>
                  <a:lnTo>
                    <a:pt x="5752" y="5294"/>
                  </a:lnTo>
                  <a:lnTo>
                    <a:pt x="5762" y="5276"/>
                  </a:lnTo>
                  <a:lnTo>
                    <a:pt x="5770" y="5259"/>
                  </a:lnTo>
                  <a:lnTo>
                    <a:pt x="5779" y="5240"/>
                  </a:lnTo>
                  <a:lnTo>
                    <a:pt x="5787" y="5221"/>
                  </a:lnTo>
                  <a:lnTo>
                    <a:pt x="5794" y="5202"/>
                  </a:lnTo>
                  <a:lnTo>
                    <a:pt x="5800" y="5183"/>
                  </a:lnTo>
                  <a:lnTo>
                    <a:pt x="5806" y="5162"/>
                  </a:lnTo>
                  <a:lnTo>
                    <a:pt x="5812" y="5141"/>
                  </a:lnTo>
                  <a:lnTo>
                    <a:pt x="5816" y="5120"/>
                  </a:lnTo>
                  <a:lnTo>
                    <a:pt x="5820" y="5098"/>
                  </a:lnTo>
                  <a:lnTo>
                    <a:pt x="5823" y="5076"/>
                  </a:lnTo>
                  <a:lnTo>
                    <a:pt x="5826" y="5054"/>
                  </a:lnTo>
                  <a:lnTo>
                    <a:pt x="5828" y="5031"/>
                  </a:lnTo>
                  <a:lnTo>
                    <a:pt x="5829" y="5009"/>
                  </a:lnTo>
                  <a:lnTo>
                    <a:pt x="5831" y="4961"/>
                  </a:lnTo>
                  <a:lnTo>
                    <a:pt x="5829" y="4912"/>
                  </a:lnTo>
                  <a:lnTo>
                    <a:pt x="5826" y="4861"/>
                  </a:lnTo>
                  <a:lnTo>
                    <a:pt x="5820" y="4808"/>
                  </a:lnTo>
                  <a:lnTo>
                    <a:pt x="5813" y="4755"/>
                  </a:lnTo>
                  <a:lnTo>
                    <a:pt x="5802" y="4701"/>
                  </a:lnTo>
                  <a:lnTo>
                    <a:pt x="5789" y="4645"/>
                  </a:lnTo>
                  <a:lnTo>
                    <a:pt x="5789" y="4645"/>
                  </a:lnTo>
                  <a:close/>
                  <a:moveTo>
                    <a:pt x="5695" y="4357"/>
                  </a:moveTo>
                  <a:lnTo>
                    <a:pt x="5695" y="4357"/>
                  </a:lnTo>
                  <a:lnTo>
                    <a:pt x="6797" y="3696"/>
                  </a:lnTo>
                  <a:lnTo>
                    <a:pt x="6797" y="3696"/>
                  </a:lnTo>
                  <a:lnTo>
                    <a:pt x="6777" y="3646"/>
                  </a:lnTo>
                  <a:lnTo>
                    <a:pt x="6756" y="3597"/>
                  </a:lnTo>
                  <a:lnTo>
                    <a:pt x="6734" y="3546"/>
                  </a:lnTo>
                  <a:lnTo>
                    <a:pt x="6711" y="3495"/>
                  </a:lnTo>
                  <a:lnTo>
                    <a:pt x="6686" y="3444"/>
                  </a:lnTo>
                  <a:lnTo>
                    <a:pt x="6661" y="3392"/>
                  </a:lnTo>
                  <a:lnTo>
                    <a:pt x="6634" y="3340"/>
                  </a:lnTo>
                  <a:lnTo>
                    <a:pt x="6606" y="3288"/>
                  </a:lnTo>
                  <a:lnTo>
                    <a:pt x="6577" y="3235"/>
                  </a:lnTo>
                  <a:lnTo>
                    <a:pt x="6547" y="3183"/>
                  </a:lnTo>
                  <a:lnTo>
                    <a:pt x="6515" y="3130"/>
                  </a:lnTo>
                  <a:lnTo>
                    <a:pt x="6483" y="3077"/>
                  </a:lnTo>
                  <a:lnTo>
                    <a:pt x="6450" y="3023"/>
                  </a:lnTo>
                  <a:lnTo>
                    <a:pt x="6416" y="2969"/>
                  </a:lnTo>
                  <a:lnTo>
                    <a:pt x="6380" y="2915"/>
                  </a:lnTo>
                  <a:lnTo>
                    <a:pt x="6344" y="2861"/>
                  </a:lnTo>
                  <a:lnTo>
                    <a:pt x="6305" y="2807"/>
                  </a:lnTo>
                  <a:lnTo>
                    <a:pt x="6267" y="2753"/>
                  </a:lnTo>
                  <a:lnTo>
                    <a:pt x="6228" y="2699"/>
                  </a:lnTo>
                  <a:lnTo>
                    <a:pt x="6187" y="2644"/>
                  </a:lnTo>
                  <a:lnTo>
                    <a:pt x="6145" y="2590"/>
                  </a:lnTo>
                  <a:lnTo>
                    <a:pt x="6103" y="2536"/>
                  </a:lnTo>
                  <a:lnTo>
                    <a:pt x="6058" y="2482"/>
                  </a:lnTo>
                  <a:lnTo>
                    <a:pt x="6013" y="2428"/>
                  </a:lnTo>
                  <a:lnTo>
                    <a:pt x="5969" y="2373"/>
                  </a:lnTo>
                  <a:lnTo>
                    <a:pt x="5922" y="2319"/>
                  </a:lnTo>
                  <a:lnTo>
                    <a:pt x="5874" y="2265"/>
                  </a:lnTo>
                  <a:lnTo>
                    <a:pt x="5825" y="2212"/>
                  </a:lnTo>
                  <a:lnTo>
                    <a:pt x="5776" y="2158"/>
                  </a:lnTo>
                  <a:lnTo>
                    <a:pt x="5725" y="2105"/>
                  </a:lnTo>
                  <a:lnTo>
                    <a:pt x="5674" y="2051"/>
                  </a:lnTo>
                  <a:lnTo>
                    <a:pt x="5621" y="1998"/>
                  </a:lnTo>
                  <a:lnTo>
                    <a:pt x="5621" y="1998"/>
                  </a:lnTo>
                  <a:lnTo>
                    <a:pt x="5537" y="1915"/>
                  </a:lnTo>
                  <a:lnTo>
                    <a:pt x="5452" y="1834"/>
                  </a:lnTo>
                  <a:lnTo>
                    <a:pt x="5367" y="1756"/>
                  </a:lnTo>
                  <a:lnTo>
                    <a:pt x="5280" y="1680"/>
                  </a:lnTo>
                  <a:lnTo>
                    <a:pt x="5194" y="1606"/>
                  </a:lnTo>
                  <a:lnTo>
                    <a:pt x="5107" y="1535"/>
                  </a:lnTo>
                  <a:lnTo>
                    <a:pt x="5020" y="1466"/>
                  </a:lnTo>
                  <a:lnTo>
                    <a:pt x="4934" y="1399"/>
                  </a:lnTo>
                  <a:lnTo>
                    <a:pt x="4934" y="1399"/>
                  </a:lnTo>
                  <a:lnTo>
                    <a:pt x="4106" y="2411"/>
                  </a:lnTo>
                  <a:lnTo>
                    <a:pt x="4106" y="2411"/>
                  </a:lnTo>
                  <a:lnTo>
                    <a:pt x="4179" y="2468"/>
                  </a:lnTo>
                  <a:lnTo>
                    <a:pt x="4254" y="2528"/>
                  </a:lnTo>
                  <a:lnTo>
                    <a:pt x="4328" y="2588"/>
                  </a:lnTo>
                  <a:lnTo>
                    <a:pt x="4403" y="2652"/>
                  </a:lnTo>
                  <a:lnTo>
                    <a:pt x="4477" y="2717"/>
                  </a:lnTo>
                  <a:lnTo>
                    <a:pt x="4551" y="2785"/>
                  </a:lnTo>
                  <a:lnTo>
                    <a:pt x="4623" y="2855"/>
                  </a:lnTo>
                  <a:lnTo>
                    <a:pt x="4696" y="2926"/>
                  </a:lnTo>
                  <a:lnTo>
                    <a:pt x="4696" y="2926"/>
                  </a:lnTo>
                  <a:lnTo>
                    <a:pt x="4740" y="2970"/>
                  </a:lnTo>
                  <a:lnTo>
                    <a:pt x="4783" y="3015"/>
                  </a:lnTo>
                  <a:lnTo>
                    <a:pt x="4826" y="3060"/>
                  </a:lnTo>
                  <a:lnTo>
                    <a:pt x="4868" y="3105"/>
                  </a:lnTo>
                  <a:lnTo>
                    <a:pt x="4909" y="3151"/>
                  </a:lnTo>
                  <a:lnTo>
                    <a:pt x="4949" y="3197"/>
                  </a:lnTo>
                  <a:lnTo>
                    <a:pt x="4988" y="3241"/>
                  </a:lnTo>
                  <a:lnTo>
                    <a:pt x="5027" y="3287"/>
                  </a:lnTo>
                  <a:lnTo>
                    <a:pt x="5065" y="3333"/>
                  </a:lnTo>
                  <a:lnTo>
                    <a:pt x="5102" y="3379"/>
                  </a:lnTo>
                  <a:lnTo>
                    <a:pt x="5138" y="3425"/>
                  </a:lnTo>
                  <a:lnTo>
                    <a:pt x="5173" y="3470"/>
                  </a:lnTo>
                  <a:lnTo>
                    <a:pt x="5208" y="3515"/>
                  </a:lnTo>
                  <a:lnTo>
                    <a:pt x="5242" y="3561"/>
                  </a:lnTo>
                  <a:lnTo>
                    <a:pt x="5274" y="3607"/>
                  </a:lnTo>
                  <a:lnTo>
                    <a:pt x="5306" y="3653"/>
                  </a:lnTo>
                  <a:lnTo>
                    <a:pt x="5338" y="3698"/>
                  </a:lnTo>
                  <a:lnTo>
                    <a:pt x="5368" y="3744"/>
                  </a:lnTo>
                  <a:lnTo>
                    <a:pt x="5397" y="3788"/>
                  </a:lnTo>
                  <a:lnTo>
                    <a:pt x="5425" y="3834"/>
                  </a:lnTo>
                  <a:lnTo>
                    <a:pt x="5453" y="3879"/>
                  </a:lnTo>
                  <a:lnTo>
                    <a:pt x="5480" y="3924"/>
                  </a:lnTo>
                  <a:lnTo>
                    <a:pt x="5505" y="3969"/>
                  </a:lnTo>
                  <a:lnTo>
                    <a:pt x="5530" y="4012"/>
                  </a:lnTo>
                  <a:lnTo>
                    <a:pt x="5554" y="4057"/>
                  </a:lnTo>
                  <a:lnTo>
                    <a:pt x="5577" y="4101"/>
                  </a:lnTo>
                  <a:lnTo>
                    <a:pt x="5600" y="4144"/>
                  </a:lnTo>
                  <a:lnTo>
                    <a:pt x="5620" y="4187"/>
                  </a:lnTo>
                  <a:lnTo>
                    <a:pt x="5640" y="4230"/>
                  </a:lnTo>
                  <a:lnTo>
                    <a:pt x="5660" y="4273"/>
                  </a:lnTo>
                  <a:lnTo>
                    <a:pt x="5678" y="4316"/>
                  </a:lnTo>
                  <a:lnTo>
                    <a:pt x="5695" y="4357"/>
                  </a:lnTo>
                  <a:lnTo>
                    <a:pt x="5695" y="4357"/>
                  </a:lnTo>
                  <a:close/>
                  <a:moveTo>
                    <a:pt x="2788" y="823"/>
                  </a:moveTo>
                  <a:lnTo>
                    <a:pt x="2788" y="823"/>
                  </a:lnTo>
                  <a:lnTo>
                    <a:pt x="2273" y="1910"/>
                  </a:lnTo>
                  <a:lnTo>
                    <a:pt x="2273" y="1910"/>
                  </a:lnTo>
                  <a:lnTo>
                    <a:pt x="2299" y="1890"/>
                  </a:lnTo>
                  <a:lnTo>
                    <a:pt x="2327" y="1871"/>
                  </a:lnTo>
                  <a:lnTo>
                    <a:pt x="2356" y="1856"/>
                  </a:lnTo>
                  <a:lnTo>
                    <a:pt x="2387" y="1841"/>
                  </a:lnTo>
                  <a:lnTo>
                    <a:pt x="2418" y="1829"/>
                  </a:lnTo>
                  <a:lnTo>
                    <a:pt x="2452" y="1817"/>
                  </a:lnTo>
                  <a:lnTo>
                    <a:pt x="2486" y="1809"/>
                  </a:lnTo>
                  <a:lnTo>
                    <a:pt x="2521" y="1801"/>
                  </a:lnTo>
                  <a:lnTo>
                    <a:pt x="2559" y="1795"/>
                  </a:lnTo>
                  <a:lnTo>
                    <a:pt x="2596" y="1791"/>
                  </a:lnTo>
                  <a:lnTo>
                    <a:pt x="2636" y="1789"/>
                  </a:lnTo>
                  <a:lnTo>
                    <a:pt x="2676" y="1789"/>
                  </a:lnTo>
                  <a:lnTo>
                    <a:pt x="2717" y="1790"/>
                  </a:lnTo>
                  <a:lnTo>
                    <a:pt x="2759" y="1793"/>
                  </a:lnTo>
                  <a:lnTo>
                    <a:pt x="2803" y="1797"/>
                  </a:lnTo>
                  <a:lnTo>
                    <a:pt x="2847" y="1803"/>
                  </a:lnTo>
                  <a:lnTo>
                    <a:pt x="2847" y="1803"/>
                  </a:lnTo>
                  <a:lnTo>
                    <a:pt x="3457" y="690"/>
                  </a:lnTo>
                  <a:lnTo>
                    <a:pt x="3457" y="690"/>
                  </a:lnTo>
                  <a:lnTo>
                    <a:pt x="3405" y="682"/>
                  </a:lnTo>
                  <a:lnTo>
                    <a:pt x="3354" y="677"/>
                  </a:lnTo>
                  <a:lnTo>
                    <a:pt x="3305" y="675"/>
                  </a:lnTo>
                  <a:lnTo>
                    <a:pt x="3256" y="674"/>
                  </a:lnTo>
                  <a:lnTo>
                    <a:pt x="3209" y="675"/>
                  </a:lnTo>
                  <a:lnTo>
                    <a:pt x="3164" y="678"/>
                  </a:lnTo>
                  <a:lnTo>
                    <a:pt x="3120" y="683"/>
                  </a:lnTo>
                  <a:lnTo>
                    <a:pt x="3076" y="690"/>
                  </a:lnTo>
                  <a:lnTo>
                    <a:pt x="3035" y="699"/>
                  </a:lnTo>
                  <a:lnTo>
                    <a:pt x="2995" y="710"/>
                  </a:lnTo>
                  <a:lnTo>
                    <a:pt x="2976" y="717"/>
                  </a:lnTo>
                  <a:lnTo>
                    <a:pt x="2957" y="724"/>
                  </a:lnTo>
                  <a:lnTo>
                    <a:pt x="2938" y="731"/>
                  </a:lnTo>
                  <a:lnTo>
                    <a:pt x="2919" y="740"/>
                  </a:lnTo>
                  <a:lnTo>
                    <a:pt x="2902" y="748"/>
                  </a:lnTo>
                  <a:lnTo>
                    <a:pt x="2884" y="757"/>
                  </a:lnTo>
                  <a:lnTo>
                    <a:pt x="2867" y="767"/>
                  </a:lnTo>
                  <a:lnTo>
                    <a:pt x="2851" y="777"/>
                  </a:lnTo>
                  <a:lnTo>
                    <a:pt x="2834" y="788"/>
                  </a:lnTo>
                  <a:lnTo>
                    <a:pt x="2819" y="799"/>
                  </a:lnTo>
                  <a:lnTo>
                    <a:pt x="2803" y="811"/>
                  </a:lnTo>
                  <a:lnTo>
                    <a:pt x="2788" y="823"/>
                  </a:lnTo>
                  <a:lnTo>
                    <a:pt x="2788" y="823"/>
                  </a:lnTo>
                  <a:close/>
                  <a:moveTo>
                    <a:pt x="2789" y="4828"/>
                  </a:moveTo>
                  <a:lnTo>
                    <a:pt x="2789" y="4828"/>
                  </a:lnTo>
                  <a:lnTo>
                    <a:pt x="2742" y="4781"/>
                  </a:lnTo>
                  <a:lnTo>
                    <a:pt x="2694" y="4736"/>
                  </a:lnTo>
                  <a:lnTo>
                    <a:pt x="2646" y="4692"/>
                  </a:lnTo>
                  <a:lnTo>
                    <a:pt x="2597" y="4649"/>
                  </a:lnTo>
                  <a:lnTo>
                    <a:pt x="2548" y="4607"/>
                  </a:lnTo>
                  <a:lnTo>
                    <a:pt x="2499" y="4567"/>
                  </a:lnTo>
                  <a:lnTo>
                    <a:pt x="2452" y="4528"/>
                  </a:lnTo>
                  <a:lnTo>
                    <a:pt x="2403" y="4491"/>
                  </a:lnTo>
                  <a:lnTo>
                    <a:pt x="2403" y="4491"/>
                  </a:lnTo>
                  <a:lnTo>
                    <a:pt x="3227" y="3484"/>
                  </a:lnTo>
                  <a:lnTo>
                    <a:pt x="3227" y="3484"/>
                  </a:lnTo>
                  <a:lnTo>
                    <a:pt x="3288" y="3530"/>
                  </a:lnTo>
                  <a:lnTo>
                    <a:pt x="3349" y="3579"/>
                  </a:lnTo>
                  <a:lnTo>
                    <a:pt x="3410" y="3629"/>
                  </a:lnTo>
                  <a:lnTo>
                    <a:pt x="3470" y="3681"/>
                  </a:lnTo>
                  <a:lnTo>
                    <a:pt x="3531" y="3734"/>
                  </a:lnTo>
                  <a:lnTo>
                    <a:pt x="3591" y="3789"/>
                  </a:lnTo>
                  <a:lnTo>
                    <a:pt x="3651" y="3847"/>
                  </a:lnTo>
                  <a:lnTo>
                    <a:pt x="3711" y="3905"/>
                  </a:lnTo>
                  <a:lnTo>
                    <a:pt x="3711" y="3905"/>
                  </a:lnTo>
                  <a:lnTo>
                    <a:pt x="3780" y="3977"/>
                  </a:lnTo>
                  <a:lnTo>
                    <a:pt x="3849" y="4050"/>
                  </a:lnTo>
                  <a:lnTo>
                    <a:pt x="3913" y="4122"/>
                  </a:lnTo>
                  <a:lnTo>
                    <a:pt x="3977" y="4196"/>
                  </a:lnTo>
                  <a:lnTo>
                    <a:pt x="4037" y="4269"/>
                  </a:lnTo>
                  <a:lnTo>
                    <a:pt x="4095" y="4343"/>
                  </a:lnTo>
                  <a:lnTo>
                    <a:pt x="4150" y="4416"/>
                  </a:lnTo>
                  <a:lnTo>
                    <a:pt x="4203" y="4490"/>
                  </a:lnTo>
                  <a:lnTo>
                    <a:pt x="4253" y="4563"/>
                  </a:lnTo>
                  <a:lnTo>
                    <a:pt x="4301" y="4636"/>
                  </a:lnTo>
                  <a:lnTo>
                    <a:pt x="4346" y="4707"/>
                  </a:lnTo>
                  <a:lnTo>
                    <a:pt x="4387" y="4779"/>
                  </a:lnTo>
                  <a:lnTo>
                    <a:pt x="4426" y="4850"/>
                  </a:lnTo>
                  <a:lnTo>
                    <a:pt x="4462" y="4920"/>
                  </a:lnTo>
                  <a:lnTo>
                    <a:pt x="4495" y="4990"/>
                  </a:lnTo>
                  <a:lnTo>
                    <a:pt x="4526" y="5057"/>
                  </a:lnTo>
                  <a:lnTo>
                    <a:pt x="4526" y="5057"/>
                  </a:lnTo>
                  <a:lnTo>
                    <a:pt x="4217" y="5242"/>
                  </a:lnTo>
                  <a:lnTo>
                    <a:pt x="4059" y="5335"/>
                  </a:lnTo>
                  <a:lnTo>
                    <a:pt x="4059" y="5335"/>
                  </a:lnTo>
                  <a:lnTo>
                    <a:pt x="4037" y="5348"/>
                  </a:lnTo>
                  <a:lnTo>
                    <a:pt x="4017" y="5361"/>
                  </a:lnTo>
                  <a:lnTo>
                    <a:pt x="4000" y="5373"/>
                  </a:lnTo>
                  <a:lnTo>
                    <a:pt x="3984" y="5386"/>
                  </a:lnTo>
                  <a:lnTo>
                    <a:pt x="3969" y="5397"/>
                  </a:lnTo>
                  <a:lnTo>
                    <a:pt x="3957" y="5409"/>
                  </a:lnTo>
                  <a:lnTo>
                    <a:pt x="3948" y="5419"/>
                  </a:lnTo>
                  <a:lnTo>
                    <a:pt x="3938" y="5429"/>
                  </a:lnTo>
                  <a:lnTo>
                    <a:pt x="3932" y="5440"/>
                  </a:lnTo>
                  <a:lnTo>
                    <a:pt x="3927" y="5449"/>
                  </a:lnTo>
                  <a:lnTo>
                    <a:pt x="3923" y="5458"/>
                  </a:lnTo>
                  <a:lnTo>
                    <a:pt x="3921" y="5466"/>
                  </a:lnTo>
                  <a:lnTo>
                    <a:pt x="3921" y="5474"/>
                  </a:lnTo>
                  <a:lnTo>
                    <a:pt x="3922" y="5481"/>
                  </a:lnTo>
                  <a:lnTo>
                    <a:pt x="3924" y="5488"/>
                  </a:lnTo>
                  <a:lnTo>
                    <a:pt x="3928" y="5493"/>
                  </a:lnTo>
                  <a:lnTo>
                    <a:pt x="3933" y="5498"/>
                  </a:lnTo>
                  <a:lnTo>
                    <a:pt x="3939" y="5502"/>
                  </a:lnTo>
                  <a:lnTo>
                    <a:pt x="3947" y="5507"/>
                  </a:lnTo>
                  <a:lnTo>
                    <a:pt x="3955" y="5510"/>
                  </a:lnTo>
                  <a:lnTo>
                    <a:pt x="3964" y="5512"/>
                  </a:lnTo>
                  <a:lnTo>
                    <a:pt x="3976" y="5513"/>
                  </a:lnTo>
                  <a:lnTo>
                    <a:pt x="3987" y="5514"/>
                  </a:lnTo>
                  <a:lnTo>
                    <a:pt x="4000" y="5513"/>
                  </a:lnTo>
                  <a:lnTo>
                    <a:pt x="4013" y="5512"/>
                  </a:lnTo>
                  <a:lnTo>
                    <a:pt x="4028" y="5510"/>
                  </a:lnTo>
                  <a:lnTo>
                    <a:pt x="4043" y="5507"/>
                  </a:lnTo>
                  <a:lnTo>
                    <a:pt x="4059" y="5502"/>
                  </a:lnTo>
                  <a:lnTo>
                    <a:pt x="4075" y="5497"/>
                  </a:lnTo>
                  <a:lnTo>
                    <a:pt x="4093" y="5491"/>
                  </a:lnTo>
                  <a:lnTo>
                    <a:pt x="4111" y="5484"/>
                  </a:lnTo>
                  <a:lnTo>
                    <a:pt x="4130" y="5475"/>
                  </a:lnTo>
                  <a:lnTo>
                    <a:pt x="4130" y="5475"/>
                  </a:lnTo>
                  <a:lnTo>
                    <a:pt x="4281" y="5401"/>
                  </a:lnTo>
                  <a:lnTo>
                    <a:pt x="4594" y="5245"/>
                  </a:lnTo>
                  <a:lnTo>
                    <a:pt x="4594" y="5245"/>
                  </a:lnTo>
                  <a:lnTo>
                    <a:pt x="4609" y="5295"/>
                  </a:lnTo>
                  <a:lnTo>
                    <a:pt x="4621" y="5344"/>
                  </a:lnTo>
                  <a:lnTo>
                    <a:pt x="4633" y="5393"/>
                  </a:lnTo>
                  <a:lnTo>
                    <a:pt x="4641" y="5440"/>
                  </a:lnTo>
                  <a:lnTo>
                    <a:pt x="4647" y="5486"/>
                  </a:lnTo>
                  <a:lnTo>
                    <a:pt x="4652" y="5531"/>
                  </a:lnTo>
                  <a:lnTo>
                    <a:pt x="4655" y="5574"/>
                  </a:lnTo>
                  <a:lnTo>
                    <a:pt x="4655" y="5617"/>
                  </a:lnTo>
                  <a:lnTo>
                    <a:pt x="4652" y="5658"/>
                  </a:lnTo>
                  <a:lnTo>
                    <a:pt x="4648" y="5697"/>
                  </a:lnTo>
                  <a:lnTo>
                    <a:pt x="4641" y="5735"/>
                  </a:lnTo>
                  <a:lnTo>
                    <a:pt x="4637" y="5754"/>
                  </a:lnTo>
                  <a:lnTo>
                    <a:pt x="4633" y="5771"/>
                  </a:lnTo>
                  <a:lnTo>
                    <a:pt x="4628" y="5789"/>
                  </a:lnTo>
                  <a:lnTo>
                    <a:pt x="4621" y="5806"/>
                  </a:lnTo>
                  <a:lnTo>
                    <a:pt x="4615" y="5822"/>
                  </a:lnTo>
                  <a:lnTo>
                    <a:pt x="4608" y="5839"/>
                  </a:lnTo>
                  <a:lnTo>
                    <a:pt x="4600" y="5855"/>
                  </a:lnTo>
                  <a:lnTo>
                    <a:pt x="4592" y="5870"/>
                  </a:lnTo>
                  <a:lnTo>
                    <a:pt x="4584" y="5885"/>
                  </a:lnTo>
                  <a:lnTo>
                    <a:pt x="4574" y="5899"/>
                  </a:lnTo>
                  <a:lnTo>
                    <a:pt x="4574" y="5899"/>
                  </a:lnTo>
                  <a:lnTo>
                    <a:pt x="3506" y="6409"/>
                  </a:lnTo>
                  <a:lnTo>
                    <a:pt x="3506" y="6409"/>
                  </a:lnTo>
                  <a:lnTo>
                    <a:pt x="3514" y="6393"/>
                  </a:lnTo>
                  <a:lnTo>
                    <a:pt x="3520" y="6378"/>
                  </a:lnTo>
                  <a:lnTo>
                    <a:pt x="3527" y="6362"/>
                  </a:lnTo>
                  <a:lnTo>
                    <a:pt x="3532" y="6345"/>
                  </a:lnTo>
                  <a:lnTo>
                    <a:pt x="3537" y="6328"/>
                  </a:lnTo>
                  <a:lnTo>
                    <a:pt x="3541" y="6310"/>
                  </a:lnTo>
                  <a:lnTo>
                    <a:pt x="3544" y="6292"/>
                  </a:lnTo>
                  <a:lnTo>
                    <a:pt x="3547" y="6273"/>
                  </a:lnTo>
                  <a:lnTo>
                    <a:pt x="3549" y="6255"/>
                  </a:lnTo>
                  <a:lnTo>
                    <a:pt x="3551" y="6235"/>
                  </a:lnTo>
                  <a:lnTo>
                    <a:pt x="3553" y="6215"/>
                  </a:lnTo>
                  <a:lnTo>
                    <a:pt x="3553" y="6195"/>
                  </a:lnTo>
                  <a:lnTo>
                    <a:pt x="3551" y="6154"/>
                  </a:lnTo>
                  <a:lnTo>
                    <a:pt x="3547" y="6110"/>
                  </a:lnTo>
                  <a:lnTo>
                    <a:pt x="3541" y="6065"/>
                  </a:lnTo>
                  <a:lnTo>
                    <a:pt x="3532" y="6019"/>
                  </a:lnTo>
                  <a:lnTo>
                    <a:pt x="3521" y="5972"/>
                  </a:lnTo>
                  <a:lnTo>
                    <a:pt x="3508" y="5923"/>
                  </a:lnTo>
                  <a:lnTo>
                    <a:pt x="3491" y="5874"/>
                  </a:lnTo>
                  <a:lnTo>
                    <a:pt x="3474" y="5823"/>
                  </a:lnTo>
                  <a:lnTo>
                    <a:pt x="3453" y="5772"/>
                  </a:lnTo>
                  <a:lnTo>
                    <a:pt x="3431" y="5720"/>
                  </a:lnTo>
                  <a:lnTo>
                    <a:pt x="3406" y="5666"/>
                  </a:lnTo>
                  <a:lnTo>
                    <a:pt x="3379" y="5613"/>
                  </a:lnTo>
                  <a:lnTo>
                    <a:pt x="3350" y="5558"/>
                  </a:lnTo>
                  <a:lnTo>
                    <a:pt x="3318" y="5503"/>
                  </a:lnTo>
                  <a:lnTo>
                    <a:pt x="3284" y="5447"/>
                  </a:lnTo>
                  <a:lnTo>
                    <a:pt x="3249" y="5392"/>
                  </a:lnTo>
                  <a:lnTo>
                    <a:pt x="3212" y="5336"/>
                  </a:lnTo>
                  <a:lnTo>
                    <a:pt x="3172" y="5278"/>
                  </a:lnTo>
                  <a:lnTo>
                    <a:pt x="3130" y="5222"/>
                  </a:lnTo>
                  <a:lnTo>
                    <a:pt x="3088" y="5166"/>
                  </a:lnTo>
                  <a:lnTo>
                    <a:pt x="3042" y="5109"/>
                  </a:lnTo>
                  <a:lnTo>
                    <a:pt x="2995" y="5052"/>
                  </a:lnTo>
                  <a:lnTo>
                    <a:pt x="2946" y="4996"/>
                  </a:lnTo>
                  <a:lnTo>
                    <a:pt x="2895" y="4940"/>
                  </a:lnTo>
                  <a:lnTo>
                    <a:pt x="2843" y="4883"/>
                  </a:lnTo>
                  <a:lnTo>
                    <a:pt x="2789" y="4828"/>
                  </a:lnTo>
                  <a:lnTo>
                    <a:pt x="2789" y="4828"/>
                  </a:lnTo>
                  <a:close/>
                  <a:moveTo>
                    <a:pt x="1745" y="3025"/>
                  </a:moveTo>
                  <a:lnTo>
                    <a:pt x="1745" y="3025"/>
                  </a:lnTo>
                  <a:lnTo>
                    <a:pt x="1235" y="4099"/>
                  </a:lnTo>
                  <a:lnTo>
                    <a:pt x="1235" y="4099"/>
                  </a:lnTo>
                  <a:lnTo>
                    <a:pt x="1254" y="4092"/>
                  </a:lnTo>
                  <a:lnTo>
                    <a:pt x="1273" y="4085"/>
                  </a:lnTo>
                  <a:lnTo>
                    <a:pt x="1292" y="4079"/>
                  </a:lnTo>
                  <a:lnTo>
                    <a:pt x="1313" y="4075"/>
                  </a:lnTo>
                  <a:lnTo>
                    <a:pt x="1334" y="4071"/>
                  </a:lnTo>
                  <a:lnTo>
                    <a:pt x="1355" y="4068"/>
                  </a:lnTo>
                  <a:lnTo>
                    <a:pt x="1378" y="4066"/>
                  </a:lnTo>
                  <a:lnTo>
                    <a:pt x="1399" y="4065"/>
                  </a:lnTo>
                  <a:lnTo>
                    <a:pt x="1423" y="4063"/>
                  </a:lnTo>
                  <a:lnTo>
                    <a:pt x="1446" y="4065"/>
                  </a:lnTo>
                  <a:lnTo>
                    <a:pt x="1471" y="4066"/>
                  </a:lnTo>
                  <a:lnTo>
                    <a:pt x="1495" y="4068"/>
                  </a:lnTo>
                  <a:lnTo>
                    <a:pt x="1520" y="4070"/>
                  </a:lnTo>
                  <a:lnTo>
                    <a:pt x="1546" y="4074"/>
                  </a:lnTo>
                  <a:lnTo>
                    <a:pt x="1572" y="4078"/>
                  </a:lnTo>
                  <a:lnTo>
                    <a:pt x="1599" y="4083"/>
                  </a:lnTo>
                  <a:lnTo>
                    <a:pt x="1599" y="4083"/>
                  </a:lnTo>
                  <a:lnTo>
                    <a:pt x="2204" y="2977"/>
                  </a:lnTo>
                  <a:lnTo>
                    <a:pt x="2204" y="2977"/>
                  </a:lnTo>
                  <a:lnTo>
                    <a:pt x="2170" y="2972"/>
                  </a:lnTo>
                  <a:lnTo>
                    <a:pt x="2137" y="2966"/>
                  </a:lnTo>
                  <a:lnTo>
                    <a:pt x="2103" y="2963"/>
                  </a:lnTo>
                  <a:lnTo>
                    <a:pt x="2071" y="2960"/>
                  </a:lnTo>
                  <a:lnTo>
                    <a:pt x="2040" y="2959"/>
                  </a:lnTo>
                  <a:lnTo>
                    <a:pt x="2009" y="2959"/>
                  </a:lnTo>
                  <a:lnTo>
                    <a:pt x="1979" y="2960"/>
                  </a:lnTo>
                  <a:lnTo>
                    <a:pt x="1949" y="2962"/>
                  </a:lnTo>
                  <a:lnTo>
                    <a:pt x="1920" y="2966"/>
                  </a:lnTo>
                  <a:lnTo>
                    <a:pt x="1892" y="2970"/>
                  </a:lnTo>
                  <a:lnTo>
                    <a:pt x="1866" y="2977"/>
                  </a:lnTo>
                  <a:lnTo>
                    <a:pt x="1839" y="2984"/>
                  </a:lnTo>
                  <a:lnTo>
                    <a:pt x="1814" y="2992"/>
                  </a:lnTo>
                  <a:lnTo>
                    <a:pt x="1790" y="3002"/>
                  </a:lnTo>
                  <a:lnTo>
                    <a:pt x="1766" y="3012"/>
                  </a:lnTo>
                  <a:lnTo>
                    <a:pt x="1745" y="3025"/>
                  </a:lnTo>
                  <a:lnTo>
                    <a:pt x="1745" y="3025"/>
                  </a:lnTo>
                  <a:close/>
                  <a:moveTo>
                    <a:pt x="156" y="6388"/>
                  </a:moveTo>
                  <a:lnTo>
                    <a:pt x="156" y="6388"/>
                  </a:lnTo>
                  <a:lnTo>
                    <a:pt x="398" y="5871"/>
                  </a:lnTo>
                  <a:lnTo>
                    <a:pt x="717" y="5194"/>
                  </a:lnTo>
                  <a:lnTo>
                    <a:pt x="717" y="5194"/>
                  </a:lnTo>
                  <a:lnTo>
                    <a:pt x="746" y="5197"/>
                  </a:lnTo>
                  <a:lnTo>
                    <a:pt x="775" y="5201"/>
                  </a:lnTo>
                  <a:lnTo>
                    <a:pt x="804" y="5206"/>
                  </a:lnTo>
                  <a:lnTo>
                    <a:pt x="834" y="5213"/>
                  </a:lnTo>
                  <a:lnTo>
                    <a:pt x="864" y="5220"/>
                  </a:lnTo>
                  <a:lnTo>
                    <a:pt x="895" y="5229"/>
                  </a:lnTo>
                  <a:lnTo>
                    <a:pt x="927" y="5239"/>
                  </a:lnTo>
                  <a:lnTo>
                    <a:pt x="960" y="5250"/>
                  </a:lnTo>
                  <a:lnTo>
                    <a:pt x="960" y="5250"/>
                  </a:lnTo>
                  <a:lnTo>
                    <a:pt x="582" y="5938"/>
                  </a:lnTo>
                  <a:lnTo>
                    <a:pt x="321" y="6412"/>
                  </a:lnTo>
                  <a:lnTo>
                    <a:pt x="321" y="6412"/>
                  </a:lnTo>
                  <a:lnTo>
                    <a:pt x="298" y="6406"/>
                  </a:lnTo>
                  <a:lnTo>
                    <a:pt x="277" y="6400"/>
                  </a:lnTo>
                  <a:lnTo>
                    <a:pt x="255" y="6395"/>
                  </a:lnTo>
                  <a:lnTo>
                    <a:pt x="234" y="6391"/>
                  </a:lnTo>
                  <a:lnTo>
                    <a:pt x="213" y="6389"/>
                  </a:lnTo>
                  <a:lnTo>
                    <a:pt x="193" y="6388"/>
                  </a:lnTo>
                  <a:lnTo>
                    <a:pt x="174" y="6387"/>
                  </a:lnTo>
                  <a:lnTo>
                    <a:pt x="156" y="6388"/>
                  </a:lnTo>
                  <a:lnTo>
                    <a:pt x="156" y="6388"/>
                  </a:lnTo>
                  <a:close/>
                  <a:moveTo>
                    <a:pt x="2426" y="6924"/>
                  </a:moveTo>
                  <a:lnTo>
                    <a:pt x="2426" y="6924"/>
                  </a:lnTo>
                  <a:lnTo>
                    <a:pt x="2423" y="6895"/>
                  </a:lnTo>
                  <a:lnTo>
                    <a:pt x="2420" y="6867"/>
                  </a:lnTo>
                  <a:lnTo>
                    <a:pt x="2416" y="6838"/>
                  </a:lnTo>
                  <a:lnTo>
                    <a:pt x="2410" y="6808"/>
                  </a:lnTo>
                  <a:lnTo>
                    <a:pt x="2403" y="6777"/>
                  </a:lnTo>
                  <a:lnTo>
                    <a:pt x="2395" y="6746"/>
                  </a:lnTo>
                  <a:lnTo>
                    <a:pt x="2386" y="6714"/>
                  </a:lnTo>
                  <a:lnTo>
                    <a:pt x="2375" y="6682"/>
                  </a:lnTo>
                  <a:lnTo>
                    <a:pt x="2363" y="6649"/>
                  </a:lnTo>
                  <a:lnTo>
                    <a:pt x="2351" y="6615"/>
                  </a:lnTo>
                  <a:lnTo>
                    <a:pt x="2336" y="6582"/>
                  </a:lnTo>
                  <a:lnTo>
                    <a:pt x="2321" y="6547"/>
                  </a:lnTo>
                  <a:lnTo>
                    <a:pt x="2305" y="6513"/>
                  </a:lnTo>
                  <a:lnTo>
                    <a:pt x="2287" y="6478"/>
                  </a:lnTo>
                  <a:lnTo>
                    <a:pt x="2269" y="6442"/>
                  </a:lnTo>
                  <a:lnTo>
                    <a:pt x="2249" y="6407"/>
                  </a:lnTo>
                  <a:lnTo>
                    <a:pt x="2228" y="6371"/>
                  </a:lnTo>
                  <a:lnTo>
                    <a:pt x="2206" y="6335"/>
                  </a:lnTo>
                  <a:lnTo>
                    <a:pt x="2183" y="6298"/>
                  </a:lnTo>
                  <a:lnTo>
                    <a:pt x="2159" y="6262"/>
                  </a:lnTo>
                  <a:lnTo>
                    <a:pt x="2134" y="6226"/>
                  </a:lnTo>
                  <a:lnTo>
                    <a:pt x="2108" y="6189"/>
                  </a:lnTo>
                  <a:lnTo>
                    <a:pt x="2081" y="6152"/>
                  </a:lnTo>
                  <a:lnTo>
                    <a:pt x="2053" y="6115"/>
                  </a:lnTo>
                  <a:lnTo>
                    <a:pt x="2025" y="6079"/>
                  </a:lnTo>
                  <a:lnTo>
                    <a:pt x="1995" y="6041"/>
                  </a:lnTo>
                  <a:lnTo>
                    <a:pt x="1964" y="6005"/>
                  </a:lnTo>
                  <a:lnTo>
                    <a:pt x="1933" y="5968"/>
                  </a:lnTo>
                  <a:lnTo>
                    <a:pt x="1901" y="5932"/>
                  </a:lnTo>
                  <a:lnTo>
                    <a:pt x="1866" y="5895"/>
                  </a:lnTo>
                  <a:lnTo>
                    <a:pt x="1832" y="5859"/>
                  </a:lnTo>
                  <a:lnTo>
                    <a:pt x="1797" y="5823"/>
                  </a:lnTo>
                  <a:lnTo>
                    <a:pt x="1797" y="5823"/>
                  </a:lnTo>
                  <a:lnTo>
                    <a:pt x="1762" y="5789"/>
                  </a:lnTo>
                  <a:lnTo>
                    <a:pt x="1727" y="5756"/>
                  </a:lnTo>
                  <a:lnTo>
                    <a:pt x="1693" y="5723"/>
                  </a:lnTo>
                  <a:lnTo>
                    <a:pt x="1657" y="5691"/>
                  </a:lnTo>
                  <a:lnTo>
                    <a:pt x="1622" y="5661"/>
                  </a:lnTo>
                  <a:lnTo>
                    <a:pt x="1587" y="5631"/>
                  </a:lnTo>
                  <a:lnTo>
                    <a:pt x="1550" y="5601"/>
                  </a:lnTo>
                  <a:lnTo>
                    <a:pt x="1515" y="5573"/>
                  </a:lnTo>
                  <a:lnTo>
                    <a:pt x="1515" y="5573"/>
                  </a:lnTo>
                  <a:lnTo>
                    <a:pt x="998" y="6204"/>
                  </a:lnTo>
                  <a:lnTo>
                    <a:pt x="669" y="6604"/>
                  </a:lnTo>
                  <a:lnTo>
                    <a:pt x="669" y="6604"/>
                  </a:lnTo>
                  <a:lnTo>
                    <a:pt x="715" y="6641"/>
                  </a:lnTo>
                  <a:lnTo>
                    <a:pt x="762" y="6681"/>
                  </a:lnTo>
                  <a:lnTo>
                    <a:pt x="809" y="6723"/>
                  </a:lnTo>
                  <a:lnTo>
                    <a:pt x="855" y="6767"/>
                  </a:lnTo>
                  <a:lnTo>
                    <a:pt x="855" y="6767"/>
                  </a:lnTo>
                  <a:lnTo>
                    <a:pt x="901" y="6816"/>
                  </a:lnTo>
                  <a:lnTo>
                    <a:pt x="946" y="6865"/>
                  </a:lnTo>
                  <a:lnTo>
                    <a:pt x="988" y="6914"/>
                  </a:lnTo>
                  <a:lnTo>
                    <a:pt x="1026" y="6964"/>
                  </a:lnTo>
                  <a:lnTo>
                    <a:pt x="1062" y="7014"/>
                  </a:lnTo>
                  <a:lnTo>
                    <a:pt x="1094" y="7063"/>
                  </a:lnTo>
                  <a:lnTo>
                    <a:pt x="1123" y="7112"/>
                  </a:lnTo>
                  <a:lnTo>
                    <a:pt x="1149" y="7160"/>
                  </a:lnTo>
                  <a:lnTo>
                    <a:pt x="1161" y="7183"/>
                  </a:lnTo>
                  <a:lnTo>
                    <a:pt x="1172" y="7207"/>
                  </a:lnTo>
                  <a:lnTo>
                    <a:pt x="1182" y="7230"/>
                  </a:lnTo>
                  <a:lnTo>
                    <a:pt x="1192" y="7252"/>
                  </a:lnTo>
                  <a:lnTo>
                    <a:pt x="1200" y="7275"/>
                  </a:lnTo>
                  <a:lnTo>
                    <a:pt x="1207" y="7297"/>
                  </a:lnTo>
                  <a:lnTo>
                    <a:pt x="1213" y="7319"/>
                  </a:lnTo>
                  <a:lnTo>
                    <a:pt x="1220" y="7339"/>
                  </a:lnTo>
                  <a:lnTo>
                    <a:pt x="1224" y="7360"/>
                  </a:lnTo>
                  <a:lnTo>
                    <a:pt x="1228" y="7380"/>
                  </a:lnTo>
                  <a:lnTo>
                    <a:pt x="1231" y="7400"/>
                  </a:lnTo>
                  <a:lnTo>
                    <a:pt x="1233" y="7419"/>
                  </a:lnTo>
                  <a:lnTo>
                    <a:pt x="1234" y="7437"/>
                  </a:lnTo>
                  <a:lnTo>
                    <a:pt x="1234" y="7455"/>
                  </a:lnTo>
                  <a:lnTo>
                    <a:pt x="1233" y="7473"/>
                  </a:lnTo>
                  <a:lnTo>
                    <a:pt x="1231" y="7489"/>
                  </a:lnTo>
                  <a:lnTo>
                    <a:pt x="1231" y="7489"/>
                  </a:lnTo>
                  <a:lnTo>
                    <a:pt x="1738" y="7250"/>
                  </a:lnTo>
                  <a:lnTo>
                    <a:pt x="2426" y="6924"/>
                  </a:lnTo>
                  <a:lnTo>
                    <a:pt x="2426" y="6924"/>
                  </a:lnTo>
                  <a:close/>
                  <a:moveTo>
                    <a:pt x="658" y="7597"/>
                  </a:moveTo>
                  <a:lnTo>
                    <a:pt x="658" y="7597"/>
                  </a:lnTo>
                  <a:lnTo>
                    <a:pt x="664" y="7589"/>
                  </a:lnTo>
                  <a:lnTo>
                    <a:pt x="671" y="7581"/>
                  </a:lnTo>
                  <a:lnTo>
                    <a:pt x="675" y="7572"/>
                  </a:lnTo>
                  <a:lnTo>
                    <a:pt x="679" y="7562"/>
                  </a:lnTo>
                  <a:lnTo>
                    <a:pt x="682" y="7553"/>
                  </a:lnTo>
                  <a:lnTo>
                    <a:pt x="684" y="7541"/>
                  </a:lnTo>
                  <a:lnTo>
                    <a:pt x="685" y="7531"/>
                  </a:lnTo>
                  <a:lnTo>
                    <a:pt x="686" y="7519"/>
                  </a:lnTo>
                  <a:lnTo>
                    <a:pt x="685" y="7506"/>
                  </a:lnTo>
                  <a:lnTo>
                    <a:pt x="684" y="7494"/>
                  </a:lnTo>
                  <a:lnTo>
                    <a:pt x="682" y="7480"/>
                  </a:lnTo>
                  <a:lnTo>
                    <a:pt x="680" y="7466"/>
                  </a:lnTo>
                  <a:lnTo>
                    <a:pt x="676" y="7453"/>
                  </a:lnTo>
                  <a:lnTo>
                    <a:pt x="672" y="7438"/>
                  </a:lnTo>
                  <a:lnTo>
                    <a:pt x="661" y="7408"/>
                  </a:lnTo>
                  <a:lnTo>
                    <a:pt x="648" y="7377"/>
                  </a:lnTo>
                  <a:lnTo>
                    <a:pt x="631" y="7345"/>
                  </a:lnTo>
                  <a:lnTo>
                    <a:pt x="612" y="7312"/>
                  </a:lnTo>
                  <a:lnTo>
                    <a:pt x="590" y="7279"/>
                  </a:lnTo>
                  <a:lnTo>
                    <a:pt x="566" y="7245"/>
                  </a:lnTo>
                  <a:lnTo>
                    <a:pt x="539" y="7211"/>
                  </a:lnTo>
                  <a:lnTo>
                    <a:pt x="510" y="7178"/>
                  </a:lnTo>
                  <a:lnTo>
                    <a:pt x="478" y="7145"/>
                  </a:lnTo>
                  <a:lnTo>
                    <a:pt x="478" y="7145"/>
                  </a:lnTo>
                  <a:lnTo>
                    <a:pt x="445" y="7113"/>
                  </a:lnTo>
                  <a:lnTo>
                    <a:pt x="412" y="7084"/>
                  </a:lnTo>
                  <a:lnTo>
                    <a:pt x="379" y="7057"/>
                  </a:lnTo>
                  <a:lnTo>
                    <a:pt x="344" y="7033"/>
                  </a:lnTo>
                  <a:lnTo>
                    <a:pt x="311" y="7011"/>
                  </a:lnTo>
                  <a:lnTo>
                    <a:pt x="279" y="6991"/>
                  </a:lnTo>
                  <a:lnTo>
                    <a:pt x="246" y="6975"/>
                  </a:lnTo>
                  <a:lnTo>
                    <a:pt x="215" y="6961"/>
                  </a:lnTo>
                  <a:lnTo>
                    <a:pt x="185" y="6951"/>
                  </a:lnTo>
                  <a:lnTo>
                    <a:pt x="171" y="6947"/>
                  </a:lnTo>
                  <a:lnTo>
                    <a:pt x="157" y="6942"/>
                  </a:lnTo>
                  <a:lnTo>
                    <a:pt x="144" y="6940"/>
                  </a:lnTo>
                  <a:lnTo>
                    <a:pt x="130" y="6938"/>
                  </a:lnTo>
                  <a:lnTo>
                    <a:pt x="118" y="6937"/>
                  </a:lnTo>
                  <a:lnTo>
                    <a:pt x="105" y="6936"/>
                  </a:lnTo>
                  <a:lnTo>
                    <a:pt x="94" y="6937"/>
                  </a:lnTo>
                  <a:lnTo>
                    <a:pt x="82" y="6938"/>
                  </a:lnTo>
                  <a:lnTo>
                    <a:pt x="71" y="6940"/>
                  </a:lnTo>
                  <a:lnTo>
                    <a:pt x="61" y="6943"/>
                  </a:lnTo>
                  <a:lnTo>
                    <a:pt x="52" y="6948"/>
                  </a:lnTo>
                  <a:lnTo>
                    <a:pt x="43" y="6952"/>
                  </a:lnTo>
                  <a:lnTo>
                    <a:pt x="35" y="6958"/>
                  </a:lnTo>
                  <a:lnTo>
                    <a:pt x="27" y="6964"/>
                  </a:lnTo>
                  <a:lnTo>
                    <a:pt x="27" y="6964"/>
                  </a:lnTo>
                  <a:lnTo>
                    <a:pt x="21" y="6972"/>
                  </a:lnTo>
                  <a:lnTo>
                    <a:pt x="16" y="6980"/>
                  </a:lnTo>
                  <a:lnTo>
                    <a:pt x="10" y="6989"/>
                  </a:lnTo>
                  <a:lnTo>
                    <a:pt x="6" y="6999"/>
                  </a:lnTo>
                  <a:lnTo>
                    <a:pt x="3" y="7008"/>
                  </a:lnTo>
                  <a:lnTo>
                    <a:pt x="1" y="7019"/>
                  </a:lnTo>
                  <a:lnTo>
                    <a:pt x="0" y="7030"/>
                  </a:lnTo>
                  <a:lnTo>
                    <a:pt x="0" y="7042"/>
                  </a:lnTo>
                  <a:lnTo>
                    <a:pt x="0" y="7054"/>
                  </a:lnTo>
                  <a:lnTo>
                    <a:pt x="1" y="7067"/>
                  </a:lnTo>
                  <a:lnTo>
                    <a:pt x="3" y="7081"/>
                  </a:lnTo>
                  <a:lnTo>
                    <a:pt x="6" y="7095"/>
                  </a:lnTo>
                  <a:lnTo>
                    <a:pt x="9" y="7108"/>
                  </a:lnTo>
                  <a:lnTo>
                    <a:pt x="14" y="7123"/>
                  </a:lnTo>
                  <a:lnTo>
                    <a:pt x="24" y="7153"/>
                  </a:lnTo>
                  <a:lnTo>
                    <a:pt x="38" y="7184"/>
                  </a:lnTo>
                  <a:lnTo>
                    <a:pt x="54" y="7216"/>
                  </a:lnTo>
                  <a:lnTo>
                    <a:pt x="74" y="7249"/>
                  </a:lnTo>
                  <a:lnTo>
                    <a:pt x="96" y="7282"/>
                  </a:lnTo>
                  <a:lnTo>
                    <a:pt x="120" y="7315"/>
                  </a:lnTo>
                  <a:lnTo>
                    <a:pt x="147" y="7350"/>
                  </a:lnTo>
                  <a:lnTo>
                    <a:pt x="176" y="7383"/>
                  </a:lnTo>
                  <a:lnTo>
                    <a:pt x="208" y="7415"/>
                  </a:lnTo>
                  <a:lnTo>
                    <a:pt x="208" y="7415"/>
                  </a:lnTo>
                  <a:lnTo>
                    <a:pt x="240" y="7448"/>
                  </a:lnTo>
                  <a:lnTo>
                    <a:pt x="274" y="7477"/>
                  </a:lnTo>
                  <a:lnTo>
                    <a:pt x="308" y="7504"/>
                  </a:lnTo>
                  <a:lnTo>
                    <a:pt x="341" y="7528"/>
                  </a:lnTo>
                  <a:lnTo>
                    <a:pt x="374" y="7550"/>
                  </a:lnTo>
                  <a:lnTo>
                    <a:pt x="407" y="7570"/>
                  </a:lnTo>
                  <a:lnTo>
                    <a:pt x="439" y="7586"/>
                  </a:lnTo>
                  <a:lnTo>
                    <a:pt x="470" y="7600"/>
                  </a:lnTo>
                  <a:lnTo>
                    <a:pt x="500" y="7610"/>
                  </a:lnTo>
                  <a:lnTo>
                    <a:pt x="515" y="7614"/>
                  </a:lnTo>
                  <a:lnTo>
                    <a:pt x="528" y="7619"/>
                  </a:lnTo>
                  <a:lnTo>
                    <a:pt x="543" y="7621"/>
                  </a:lnTo>
                  <a:lnTo>
                    <a:pt x="555" y="7623"/>
                  </a:lnTo>
                  <a:lnTo>
                    <a:pt x="569" y="7624"/>
                  </a:lnTo>
                  <a:lnTo>
                    <a:pt x="580" y="7624"/>
                  </a:lnTo>
                  <a:lnTo>
                    <a:pt x="593" y="7624"/>
                  </a:lnTo>
                  <a:lnTo>
                    <a:pt x="604" y="7623"/>
                  </a:lnTo>
                  <a:lnTo>
                    <a:pt x="615" y="7621"/>
                  </a:lnTo>
                  <a:lnTo>
                    <a:pt x="624" y="7618"/>
                  </a:lnTo>
                  <a:lnTo>
                    <a:pt x="634" y="7613"/>
                  </a:lnTo>
                  <a:lnTo>
                    <a:pt x="643" y="7608"/>
                  </a:lnTo>
                  <a:lnTo>
                    <a:pt x="651" y="7603"/>
                  </a:lnTo>
                  <a:lnTo>
                    <a:pt x="658" y="7597"/>
                  </a:lnTo>
                  <a:lnTo>
                    <a:pt x="658" y="7597"/>
                  </a:lnTo>
                  <a:close/>
                </a:path>
              </a:pathLst>
            </a:custGeom>
            <a:solidFill>
              <a:srgbClr val="F15A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0" name="Freeform 122"/>
            <p:cNvSpPr>
              <a:spLocks/>
            </p:cNvSpPr>
            <p:nvPr/>
          </p:nvSpPr>
          <p:spPr bwMode="auto">
            <a:xfrm flipH="1">
              <a:off x="3137269" y="3441364"/>
              <a:ext cx="1395877" cy="1088690"/>
            </a:xfrm>
            <a:custGeom>
              <a:avLst/>
              <a:gdLst>
                <a:gd name="T0" fmla="*/ 7454 w 7573"/>
                <a:gd name="T1" fmla="*/ 7575 h 7590"/>
                <a:gd name="T2" fmla="*/ 7484 w 7573"/>
                <a:gd name="T3" fmla="*/ 7527 h 7590"/>
                <a:gd name="T4" fmla="*/ 7505 w 7573"/>
                <a:gd name="T5" fmla="*/ 7478 h 7590"/>
                <a:gd name="T6" fmla="*/ 7515 w 7573"/>
                <a:gd name="T7" fmla="*/ 7418 h 7590"/>
                <a:gd name="T8" fmla="*/ 7510 w 7573"/>
                <a:gd name="T9" fmla="*/ 7349 h 7590"/>
                <a:gd name="T10" fmla="*/ 7477 w 7573"/>
                <a:gd name="T11" fmla="*/ 7243 h 7590"/>
                <a:gd name="T12" fmla="*/ 6948 w 7573"/>
                <a:gd name="T13" fmla="*/ 5757 h 7590"/>
                <a:gd name="T14" fmla="*/ 5816 w 7573"/>
                <a:gd name="T15" fmla="*/ 2606 h 7590"/>
                <a:gd name="T16" fmla="*/ 5795 w 7573"/>
                <a:gd name="T17" fmla="*/ 2561 h 7590"/>
                <a:gd name="T18" fmla="*/ 5731 w 7573"/>
                <a:gd name="T19" fmla="*/ 2443 h 7590"/>
                <a:gd name="T20" fmla="*/ 5655 w 7573"/>
                <a:gd name="T21" fmla="*/ 2326 h 7590"/>
                <a:gd name="T22" fmla="*/ 5554 w 7573"/>
                <a:gd name="T23" fmla="*/ 2194 h 7590"/>
                <a:gd name="T24" fmla="*/ 5472 w 7573"/>
                <a:gd name="T25" fmla="*/ 2106 h 7590"/>
                <a:gd name="T26" fmla="*/ 5450 w 7573"/>
                <a:gd name="T27" fmla="*/ 2084 h 7590"/>
                <a:gd name="T28" fmla="*/ 5339 w 7573"/>
                <a:gd name="T29" fmla="*/ 1987 h 7590"/>
                <a:gd name="T30" fmla="*/ 5212 w 7573"/>
                <a:gd name="T31" fmla="*/ 1893 h 7590"/>
                <a:gd name="T32" fmla="*/ 5100 w 7573"/>
                <a:gd name="T33" fmla="*/ 1826 h 7590"/>
                <a:gd name="T34" fmla="*/ 4985 w 7573"/>
                <a:gd name="T35" fmla="*/ 1767 h 7590"/>
                <a:gd name="T36" fmla="*/ 4261 w 7573"/>
                <a:gd name="T37" fmla="*/ 1505 h 7590"/>
                <a:gd name="T38" fmla="*/ 1072 w 7573"/>
                <a:gd name="T39" fmla="*/ 355 h 7590"/>
                <a:gd name="T40" fmla="*/ 266 w 7573"/>
                <a:gd name="T41" fmla="*/ 69 h 7590"/>
                <a:gd name="T42" fmla="*/ 216 w 7573"/>
                <a:gd name="T43" fmla="*/ 58 h 7590"/>
                <a:gd name="T44" fmla="*/ 151 w 7573"/>
                <a:gd name="T45" fmla="*/ 60 h 7590"/>
                <a:gd name="T46" fmla="*/ 93 w 7573"/>
                <a:gd name="T47" fmla="*/ 74 h 7590"/>
                <a:gd name="T48" fmla="*/ 49 w 7573"/>
                <a:gd name="T49" fmla="*/ 96 h 7590"/>
                <a:gd name="T50" fmla="*/ 0 w 7573"/>
                <a:gd name="T51" fmla="*/ 132 h 7590"/>
                <a:gd name="T52" fmla="*/ 46 w 7573"/>
                <a:gd name="T53" fmla="*/ 87 h 7590"/>
                <a:gd name="T54" fmla="*/ 76 w 7573"/>
                <a:gd name="T55" fmla="*/ 60 h 7590"/>
                <a:gd name="T56" fmla="*/ 120 w 7573"/>
                <a:gd name="T57" fmla="*/ 30 h 7590"/>
                <a:gd name="T58" fmla="*/ 184 w 7573"/>
                <a:gd name="T59" fmla="*/ 7 h 7590"/>
                <a:gd name="T60" fmla="*/ 235 w 7573"/>
                <a:gd name="T61" fmla="*/ 1 h 7590"/>
                <a:gd name="T62" fmla="*/ 276 w 7573"/>
                <a:gd name="T63" fmla="*/ 3 h 7590"/>
                <a:gd name="T64" fmla="*/ 322 w 7573"/>
                <a:gd name="T65" fmla="*/ 13 h 7590"/>
                <a:gd name="T66" fmla="*/ 573 w 7573"/>
                <a:gd name="T67" fmla="*/ 100 h 7590"/>
                <a:gd name="T68" fmla="*/ 2738 w 7573"/>
                <a:gd name="T69" fmla="*/ 878 h 7590"/>
                <a:gd name="T70" fmla="*/ 5030 w 7573"/>
                <a:gd name="T71" fmla="*/ 1705 h 7590"/>
                <a:gd name="T72" fmla="*/ 5125 w 7573"/>
                <a:gd name="T73" fmla="*/ 1752 h 7590"/>
                <a:gd name="T74" fmla="*/ 5228 w 7573"/>
                <a:gd name="T75" fmla="*/ 1812 h 7590"/>
                <a:gd name="T76" fmla="*/ 5352 w 7573"/>
                <a:gd name="T77" fmla="*/ 1896 h 7590"/>
                <a:gd name="T78" fmla="*/ 5484 w 7573"/>
                <a:gd name="T79" fmla="*/ 2007 h 7590"/>
                <a:gd name="T80" fmla="*/ 5529 w 7573"/>
                <a:gd name="T81" fmla="*/ 2049 h 7590"/>
                <a:gd name="T82" fmla="*/ 5571 w 7573"/>
                <a:gd name="T83" fmla="*/ 2093 h 7590"/>
                <a:gd name="T84" fmla="*/ 5680 w 7573"/>
                <a:gd name="T85" fmla="*/ 2226 h 7590"/>
                <a:gd name="T86" fmla="*/ 5766 w 7573"/>
                <a:gd name="T87" fmla="*/ 2350 h 7590"/>
                <a:gd name="T88" fmla="*/ 5825 w 7573"/>
                <a:gd name="T89" fmla="*/ 2453 h 7590"/>
                <a:gd name="T90" fmla="*/ 5872 w 7573"/>
                <a:gd name="T91" fmla="*/ 2550 h 7590"/>
                <a:gd name="T92" fmla="*/ 6697 w 7573"/>
                <a:gd name="T93" fmla="*/ 4845 h 7590"/>
                <a:gd name="T94" fmla="*/ 7473 w 7573"/>
                <a:gd name="T95" fmla="*/ 7016 h 7590"/>
                <a:gd name="T96" fmla="*/ 7560 w 7573"/>
                <a:gd name="T97" fmla="*/ 7267 h 7590"/>
                <a:gd name="T98" fmla="*/ 7570 w 7573"/>
                <a:gd name="T99" fmla="*/ 7312 h 7590"/>
                <a:gd name="T100" fmla="*/ 7573 w 7573"/>
                <a:gd name="T101" fmla="*/ 7355 h 7590"/>
                <a:gd name="T102" fmla="*/ 7565 w 7573"/>
                <a:gd name="T103" fmla="*/ 7405 h 7590"/>
                <a:gd name="T104" fmla="*/ 7542 w 7573"/>
                <a:gd name="T105" fmla="*/ 7469 h 7590"/>
                <a:gd name="T106" fmla="*/ 7513 w 7573"/>
                <a:gd name="T107" fmla="*/ 7514 h 7590"/>
                <a:gd name="T108" fmla="*/ 7486 w 7573"/>
                <a:gd name="T109" fmla="*/ 7545 h 7590"/>
                <a:gd name="T110" fmla="*/ 7441 w 7573"/>
                <a:gd name="T111" fmla="*/ 7590 h 75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573" h="7590">
                  <a:moveTo>
                    <a:pt x="7441" y="7590"/>
                  </a:moveTo>
                  <a:lnTo>
                    <a:pt x="7441" y="7590"/>
                  </a:lnTo>
                  <a:lnTo>
                    <a:pt x="7454" y="7575"/>
                  </a:lnTo>
                  <a:lnTo>
                    <a:pt x="7469" y="7554"/>
                  </a:lnTo>
                  <a:lnTo>
                    <a:pt x="7477" y="7542"/>
                  </a:lnTo>
                  <a:lnTo>
                    <a:pt x="7484" y="7527"/>
                  </a:lnTo>
                  <a:lnTo>
                    <a:pt x="7492" y="7513"/>
                  </a:lnTo>
                  <a:lnTo>
                    <a:pt x="7499" y="7496"/>
                  </a:lnTo>
                  <a:lnTo>
                    <a:pt x="7505" y="7478"/>
                  </a:lnTo>
                  <a:lnTo>
                    <a:pt x="7510" y="7459"/>
                  </a:lnTo>
                  <a:lnTo>
                    <a:pt x="7513" y="7440"/>
                  </a:lnTo>
                  <a:lnTo>
                    <a:pt x="7515" y="7418"/>
                  </a:lnTo>
                  <a:lnTo>
                    <a:pt x="7515" y="7396"/>
                  </a:lnTo>
                  <a:lnTo>
                    <a:pt x="7514" y="7373"/>
                  </a:lnTo>
                  <a:lnTo>
                    <a:pt x="7510" y="7349"/>
                  </a:lnTo>
                  <a:lnTo>
                    <a:pt x="7504" y="7324"/>
                  </a:lnTo>
                  <a:lnTo>
                    <a:pt x="7504" y="7324"/>
                  </a:lnTo>
                  <a:lnTo>
                    <a:pt x="7477" y="7243"/>
                  </a:lnTo>
                  <a:lnTo>
                    <a:pt x="7417" y="7073"/>
                  </a:lnTo>
                  <a:lnTo>
                    <a:pt x="7219" y="6515"/>
                  </a:lnTo>
                  <a:lnTo>
                    <a:pt x="6948" y="5757"/>
                  </a:lnTo>
                  <a:lnTo>
                    <a:pt x="6641" y="4901"/>
                  </a:lnTo>
                  <a:lnTo>
                    <a:pt x="6072" y="3320"/>
                  </a:lnTo>
                  <a:lnTo>
                    <a:pt x="5816" y="2606"/>
                  </a:lnTo>
                  <a:lnTo>
                    <a:pt x="5816" y="2606"/>
                  </a:lnTo>
                  <a:lnTo>
                    <a:pt x="5810" y="2595"/>
                  </a:lnTo>
                  <a:lnTo>
                    <a:pt x="5795" y="2561"/>
                  </a:lnTo>
                  <a:lnTo>
                    <a:pt x="5769" y="2509"/>
                  </a:lnTo>
                  <a:lnTo>
                    <a:pt x="5751" y="2478"/>
                  </a:lnTo>
                  <a:lnTo>
                    <a:pt x="5731" y="2443"/>
                  </a:lnTo>
                  <a:lnTo>
                    <a:pt x="5708" y="2407"/>
                  </a:lnTo>
                  <a:lnTo>
                    <a:pt x="5684" y="2367"/>
                  </a:lnTo>
                  <a:lnTo>
                    <a:pt x="5655" y="2326"/>
                  </a:lnTo>
                  <a:lnTo>
                    <a:pt x="5624" y="2283"/>
                  </a:lnTo>
                  <a:lnTo>
                    <a:pt x="5591" y="2239"/>
                  </a:lnTo>
                  <a:lnTo>
                    <a:pt x="5554" y="2194"/>
                  </a:lnTo>
                  <a:lnTo>
                    <a:pt x="5514" y="2150"/>
                  </a:lnTo>
                  <a:lnTo>
                    <a:pt x="5493" y="2128"/>
                  </a:lnTo>
                  <a:lnTo>
                    <a:pt x="5472" y="2106"/>
                  </a:lnTo>
                  <a:lnTo>
                    <a:pt x="5472" y="2106"/>
                  </a:lnTo>
                  <a:lnTo>
                    <a:pt x="5472" y="2106"/>
                  </a:lnTo>
                  <a:lnTo>
                    <a:pt x="5450" y="2084"/>
                  </a:lnTo>
                  <a:lnTo>
                    <a:pt x="5428" y="2063"/>
                  </a:lnTo>
                  <a:lnTo>
                    <a:pt x="5383" y="2024"/>
                  </a:lnTo>
                  <a:lnTo>
                    <a:pt x="5339" y="1987"/>
                  </a:lnTo>
                  <a:lnTo>
                    <a:pt x="5296" y="1953"/>
                  </a:lnTo>
                  <a:lnTo>
                    <a:pt x="5252" y="1921"/>
                  </a:lnTo>
                  <a:lnTo>
                    <a:pt x="5212" y="1893"/>
                  </a:lnTo>
                  <a:lnTo>
                    <a:pt x="5172" y="1868"/>
                  </a:lnTo>
                  <a:lnTo>
                    <a:pt x="5135" y="1845"/>
                  </a:lnTo>
                  <a:lnTo>
                    <a:pt x="5100" y="1826"/>
                  </a:lnTo>
                  <a:lnTo>
                    <a:pt x="5069" y="1809"/>
                  </a:lnTo>
                  <a:lnTo>
                    <a:pt x="5018" y="1783"/>
                  </a:lnTo>
                  <a:lnTo>
                    <a:pt x="4985" y="1767"/>
                  </a:lnTo>
                  <a:lnTo>
                    <a:pt x="4972" y="1762"/>
                  </a:lnTo>
                  <a:lnTo>
                    <a:pt x="4972" y="1762"/>
                  </a:lnTo>
                  <a:lnTo>
                    <a:pt x="4261" y="1505"/>
                  </a:lnTo>
                  <a:lnTo>
                    <a:pt x="2682" y="935"/>
                  </a:lnTo>
                  <a:lnTo>
                    <a:pt x="1829" y="627"/>
                  </a:lnTo>
                  <a:lnTo>
                    <a:pt x="1072" y="355"/>
                  </a:lnTo>
                  <a:lnTo>
                    <a:pt x="517" y="156"/>
                  </a:lnTo>
                  <a:lnTo>
                    <a:pt x="346" y="97"/>
                  </a:lnTo>
                  <a:lnTo>
                    <a:pt x="266" y="69"/>
                  </a:lnTo>
                  <a:lnTo>
                    <a:pt x="266" y="69"/>
                  </a:lnTo>
                  <a:lnTo>
                    <a:pt x="241" y="63"/>
                  </a:lnTo>
                  <a:lnTo>
                    <a:pt x="216" y="58"/>
                  </a:lnTo>
                  <a:lnTo>
                    <a:pt x="193" y="57"/>
                  </a:lnTo>
                  <a:lnTo>
                    <a:pt x="171" y="57"/>
                  </a:lnTo>
                  <a:lnTo>
                    <a:pt x="151" y="60"/>
                  </a:lnTo>
                  <a:lnTo>
                    <a:pt x="130" y="64"/>
                  </a:lnTo>
                  <a:lnTo>
                    <a:pt x="111" y="68"/>
                  </a:lnTo>
                  <a:lnTo>
                    <a:pt x="93" y="74"/>
                  </a:lnTo>
                  <a:lnTo>
                    <a:pt x="77" y="81"/>
                  </a:lnTo>
                  <a:lnTo>
                    <a:pt x="62" y="89"/>
                  </a:lnTo>
                  <a:lnTo>
                    <a:pt x="49" y="96"/>
                  </a:lnTo>
                  <a:lnTo>
                    <a:pt x="36" y="104"/>
                  </a:lnTo>
                  <a:lnTo>
                    <a:pt x="14" y="120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46" y="87"/>
                  </a:lnTo>
                  <a:lnTo>
                    <a:pt x="46" y="87"/>
                  </a:lnTo>
                  <a:lnTo>
                    <a:pt x="51" y="81"/>
                  </a:lnTo>
                  <a:lnTo>
                    <a:pt x="65" y="68"/>
                  </a:lnTo>
                  <a:lnTo>
                    <a:pt x="76" y="60"/>
                  </a:lnTo>
                  <a:lnTo>
                    <a:pt x="89" y="50"/>
                  </a:lnTo>
                  <a:lnTo>
                    <a:pt x="104" y="41"/>
                  </a:lnTo>
                  <a:lnTo>
                    <a:pt x="120" y="30"/>
                  </a:lnTo>
                  <a:lnTo>
                    <a:pt x="140" y="22"/>
                  </a:lnTo>
                  <a:lnTo>
                    <a:pt x="161" y="14"/>
                  </a:lnTo>
                  <a:lnTo>
                    <a:pt x="184" y="7"/>
                  </a:lnTo>
                  <a:lnTo>
                    <a:pt x="208" y="3"/>
                  </a:lnTo>
                  <a:lnTo>
                    <a:pt x="221" y="1"/>
                  </a:lnTo>
                  <a:lnTo>
                    <a:pt x="235" y="1"/>
                  </a:lnTo>
                  <a:lnTo>
                    <a:pt x="248" y="0"/>
                  </a:lnTo>
                  <a:lnTo>
                    <a:pt x="262" y="1"/>
                  </a:lnTo>
                  <a:lnTo>
                    <a:pt x="276" y="3"/>
                  </a:lnTo>
                  <a:lnTo>
                    <a:pt x="292" y="5"/>
                  </a:lnTo>
                  <a:lnTo>
                    <a:pt x="307" y="8"/>
                  </a:lnTo>
                  <a:lnTo>
                    <a:pt x="322" y="13"/>
                  </a:lnTo>
                  <a:lnTo>
                    <a:pt x="322" y="13"/>
                  </a:lnTo>
                  <a:lnTo>
                    <a:pt x="403" y="40"/>
                  </a:lnTo>
                  <a:lnTo>
                    <a:pt x="573" y="100"/>
                  </a:lnTo>
                  <a:lnTo>
                    <a:pt x="1129" y="298"/>
                  </a:lnTo>
                  <a:lnTo>
                    <a:pt x="1886" y="570"/>
                  </a:lnTo>
                  <a:lnTo>
                    <a:pt x="2738" y="878"/>
                  </a:lnTo>
                  <a:lnTo>
                    <a:pt x="4317" y="1447"/>
                  </a:lnTo>
                  <a:lnTo>
                    <a:pt x="5030" y="1705"/>
                  </a:lnTo>
                  <a:lnTo>
                    <a:pt x="5030" y="1705"/>
                  </a:lnTo>
                  <a:lnTo>
                    <a:pt x="5041" y="1710"/>
                  </a:lnTo>
                  <a:lnTo>
                    <a:pt x="5074" y="1726"/>
                  </a:lnTo>
                  <a:lnTo>
                    <a:pt x="5125" y="1752"/>
                  </a:lnTo>
                  <a:lnTo>
                    <a:pt x="5156" y="1769"/>
                  </a:lnTo>
                  <a:lnTo>
                    <a:pt x="5191" y="1789"/>
                  </a:lnTo>
                  <a:lnTo>
                    <a:pt x="5228" y="1812"/>
                  </a:lnTo>
                  <a:lnTo>
                    <a:pt x="5268" y="1837"/>
                  </a:lnTo>
                  <a:lnTo>
                    <a:pt x="5309" y="1865"/>
                  </a:lnTo>
                  <a:lnTo>
                    <a:pt x="5352" y="1896"/>
                  </a:lnTo>
                  <a:lnTo>
                    <a:pt x="5396" y="1930"/>
                  </a:lnTo>
                  <a:lnTo>
                    <a:pt x="5440" y="1967"/>
                  </a:lnTo>
                  <a:lnTo>
                    <a:pt x="5484" y="2007"/>
                  </a:lnTo>
                  <a:lnTo>
                    <a:pt x="5507" y="2028"/>
                  </a:lnTo>
                  <a:lnTo>
                    <a:pt x="5529" y="2049"/>
                  </a:lnTo>
                  <a:lnTo>
                    <a:pt x="5529" y="2049"/>
                  </a:lnTo>
                  <a:lnTo>
                    <a:pt x="5529" y="2049"/>
                  </a:lnTo>
                  <a:lnTo>
                    <a:pt x="5550" y="2072"/>
                  </a:lnTo>
                  <a:lnTo>
                    <a:pt x="5571" y="2093"/>
                  </a:lnTo>
                  <a:lnTo>
                    <a:pt x="5611" y="2138"/>
                  </a:lnTo>
                  <a:lnTo>
                    <a:pt x="5647" y="2182"/>
                  </a:lnTo>
                  <a:lnTo>
                    <a:pt x="5680" y="2226"/>
                  </a:lnTo>
                  <a:lnTo>
                    <a:pt x="5712" y="2269"/>
                  </a:lnTo>
                  <a:lnTo>
                    <a:pt x="5740" y="2310"/>
                  </a:lnTo>
                  <a:lnTo>
                    <a:pt x="5766" y="2350"/>
                  </a:lnTo>
                  <a:lnTo>
                    <a:pt x="5787" y="2387"/>
                  </a:lnTo>
                  <a:lnTo>
                    <a:pt x="5807" y="2422"/>
                  </a:lnTo>
                  <a:lnTo>
                    <a:pt x="5825" y="2453"/>
                  </a:lnTo>
                  <a:lnTo>
                    <a:pt x="5851" y="2504"/>
                  </a:lnTo>
                  <a:lnTo>
                    <a:pt x="5866" y="2537"/>
                  </a:lnTo>
                  <a:lnTo>
                    <a:pt x="5872" y="2550"/>
                  </a:lnTo>
                  <a:lnTo>
                    <a:pt x="5872" y="2550"/>
                  </a:lnTo>
                  <a:lnTo>
                    <a:pt x="6128" y="3262"/>
                  </a:lnTo>
                  <a:lnTo>
                    <a:pt x="6697" y="4845"/>
                  </a:lnTo>
                  <a:lnTo>
                    <a:pt x="7004" y="5701"/>
                  </a:lnTo>
                  <a:lnTo>
                    <a:pt x="7275" y="6459"/>
                  </a:lnTo>
                  <a:lnTo>
                    <a:pt x="7473" y="7016"/>
                  </a:lnTo>
                  <a:lnTo>
                    <a:pt x="7533" y="7186"/>
                  </a:lnTo>
                  <a:lnTo>
                    <a:pt x="7560" y="7267"/>
                  </a:lnTo>
                  <a:lnTo>
                    <a:pt x="7560" y="7267"/>
                  </a:lnTo>
                  <a:lnTo>
                    <a:pt x="7564" y="7282"/>
                  </a:lnTo>
                  <a:lnTo>
                    <a:pt x="7568" y="7298"/>
                  </a:lnTo>
                  <a:lnTo>
                    <a:pt x="7570" y="7312"/>
                  </a:lnTo>
                  <a:lnTo>
                    <a:pt x="7571" y="7327"/>
                  </a:lnTo>
                  <a:lnTo>
                    <a:pt x="7573" y="7342"/>
                  </a:lnTo>
                  <a:lnTo>
                    <a:pt x="7573" y="7355"/>
                  </a:lnTo>
                  <a:lnTo>
                    <a:pt x="7571" y="7368"/>
                  </a:lnTo>
                  <a:lnTo>
                    <a:pt x="7570" y="7381"/>
                  </a:lnTo>
                  <a:lnTo>
                    <a:pt x="7565" y="7405"/>
                  </a:lnTo>
                  <a:lnTo>
                    <a:pt x="7559" y="7428"/>
                  </a:lnTo>
                  <a:lnTo>
                    <a:pt x="7552" y="7450"/>
                  </a:lnTo>
                  <a:lnTo>
                    <a:pt x="7542" y="7469"/>
                  </a:lnTo>
                  <a:lnTo>
                    <a:pt x="7533" y="7485"/>
                  </a:lnTo>
                  <a:lnTo>
                    <a:pt x="7523" y="7501"/>
                  </a:lnTo>
                  <a:lnTo>
                    <a:pt x="7513" y="7514"/>
                  </a:lnTo>
                  <a:lnTo>
                    <a:pt x="7505" y="7525"/>
                  </a:lnTo>
                  <a:lnTo>
                    <a:pt x="7491" y="7540"/>
                  </a:lnTo>
                  <a:lnTo>
                    <a:pt x="7486" y="7545"/>
                  </a:lnTo>
                  <a:lnTo>
                    <a:pt x="7486" y="7545"/>
                  </a:lnTo>
                  <a:lnTo>
                    <a:pt x="7441" y="7590"/>
                  </a:lnTo>
                  <a:lnTo>
                    <a:pt x="7441" y="759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48" name="Groupe 1322"/>
          <p:cNvGrpSpPr/>
          <p:nvPr/>
        </p:nvGrpSpPr>
        <p:grpSpPr>
          <a:xfrm>
            <a:off x="3415966" y="4878751"/>
            <a:ext cx="960316" cy="783462"/>
            <a:chOff x="4833737" y="2381052"/>
            <a:chExt cx="1731300" cy="1412460"/>
          </a:xfrm>
        </p:grpSpPr>
        <p:sp>
          <p:nvSpPr>
            <p:cNvPr id="87" name="Freeform 6"/>
            <p:cNvSpPr>
              <a:spLocks/>
            </p:cNvSpPr>
            <p:nvPr/>
          </p:nvSpPr>
          <p:spPr bwMode="auto">
            <a:xfrm flipH="1">
              <a:off x="4833737" y="3253036"/>
              <a:ext cx="1731300" cy="540476"/>
            </a:xfrm>
            <a:custGeom>
              <a:avLst/>
              <a:gdLst>
                <a:gd name="T0" fmla="*/ 0 w 9393"/>
                <a:gd name="T1" fmla="*/ 1536 h 3766"/>
                <a:gd name="T2" fmla="*/ 0 w 9393"/>
                <a:gd name="T3" fmla="*/ 1186 h 3766"/>
                <a:gd name="T4" fmla="*/ 1 w 9393"/>
                <a:gd name="T5" fmla="*/ 1157 h 3766"/>
                <a:gd name="T6" fmla="*/ 5 w 9393"/>
                <a:gd name="T7" fmla="*/ 1131 h 3766"/>
                <a:gd name="T8" fmla="*/ 18 w 9393"/>
                <a:gd name="T9" fmla="*/ 1083 h 3766"/>
                <a:gd name="T10" fmla="*/ 37 w 9393"/>
                <a:gd name="T11" fmla="*/ 1043 h 3766"/>
                <a:gd name="T12" fmla="*/ 59 w 9393"/>
                <a:gd name="T13" fmla="*/ 1010 h 3766"/>
                <a:gd name="T14" fmla="*/ 81 w 9393"/>
                <a:gd name="T15" fmla="*/ 985 h 3766"/>
                <a:gd name="T16" fmla="*/ 99 w 9393"/>
                <a:gd name="T17" fmla="*/ 967 h 3766"/>
                <a:gd name="T18" fmla="*/ 118 w 9393"/>
                <a:gd name="T19" fmla="*/ 954 h 3766"/>
                <a:gd name="T20" fmla="*/ 4697 w 9393"/>
                <a:gd name="T21" fmla="*/ 1605 h 3766"/>
                <a:gd name="T22" fmla="*/ 9275 w 9393"/>
                <a:gd name="T23" fmla="*/ 954 h 3766"/>
                <a:gd name="T24" fmla="*/ 9279 w 9393"/>
                <a:gd name="T25" fmla="*/ 957 h 3766"/>
                <a:gd name="T26" fmla="*/ 9302 w 9393"/>
                <a:gd name="T27" fmla="*/ 975 h 3766"/>
                <a:gd name="T28" fmla="*/ 9323 w 9393"/>
                <a:gd name="T29" fmla="*/ 997 h 3766"/>
                <a:gd name="T30" fmla="*/ 9345 w 9393"/>
                <a:gd name="T31" fmla="*/ 1025 h 3766"/>
                <a:gd name="T32" fmla="*/ 9366 w 9393"/>
                <a:gd name="T33" fmla="*/ 1062 h 3766"/>
                <a:gd name="T34" fmla="*/ 9382 w 9393"/>
                <a:gd name="T35" fmla="*/ 1106 h 3766"/>
                <a:gd name="T36" fmla="*/ 9390 w 9393"/>
                <a:gd name="T37" fmla="*/ 1143 h 3766"/>
                <a:gd name="T38" fmla="*/ 9393 w 9393"/>
                <a:gd name="T39" fmla="*/ 1171 h 3766"/>
                <a:gd name="T40" fmla="*/ 9393 w 9393"/>
                <a:gd name="T41" fmla="*/ 1186 h 3766"/>
                <a:gd name="T42" fmla="*/ 9393 w 9393"/>
                <a:gd name="T43" fmla="*/ 1536 h 3766"/>
                <a:gd name="T44" fmla="*/ 9393 w 9393"/>
                <a:gd name="T45" fmla="*/ 1560 h 3766"/>
                <a:gd name="T46" fmla="*/ 9389 w 9393"/>
                <a:gd name="T47" fmla="*/ 1587 h 3766"/>
                <a:gd name="T48" fmla="*/ 9380 w 9393"/>
                <a:gd name="T49" fmla="*/ 1619 h 3766"/>
                <a:gd name="T50" fmla="*/ 9366 w 9393"/>
                <a:gd name="T51" fmla="*/ 1655 h 3766"/>
                <a:gd name="T52" fmla="*/ 9343 w 9393"/>
                <a:gd name="T53" fmla="*/ 1692 h 3766"/>
                <a:gd name="T54" fmla="*/ 9319 w 9393"/>
                <a:gd name="T55" fmla="*/ 1718 h 3766"/>
                <a:gd name="T56" fmla="*/ 9300 w 9393"/>
                <a:gd name="T57" fmla="*/ 1735 h 3766"/>
                <a:gd name="T58" fmla="*/ 9277 w 9393"/>
                <a:gd name="T59" fmla="*/ 1751 h 3766"/>
                <a:gd name="T60" fmla="*/ 9265 w 9393"/>
                <a:gd name="T61" fmla="*/ 1758 h 3766"/>
                <a:gd name="T62" fmla="*/ 9052 w 9393"/>
                <a:gd name="T63" fmla="*/ 1861 h 3766"/>
                <a:gd name="T64" fmla="*/ 7927 w 9393"/>
                <a:gd name="T65" fmla="*/ 2395 h 3766"/>
                <a:gd name="T66" fmla="*/ 5839 w 9393"/>
                <a:gd name="T67" fmla="*/ 3379 h 3766"/>
                <a:gd name="T68" fmla="*/ 5228 w 9393"/>
                <a:gd name="T69" fmla="*/ 3668 h 3766"/>
                <a:gd name="T70" fmla="*/ 5186 w 9393"/>
                <a:gd name="T71" fmla="*/ 3682 h 3766"/>
                <a:gd name="T72" fmla="*/ 5107 w 9393"/>
                <a:gd name="T73" fmla="*/ 3707 h 3766"/>
                <a:gd name="T74" fmla="*/ 5036 w 9393"/>
                <a:gd name="T75" fmla="*/ 3726 h 3766"/>
                <a:gd name="T76" fmla="*/ 4950 w 9393"/>
                <a:gd name="T77" fmla="*/ 3743 h 3766"/>
                <a:gd name="T78" fmla="*/ 4855 w 9393"/>
                <a:gd name="T79" fmla="*/ 3756 h 3766"/>
                <a:gd name="T80" fmla="*/ 4751 w 9393"/>
                <a:gd name="T81" fmla="*/ 3765 h 3766"/>
                <a:gd name="T82" fmla="*/ 4697 w 9393"/>
                <a:gd name="T83" fmla="*/ 3766 h 3766"/>
                <a:gd name="T84" fmla="*/ 4588 w 9393"/>
                <a:gd name="T85" fmla="*/ 3762 h 3766"/>
                <a:gd name="T86" fmla="*/ 4489 w 9393"/>
                <a:gd name="T87" fmla="*/ 3750 h 3766"/>
                <a:gd name="T88" fmla="*/ 4398 w 9393"/>
                <a:gd name="T89" fmla="*/ 3735 h 3766"/>
                <a:gd name="T90" fmla="*/ 4319 w 9393"/>
                <a:gd name="T91" fmla="*/ 3717 h 3766"/>
                <a:gd name="T92" fmla="*/ 4255 w 9393"/>
                <a:gd name="T93" fmla="*/ 3698 h 3766"/>
                <a:gd name="T94" fmla="*/ 4176 w 9393"/>
                <a:gd name="T95" fmla="*/ 3672 h 3766"/>
                <a:gd name="T96" fmla="*/ 4164 w 9393"/>
                <a:gd name="T97" fmla="*/ 3668 h 3766"/>
                <a:gd name="T98" fmla="*/ 2197 w 9393"/>
                <a:gd name="T99" fmla="*/ 2740 h 3766"/>
                <a:gd name="T100" fmla="*/ 817 w 9393"/>
                <a:gd name="T101" fmla="*/ 2087 h 3766"/>
                <a:gd name="T102" fmla="*/ 196 w 9393"/>
                <a:gd name="T103" fmla="*/ 1791 h 3766"/>
                <a:gd name="T104" fmla="*/ 127 w 9393"/>
                <a:gd name="T105" fmla="*/ 1758 h 3766"/>
                <a:gd name="T106" fmla="*/ 104 w 9393"/>
                <a:gd name="T107" fmla="*/ 1743 h 3766"/>
                <a:gd name="T108" fmla="*/ 83 w 9393"/>
                <a:gd name="T109" fmla="*/ 1727 h 3766"/>
                <a:gd name="T110" fmla="*/ 65 w 9393"/>
                <a:gd name="T111" fmla="*/ 1710 h 3766"/>
                <a:gd name="T112" fmla="*/ 37 w 9393"/>
                <a:gd name="T113" fmla="*/ 1674 h 3766"/>
                <a:gd name="T114" fmla="*/ 18 w 9393"/>
                <a:gd name="T115" fmla="*/ 1637 h 3766"/>
                <a:gd name="T116" fmla="*/ 7 w 9393"/>
                <a:gd name="T117" fmla="*/ 1603 h 3766"/>
                <a:gd name="T118" fmla="*/ 2 w 9393"/>
                <a:gd name="T119" fmla="*/ 1572 h 3766"/>
                <a:gd name="T120" fmla="*/ 0 w 9393"/>
                <a:gd name="T121" fmla="*/ 1542 h 3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393" h="3766">
                  <a:moveTo>
                    <a:pt x="0" y="1536"/>
                  </a:moveTo>
                  <a:lnTo>
                    <a:pt x="0" y="1536"/>
                  </a:lnTo>
                  <a:lnTo>
                    <a:pt x="0" y="1186"/>
                  </a:lnTo>
                  <a:lnTo>
                    <a:pt x="0" y="1186"/>
                  </a:lnTo>
                  <a:lnTo>
                    <a:pt x="0" y="1171"/>
                  </a:lnTo>
                  <a:lnTo>
                    <a:pt x="1" y="1157"/>
                  </a:lnTo>
                  <a:lnTo>
                    <a:pt x="3" y="1143"/>
                  </a:lnTo>
                  <a:lnTo>
                    <a:pt x="5" y="1131"/>
                  </a:lnTo>
                  <a:lnTo>
                    <a:pt x="11" y="1106"/>
                  </a:lnTo>
                  <a:lnTo>
                    <a:pt x="18" y="1083"/>
                  </a:lnTo>
                  <a:lnTo>
                    <a:pt x="27" y="1062"/>
                  </a:lnTo>
                  <a:lnTo>
                    <a:pt x="37" y="1043"/>
                  </a:lnTo>
                  <a:lnTo>
                    <a:pt x="47" y="1025"/>
                  </a:lnTo>
                  <a:lnTo>
                    <a:pt x="59" y="1010"/>
                  </a:lnTo>
                  <a:lnTo>
                    <a:pt x="69" y="997"/>
                  </a:lnTo>
                  <a:lnTo>
                    <a:pt x="81" y="985"/>
                  </a:lnTo>
                  <a:lnTo>
                    <a:pt x="90" y="975"/>
                  </a:lnTo>
                  <a:lnTo>
                    <a:pt x="99" y="967"/>
                  </a:lnTo>
                  <a:lnTo>
                    <a:pt x="113" y="957"/>
                  </a:lnTo>
                  <a:lnTo>
                    <a:pt x="118" y="954"/>
                  </a:lnTo>
                  <a:lnTo>
                    <a:pt x="2090" y="0"/>
                  </a:lnTo>
                  <a:lnTo>
                    <a:pt x="4697" y="1605"/>
                  </a:lnTo>
                  <a:lnTo>
                    <a:pt x="7302" y="0"/>
                  </a:lnTo>
                  <a:lnTo>
                    <a:pt x="9275" y="954"/>
                  </a:lnTo>
                  <a:lnTo>
                    <a:pt x="9275" y="954"/>
                  </a:lnTo>
                  <a:lnTo>
                    <a:pt x="9279" y="957"/>
                  </a:lnTo>
                  <a:lnTo>
                    <a:pt x="9293" y="967"/>
                  </a:lnTo>
                  <a:lnTo>
                    <a:pt x="9302" y="975"/>
                  </a:lnTo>
                  <a:lnTo>
                    <a:pt x="9313" y="985"/>
                  </a:lnTo>
                  <a:lnTo>
                    <a:pt x="9323" y="997"/>
                  </a:lnTo>
                  <a:lnTo>
                    <a:pt x="9333" y="1010"/>
                  </a:lnTo>
                  <a:lnTo>
                    <a:pt x="9345" y="1025"/>
                  </a:lnTo>
                  <a:lnTo>
                    <a:pt x="9355" y="1043"/>
                  </a:lnTo>
                  <a:lnTo>
                    <a:pt x="9366" y="1062"/>
                  </a:lnTo>
                  <a:lnTo>
                    <a:pt x="9374" y="1083"/>
                  </a:lnTo>
                  <a:lnTo>
                    <a:pt x="9382" y="1106"/>
                  </a:lnTo>
                  <a:lnTo>
                    <a:pt x="9387" y="1131"/>
                  </a:lnTo>
                  <a:lnTo>
                    <a:pt x="9390" y="1143"/>
                  </a:lnTo>
                  <a:lnTo>
                    <a:pt x="9392" y="1157"/>
                  </a:lnTo>
                  <a:lnTo>
                    <a:pt x="9393" y="1171"/>
                  </a:lnTo>
                  <a:lnTo>
                    <a:pt x="9393" y="1186"/>
                  </a:lnTo>
                  <a:lnTo>
                    <a:pt x="9393" y="1186"/>
                  </a:lnTo>
                  <a:lnTo>
                    <a:pt x="9393" y="1536"/>
                  </a:lnTo>
                  <a:lnTo>
                    <a:pt x="9393" y="1536"/>
                  </a:lnTo>
                  <a:lnTo>
                    <a:pt x="9393" y="1542"/>
                  </a:lnTo>
                  <a:lnTo>
                    <a:pt x="9393" y="1560"/>
                  </a:lnTo>
                  <a:lnTo>
                    <a:pt x="9391" y="1572"/>
                  </a:lnTo>
                  <a:lnTo>
                    <a:pt x="9389" y="1587"/>
                  </a:lnTo>
                  <a:lnTo>
                    <a:pt x="9385" y="1603"/>
                  </a:lnTo>
                  <a:lnTo>
                    <a:pt x="9380" y="1619"/>
                  </a:lnTo>
                  <a:lnTo>
                    <a:pt x="9374" y="1637"/>
                  </a:lnTo>
                  <a:lnTo>
                    <a:pt x="9366" y="1655"/>
                  </a:lnTo>
                  <a:lnTo>
                    <a:pt x="9355" y="1674"/>
                  </a:lnTo>
                  <a:lnTo>
                    <a:pt x="9343" y="1692"/>
                  </a:lnTo>
                  <a:lnTo>
                    <a:pt x="9328" y="1710"/>
                  </a:lnTo>
                  <a:lnTo>
                    <a:pt x="9319" y="1718"/>
                  </a:lnTo>
                  <a:lnTo>
                    <a:pt x="9309" y="1727"/>
                  </a:lnTo>
                  <a:lnTo>
                    <a:pt x="9300" y="1735"/>
                  </a:lnTo>
                  <a:lnTo>
                    <a:pt x="9289" y="1743"/>
                  </a:lnTo>
                  <a:lnTo>
                    <a:pt x="9277" y="1751"/>
                  </a:lnTo>
                  <a:lnTo>
                    <a:pt x="9265" y="1758"/>
                  </a:lnTo>
                  <a:lnTo>
                    <a:pt x="9265" y="1758"/>
                  </a:lnTo>
                  <a:lnTo>
                    <a:pt x="9197" y="1791"/>
                  </a:lnTo>
                  <a:lnTo>
                    <a:pt x="9052" y="1861"/>
                  </a:lnTo>
                  <a:lnTo>
                    <a:pt x="8576" y="2087"/>
                  </a:lnTo>
                  <a:lnTo>
                    <a:pt x="7927" y="2395"/>
                  </a:lnTo>
                  <a:lnTo>
                    <a:pt x="7195" y="2740"/>
                  </a:lnTo>
                  <a:lnTo>
                    <a:pt x="5839" y="3379"/>
                  </a:lnTo>
                  <a:lnTo>
                    <a:pt x="5228" y="3668"/>
                  </a:lnTo>
                  <a:lnTo>
                    <a:pt x="5228" y="3668"/>
                  </a:lnTo>
                  <a:lnTo>
                    <a:pt x="5217" y="3672"/>
                  </a:lnTo>
                  <a:lnTo>
                    <a:pt x="5186" y="3682"/>
                  </a:lnTo>
                  <a:lnTo>
                    <a:pt x="5137" y="3698"/>
                  </a:lnTo>
                  <a:lnTo>
                    <a:pt x="5107" y="3707"/>
                  </a:lnTo>
                  <a:lnTo>
                    <a:pt x="5073" y="3717"/>
                  </a:lnTo>
                  <a:lnTo>
                    <a:pt x="5036" y="3726"/>
                  </a:lnTo>
                  <a:lnTo>
                    <a:pt x="4994" y="3735"/>
                  </a:lnTo>
                  <a:lnTo>
                    <a:pt x="4950" y="3743"/>
                  </a:lnTo>
                  <a:lnTo>
                    <a:pt x="4904" y="3750"/>
                  </a:lnTo>
                  <a:lnTo>
                    <a:pt x="4855" y="3756"/>
                  </a:lnTo>
                  <a:lnTo>
                    <a:pt x="4804" y="3762"/>
                  </a:lnTo>
                  <a:lnTo>
                    <a:pt x="4751" y="3765"/>
                  </a:lnTo>
                  <a:lnTo>
                    <a:pt x="4697" y="3766"/>
                  </a:lnTo>
                  <a:lnTo>
                    <a:pt x="4697" y="3766"/>
                  </a:lnTo>
                  <a:lnTo>
                    <a:pt x="4642" y="3765"/>
                  </a:lnTo>
                  <a:lnTo>
                    <a:pt x="4588" y="3762"/>
                  </a:lnTo>
                  <a:lnTo>
                    <a:pt x="4538" y="3756"/>
                  </a:lnTo>
                  <a:lnTo>
                    <a:pt x="4489" y="3750"/>
                  </a:lnTo>
                  <a:lnTo>
                    <a:pt x="4442" y="3743"/>
                  </a:lnTo>
                  <a:lnTo>
                    <a:pt x="4398" y="3735"/>
                  </a:lnTo>
                  <a:lnTo>
                    <a:pt x="4358" y="3726"/>
                  </a:lnTo>
                  <a:lnTo>
                    <a:pt x="4319" y="3717"/>
                  </a:lnTo>
                  <a:lnTo>
                    <a:pt x="4285" y="3707"/>
                  </a:lnTo>
                  <a:lnTo>
                    <a:pt x="4255" y="3698"/>
                  </a:lnTo>
                  <a:lnTo>
                    <a:pt x="4206" y="3682"/>
                  </a:lnTo>
                  <a:lnTo>
                    <a:pt x="4176" y="3672"/>
                  </a:lnTo>
                  <a:lnTo>
                    <a:pt x="4164" y="3668"/>
                  </a:lnTo>
                  <a:lnTo>
                    <a:pt x="4164" y="3668"/>
                  </a:lnTo>
                  <a:lnTo>
                    <a:pt x="3553" y="3379"/>
                  </a:lnTo>
                  <a:lnTo>
                    <a:pt x="2197" y="2740"/>
                  </a:lnTo>
                  <a:lnTo>
                    <a:pt x="1465" y="2395"/>
                  </a:lnTo>
                  <a:lnTo>
                    <a:pt x="817" y="2087"/>
                  </a:lnTo>
                  <a:lnTo>
                    <a:pt x="341" y="1861"/>
                  </a:lnTo>
                  <a:lnTo>
                    <a:pt x="196" y="1791"/>
                  </a:lnTo>
                  <a:lnTo>
                    <a:pt x="127" y="1758"/>
                  </a:lnTo>
                  <a:lnTo>
                    <a:pt x="127" y="1758"/>
                  </a:lnTo>
                  <a:lnTo>
                    <a:pt x="115" y="1751"/>
                  </a:lnTo>
                  <a:lnTo>
                    <a:pt x="104" y="1743"/>
                  </a:lnTo>
                  <a:lnTo>
                    <a:pt x="92" y="1735"/>
                  </a:lnTo>
                  <a:lnTo>
                    <a:pt x="83" y="1727"/>
                  </a:lnTo>
                  <a:lnTo>
                    <a:pt x="73" y="1718"/>
                  </a:lnTo>
                  <a:lnTo>
                    <a:pt x="65" y="1710"/>
                  </a:lnTo>
                  <a:lnTo>
                    <a:pt x="49" y="1692"/>
                  </a:lnTo>
                  <a:lnTo>
                    <a:pt x="37" y="1674"/>
                  </a:lnTo>
                  <a:lnTo>
                    <a:pt x="27" y="1655"/>
                  </a:lnTo>
                  <a:lnTo>
                    <a:pt x="18" y="1637"/>
                  </a:lnTo>
                  <a:lnTo>
                    <a:pt x="12" y="1619"/>
                  </a:lnTo>
                  <a:lnTo>
                    <a:pt x="7" y="1603"/>
                  </a:lnTo>
                  <a:lnTo>
                    <a:pt x="4" y="1587"/>
                  </a:lnTo>
                  <a:lnTo>
                    <a:pt x="2" y="1572"/>
                  </a:lnTo>
                  <a:lnTo>
                    <a:pt x="1" y="1560"/>
                  </a:lnTo>
                  <a:lnTo>
                    <a:pt x="0" y="1542"/>
                  </a:lnTo>
                  <a:lnTo>
                    <a:pt x="0" y="1536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8" name="Freeform 7"/>
            <p:cNvSpPr>
              <a:spLocks/>
            </p:cNvSpPr>
            <p:nvPr/>
          </p:nvSpPr>
          <p:spPr bwMode="auto">
            <a:xfrm flipH="1">
              <a:off x="4833737" y="3253036"/>
              <a:ext cx="1731300" cy="540476"/>
            </a:xfrm>
            <a:custGeom>
              <a:avLst/>
              <a:gdLst>
                <a:gd name="T0" fmla="*/ 0 w 9393"/>
                <a:gd name="T1" fmla="*/ 1536 h 3766"/>
                <a:gd name="T2" fmla="*/ 0 w 9393"/>
                <a:gd name="T3" fmla="*/ 1186 h 3766"/>
                <a:gd name="T4" fmla="*/ 1 w 9393"/>
                <a:gd name="T5" fmla="*/ 1157 h 3766"/>
                <a:gd name="T6" fmla="*/ 5 w 9393"/>
                <a:gd name="T7" fmla="*/ 1131 h 3766"/>
                <a:gd name="T8" fmla="*/ 18 w 9393"/>
                <a:gd name="T9" fmla="*/ 1083 h 3766"/>
                <a:gd name="T10" fmla="*/ 37 w 9393"/>
                <a:gd name="T11" fmla="*/ 1043 h 3766"/>
                <a:gd name="T12" fmla="*/ 59 w 9393"/>
                <a:gd name="T13" fmla="*/ 1010 h 3766"/>
                <a:gd name="T14" fmla="*/ 81 w 9393"/>
                <a:gd name="T15" fmla="*/ 985 h 3766"/>
                <a:gd name="T16" fmla="*/ 99 w 9393"/>
                <a:gd name="T17" fmla="*/ 967 h 3766"/>
                <a:gd name="T18" fmla="*/ 118 w 9393"/>
                <a:gd name="T19" fmla="*/ 954 h 3766"/>
                <a:gd name="T20" fmla="*/ 4697 w 9393"/>
                <a:gd name="T21" fmla="*/ 1605 h 3766"/>
                <a:gd name="T22" fmla="*/ 9275 w 9393"/>
                <a:gd name="T23" fmla="*/ 954 h 3766"/>
                <a:gd name="T24" fmla="*/ 9279 w 9393"/>
                <a:gd name="T25" fmla="*/ 957 h 3766"/>
                <a:gd name="T26" fmla="*/ 9302 w 9393"/>
                <a:gd name="T27" fmla="*/ 975 h 3766"/>
                <a:gd name="T28" fmla="*/ 9323 w 9393"/>
                <a:gd name="T29" fmla="*/ 997 h 3766"/>
                <a:gd name="T30" fmla="*/ 9345 w 9393"/>
                <a:gd name="T31" fmla="*/ 1025 h 3766"/>
                <a:gd name="T32" fmla="*/ 9366 w 9393"/>
                <a:gd name="T33" fmla="*/ 1062 h 3766"/>
                <a:gd name="T34" fmla="*/ 9382 w 9393"/>
                <a:gd name="T35" fmla="*/ 1106 h 3766"/>
                <a:gd name="T36" fmla="*/ 9390 w 9393"/>
                <a:gd name="T37" fmla="*/ 1143 h 3766"/>
                <a:gd name="T38" fmla="*/ 9393 w 9393"/>
                <a:gd name="T39" fmla="*/ 1171 h 3766"/>
                <a:gd name="T40" fmla="*/ 9393 w 9393"/>
                <a:gd name="T41" fmla="*/ 1186 h 3766"/>
                <a:gd name="T42" fmla="*/ 9393 w 9393"/>
                <a:gd name="T43" fmla="*/ 1536 h 3766"/>
                <a:gd name="T44" fmla="*/ 9393 w 9393"/>
                <a:gd name="T45" fmla="*/ 1560 h 3766"/>
                <a:gd name="T46" fmla="*/ 9389 w 9393"/>
                <a:gd name="T47" fmla="*/ 1587 h 3766"/>
                <a:gd name="T48" fmla="*/ 9380 w 9393"/>
                <a:gd name="T49" fmla="*/ 1619 h 3766"/>
                <a:gd name="T50" fmla="*/ 9366 w 9393"/>
                <a:gd name="T51" fmla="*/ 1655 h 3766"/>
                <a:gd name="T52" fmla="*/ 9343 w 9393"/>
                <a:gd name="T53" fmla="*/ 1692 h 3766"/>
                <a:gd name="T54" fmla="*/ 9319 w 9393"/>
                <a:gd name="T55" fmla="*/ 1718 h 3766"/>
                <a:gd name="T56" fmla="*/ 9300 w 9393"/>
                <a:gd name="T57" fmla="*/ 1735 h 3766"/>
                <a:gd name="T58" fmla="*/ 9277 w 9393"/>
                <a:gd name="T59" fmla="*/ 1751 h 3766"/>
                <a:gd name="T60" fmla="*/ 9265 w 9393"/>
                <a:gd name="T61" fmla="*/ 1758 h 3766"/>
                <a:gd name="T62" fmla="*/ 9052 w 9393"/>
                <a:gd name="T63" fmla="*/ 1861 h 3766"/>
                <a:gd name="T64" fmla="*/ 7927 w 9393"/>
                <a:gd name="T65" fmla="*/ 2395 h 3766"/>
                <a:gd name="T66" fmla="*/ 5839 w 9393"/>
                <a:gd name="T67" fmla="*/ 3379 h 3766"/>
                <a:gd name="T68" fmla="*/ 5228 w 9393"/>
                <a:gd name="T69" fmla="*/ 3668 h 3766"/>
                <a:gd name="T70" fmla="*/ 5186 w 9393"/>
                <a:gd name="T71" fmla="*/ 3682 h 3766"/>
                <a:gd name="T72" fmla="*/ 5107 w 9393"/>
                <a:gd name="T73" fmla="*/ 3707 h 3766"/>
                <a:gd name="T74" fmla="*/ 5036 w 9393"/>
                <a:gd name="T75" fmla="*/ 3726 h 3766"/>
                <a:gd name="T76" fmla="*/ 4950 w 9393"/>
                <a:gd name="T77" fmla="*/ 3743 h 3766"/>
                <a:gd name="T78" fmla="*/ 4855 w 9393"/>
                <a:gd name="T79" fmla="*/ 3756 h 3766"/>
                <a:gd name="T80" fmla="*/ 4751 w 9393"/>
                <a:gd name="T81" fmla="*/ 3765 h 3766"/>
                <a:gd name="T82" fmla="*/ 4697 w 9393"/>
                <a:gd name="T83" fmla="*/ 3766 h 3766"/>
                <a:gd name="T84" fmla="*/ 4588 w 9393"/>
                <a:gd name="T85" fmla="*/ 3762 h 3766"/>
                <a:gd name="T86" fmla="*/ 4489 w 9393"/>
                <a:gd name="T87" fmla="*/ 3750 h 3766"/>
                <a:gd name="T88" fmla="*/ 4398 w 9393"/>
                <a:gd name="T89" fmla="*/ 3735 h 3766"/>
                <a:gd name="T90" fmla="*/ 4319 w 9393"/>
                <a:gd name="T91" fmla="*/ 3717 h 3766"/>
                <a:gd name="T92" fmla="*/ 4255 w 9393"/>
                <a:gd name="T93" fmla="*/ 3698 h 3766"/>
                <a:gd name="T94" fmla="*/ 4176 w 9393"/>
                <a:gd name="T95" fmla="*/ 3672 h 3766"/>
                <a:gd name="T96" fmla="*/ 4164 w 9393"/>
                <a:gd name="T97" fmla="*/ 3668 h 3766"/>
                <a:gd name="T98" fmla="*/ 2197 w 9393"/>
                <a:gd name="T99" fmla="*/ 2740 h 3766"/>
                <a:gd name="T100" fmla="*/ 817 w 9393"/>
                <a:gd name="T101" fmla="*/ 2087 h 3766"/>
                <a:gd name="T102" fmla="*/ 196 w 9393"/>
                <a:gd name="T103" fmla="*/ 1791 h 3766"/>
                <a:gd name="T104" fmla="*/ 127 w 9393"/>
                <a:gd name="T105" fmla="*/ 1758 h 3766"/>
                <a:gd name="T106" fmla="*/ 104 w 9393"/>
                <a:gd name="T107" fmla="*/ 1743 h 3766"/>
                <a:gd name="T108" fmla="*/ 83 w 9393"/>
                <a:gd name="T109" fmla="*/ 1727 h 3766"/>
                <a:gd name="T110" fmla="*/ 65 w 9393"/>
                <a:gd name="T111" fmla="*/ 1710 h 3766"/>
                <a:gd name="T112" fmla="*/ 37 w 9393"/>
                <a:gd name="T113" fmla="*/ 1674 h 3766"/>
                <a:gd name="T114" fmla="*/ 18 w 9393"/>
                <a:gd name="T115" fmla="*/ 1637 h 3766"/>
                <a:gd name="T116" fmla="*/ 7 w 9393"/>
                <a:gd name="T117" fmla="*/ 1603 h 3766"/>
                <a:gd name="T118" fmla="*/ 2 w 9393"/>
                <a:gd name="T119" fmla="*/ 1572 h 3766"/>
                <a:gd name="T120" fmla="*/ 0 w 9393"/>
                <a:gd name="T121" fmla="*/ 1542 h 3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393" h="3766">
                  <a:moveTo>
                    <a:pt x="0" y="1536"/>
                  </a:moveTo>
                  <a:lnTo>
                    <a:pt x="0" y="1536"/>
                  </a:lnTo>
                  <a:lnTo>
                    <a:pt x="0" y="1186"/>
                  </a:lnTo>
                  <a:lnTo>
                    <a:pt x="0" y="1186"/>
                  </a:lnTo>
                  <a:lnTo>
                    <a:pt x="0" y="1171"/>
                  </a:lnTo>
                  <a:lnTo>
                    <a:pt x="1" y="1157"/>
                  </a:lnTo>
                  <a:lnTo>
                    <a:pt x="3" y="1143"/>
                  </a:lnTo>
                  <a:lnTo>
                    <a:pt x="5" y="1131"/>
                  </a:lnTo>
                  <a:lnTo>
                    <a:pt x="11" y="1106"/>
                  </a:lnTo>
                  <a:lnTo>
                    <a:pt x="18" y="1083"/>
                  </a:lnTo>
                  <a:lnTo>
                    <a:pt x="27" y="1062"/>
                  </a:lnTo>
                  <a:lnTo>
                    <a:pt x="37" y="1043"/>
                  </a:lnTo>
                  <a:lnTo>
                    <a:pt x="47" y="1025"/>
                  </a:lnTo>
                  <a:lnTo>
                    <a:pt x="59" y="1010"/>
                  </a:lnTo>
                  <a:lnTo>
                    <a:pt x="69" y="997"/>
                  </a:lnTo>
                  <a:lnTo>
                    <a:pt x="81" y="985"/>
                  </a:lnTo>
                  <a:lnTo>
                    <a:pt x="90" y="975"/>
                  </a:lnTo>
                  <a:lnTo>
                    <a:pt x="99" y="967"/>
                  </a:lnTo>
                  <a:lnTo>
                    <a:pt x="113" y="957"/>
                  </a:lnTo>
                  <a:lnTo>
                    <a:pt x="118" y="954"/>
                  </a:lnTo>
                  <a:lnTo>
                    <a:pt x="2090" y="0"/>
                  </a:lnTo>
                  <a:lnTo>
                    <a:pt x="4697" y="1605"/>
                  </a:lnTo>
                  <a:lnTo>
                    <a:pt x="7302" y="0"/>
                  </a:lnTo>
                  <a:lnTo>
                    <a:pt x="9275" y="954"/>
                  </a:lnTo>
                  <a:lnTo>
                    <a:pt x="9275" y="954"/>
                  </a:lnTo>
                  <a:lnTo>
                    <a:pt x="9279" y="957"/>
                  </a:lnTo>
                  <a:lnTo>
                    <a:pt x="9293" y="967"/>
                  </a:lnTo>
                  <a:lnTo>
                    <a:pt x="9302" y="975"/>
                  </a:lnTo>
                  <a:lnTo>
                    <a:pt x="9313" y="985"/>
                  </a:lnTo>
                  <a:lnTo>
                    <a:pt x="9323" y="997"/>
                  </a:lnTo>
                  <a:lnTo>
                    <a:pt x="9333" y="1010"/>
                  </a:lnTo>
                  <a:lnTo>
                    <a:pt x="9345" y="1025"/>
                  </a:lnTo>
                  <a:lnTo>
                    <a:pt x="9355" y="1043"/>
                  </a:lnTo>
                  <a:lnTo>
                    <a:pt x="9366" y="1062"/>
                  </a:lnTo>
                  <a:lnTo>
                    <a:pt x="9374" y="1083"/>
                  </a:lnTo>
                  <a:lnTo>
                    <a:pt x="9382" y="1106"/>
                  </a:lnTo>
                  <a:lnTo>
                    <a:pt x="9387" y="1131"/>
                  </a:lnTo>
                  <a:lnTo>
                    <a:pt x="9390" y="1143"/>
                  </a:lnTo>
                  <a:lnTo>
                    <a:pt x="9392" y="1157"/>
                  </a:lnTo>
                  <a:lnTo>
                    <a:pt x="9393" y="1171"/>
                  </a:lnTo>
                  <a:lnTo>
                    <a:pt x="9393" y="1186"/>
                  </a:lnTo>
                  <a:lnTo>
                    <a:pt x="9393" y="1186"/>
                  </a:lnTo>
                  <a:lnTo>
                    <a:pt x="9393" y="1536"/>
                  </a:lnTo>
                  <a:lnTo>
                    <a:pt x="9393" y="1536"/>
                  </a:lnTo>
                  <a:lnTo>
                    <a:pt x="9393" y="1542"/>
                  </a:lnTo>
                  <a:lnTo>
                    <a:pt x="9393" y="1560"/>
                  </a:lnTo>
                  <a:lnTo>
                    <a:pt x="9391" y="1572"/>
                  </a:lnTo>
                  <a:lnTo>
                    <a:pt x="9389" y="1587"/>
                  </a:lnTo>
                  <a:lnTo>
                    <a:pt x="9385" y="1603"/>
                  </a:lnTo>
                  <a:lnTo>
                    <a:pt x="9380" y="1619"/>
                  </a:lnTo>
                  <a:lnTo>
                    <a:pt x="9374" y="1637"/>
                  </a:lnTo>
                  <a:lnTo>
                    <a:pt x="9366" y="1655"/>
                  </a:lnTo>
                  <a:lnTo>
                    <a:pt x="9355" y="1674"/>
                  </a:lnTo>
                  <a:lnTo>
                    <a:pt x="9343" y="1692"/>
                  </a:lnTo>
                  <a:lnTo>
                    <a:pt x="9328" y="1710"/>
                  </a:lnTo>
                  <a:lnTo>
                    <a:pt x="9319" y="1718"/>
                  </a:lnTo>
                  <a:lnTo>
                    <a:pt x="9309" y="1727"/>
                  </a:lnTo>
                  <a:lnTo>
                    <a:pt x="9300" y="1735"/>
                  </a:lnTo>
                  <a:lnTo>
                    <a:pt x="9289" y="1743"/>
                  </a:lnTo>
                  <a:lnTo>
                    <a:pt x="9277" y="1751"/>
                  </a:lnTo>
                  <a:lnTo>
                    <a:pt x="9265" y="1758"/>
                  </a:lnTo>
                  <a:lnTo>
                    <a:pt x="9265" y="1758"/>
                  </a:lnTo>
                  <a:lnTo>
                    <a:pt x="9197" y="1791"/>
                  </a:lnTo>
                  <a:lnTo>
                    <a:pt x="9052" y="1861"/>
                  </a:lnTo>
                  <a:lnTo>
                    <a:pt x="8576" y="2087"/>
                  </a:lnTo>
                  <a:lnTo>
                    <a:pt x="7927" y="2395"/>
                  </a:lnTo>
                  <a:lnTo>
                    <a:pt x="7195" y="2740"/>
                  </a:lnTo>
                  <a:lnTo>
                    <a:pt x="5839" y="3379"/>
                  </a:lnTo>
                  <a:lnTo>
                    <a:pt x="5228" y="3668"/>
                  </a:lnTo>
                  <a:lnTo>
                    <a:pt x="5228" y="3668"/>
                  </a:lnTo>
                  <a:lnTo>
                    <a:pt x="5217" y="3672"/>
                  </a:lnTo>
                  <a:lnTo>
                    <a:pt x="5186" y="3682"/>
                  </a:lnTo>
                  <a:lnTo>
                    <a:pt x="5137" y="3698"/>
                  </a:lnTo>
                  <a:lnTo>
                    <a:pt x="5107" y="3707"/>
                  </a:lnTo>
                  <a:lnTo>
                    <a:pt x="5073" y="3717"/>
                  </a:lnTo>
                  <a:lnTo>
                    <a:pt x="5036" y="3726"/>
                  </a:lnTo>
                  <a:lnTo>
                    <a:pt x="4994" y="3735"/>
                  </a:lnTo>
                  <a:lnTo>
                    <a:pt x="4950" y="3743"/>
                  </a:lnTo>
                  <a:lnTo>
                    <a:pt x="4904" y="3750"/>
                  </a:lnTo>
                  <a:lnTo>
                    <a:pt x="4855" y="3756"/>
                  </a:lnTo>
                  <a:lnTo>
                    <a:pt x="4804" y="3762"/>
                  </a:lnTo>
                  <a:lnTo>
                    <a:pt x="4751" y="3765"/>
                  </a:lnTo>
                  <a:lnTo>
                    <a:pt x="4697" y="3766"/>
                  </a:lnTo>
                  <a:lnTo>
                    <a:pt x="4697" y="3766"/>
                  </a:lnTo>
                  <a:lnTo>
                    <a:pt x="4642" y="3765"/>
                  </a:lnTo>
                  <a:lnTo>
                    <a:pt x="4588" y="3762"/>
                  </a:lnTo>
                  <a:lnTo>
                    <a:pt x="4538" y="3756"/>
                  </a:lnTo>
                  <a:lnTo>
                    <a:pt x="4489" y="3750"/>
                  </a:lnTo>
                  <a:lnTo>
                    <a:pt x="4442" y="3743"/>
                  </a:lnTo>
                  <a:lnTo>
                    <a:pt x="4398" y="3735"/>
                  </a:lnTo>
                  <a:lnTo>
                    <a:pt x="4358" y="3726"/>
                  </a:lnTo>
                  <a:lnTo>
                    <a:pt x="4319" y="3717"/>
                  </a:lnTo>
                  <a:lnTo>
                    <a:pt x="4285" y="3707"/>
                  </a:lnTo>
                  <a:lnTo>
                    <a:pt x="4255" y="3698"/>
                  </a:lnTo>
                  <a:lnTo>
                    <a:pt x="4206" y="3682"/>
                  </a:lnTo>
                  <a:lnTo>
                    <a:pt x="4176" y="3672"/>
                  </a:lnTo>
                  <a:lnTo>
                    <a:pt x="4164" y="3668"/>
                  </a:lnTo>
                  <a:lnTo>
                    <a:pt x="4164" y="3668"/>
                  </a:lnTo>
                  <a:lnTo>
                    <a:pt x="3553" y="3379"/>
                  </a:lnTo>
                  <a:lnTo>
                    <a:pt x="2197" y="2740"/>
                  </a:lnTo>
                  <a:lnTo>
                    <a:pt x="1465" y="2395"/>
                  </a:lnTo>
                  <a:lnTo>
                    <a:pt x="817" y="2087"/>
                  </a:lnTo>
                  <a:lnTo>
                    <a:pt x="341" y="1861"/>
                  </a:lnTo>
                  <a:lnTo>
                    <a:pt x="196" y="1791"/>
                  </a:lnTo>
                  <a:lnTo>
                    <a:pt x="127" y="1758"/>
                  </a:lnTo>
                  <a:lnTo>
                    <a:pt x="127" y="1758"/>
                  </a:lnTo>
                  <a:lnTo>
                    <a:pt x="115" y="1751"/>
                  </a:lnTo>
                  <a:lnTo>
                    <a:pt x="104" y="1743"/>
                  </a:lnTo>
                  <a:lnTo>
                    <a:pt x="92" y="1735"/>
                  </a:lnTo>
                  <a:lnTo>
                    <a:pt x="83" y="1727"/>
                  </a:lnTo>
                  <a:lnTo>
                    <a:pt x="73" y="1718"/>
                  </a:lnTo>
                  <a:lnTo>
                    <a:pt x="65" y="1710"/>
                  </a:lnTo>
                  <a:lnTo>
                    <a:pt x="49" y="1692"/>
                  </a:lnTo>
                  <a:lnTo>
                    <a:pt x="37" y="1674"/>
                  </a:lnTo>
                  <a:lnTo>
                    <a:pt x="27" y="1655"/>
                  </a:lnTo>
                  <a:lnTo>
                    <a:pt x="18" y="1637"/>
                  </a:lnTo>
                  <a:lnTo>
                    <a:pt x="12" y="1619"/>
                  </a:lnTo>
                  <a:lnTo>
                    <a:pt x="7" y="1603"/>
                  </a:lnTo>
                  <a:lnTo>
                    <a:pt x="4" y="1587"/>
                  </a:lnTo>
                  <a:lnTo>
                    <a:pt x="2" y="1572"/>
                  </a:lnTo>
                  <a:lnTo>
                    <a:pt x="1" y="1560"/>
                  </a:lnTo>
                  <a:lnTo>
                    <a:pt x="0" y="1542"/>
                  </a:lnTo>
                  <a:lnTo>
                    <a:pt x="0" y="153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9" name="Freeform 8"/>
            <p:cNvSpPr>
              <a:spLocks/>
            </p:cNvSpPr>
            <p:nvPr/>
          </p:nvSpPr>
          <p:spPr bwMode="auto">
            <a:xfrm flipH="1">
              <a:off x="5233665" y="3462003"/>
              <a:ext cx="154811" cy="51597"/>
            </a:xfrm>
            <a:custGeom>
              <a:avLst/>
              <a:gdLst>
                <a:gd name="T0" fmla="*/ 0 w 845"/>
                <a:gd name="T1" fmla="*/ 365 h 365"/>
                <a:gd name="T2" fmla="*/ 0 w 845"/>
                <a:gd name="T3" fmla="*/ 365 h 365"/>
                <a:gd name="T4" fmla="*/ 98 w 845"/>
                <a:gd name="T5" fmla="*/ 333 h 365"/>
                <a:gd name="T6" fmla="*/ 149 w 845"/>
                <a:gd name="T7" fmla="*/ 316 h 365"/>
                <a:gd name="T8" fmla="*/ 199 w 845"/>
                <a:gd name="T9" fmla="*/ 298 h 365"/>
                <a:gd name="T10" fmla="*/ 251 w 845"/>
                <a:gd name="T11" fmla="*/ 279 h 365"/>
                <a:gd name="T12" fmla="*/ 303 w 845"/>
                <a:gd name="T13" fmla="*/ 259 h 365"/>
                <a:gd name="T14" fmla="*/ 356 w 845"/>
                <a:gd name="T15" fmla="*/ 238 h 365"/>
                <a:gd name="T16" fmla="*/ 410 w 845"/>
                <a:gd name="T17" fmla="*/ 215 h 365"/>
                <a:gd name="T18" fmla="*/ 464 w 845"/>
                <a:gd name="T19" fmla="*/ 192 h 365"/>
                <a:gd name="T20" fmla="*/ 518 w 845"/>
                <a:gd name="T21" fmla="*/ 169 h 365"/>
                <a:gd name="T22" fmla="*/ 572 w 845"/>
                <a:gd name="T23" fmla="*/ 144 h 365"/>
                <a:gd name="T24" fmla="*/ 627 w 845"/>
                <a:gd name="T25" fmla="*/ 116 h 365"/>
                <a:gd name="T26" fmla="*/ 681 w 845"/>
                <a:gd name="T27" fmla="*/ 89 h 365"/>
                <a:gd name="T28" fmla="*/ 736 w 845"/>
                <a:gd name="T29" fmla="*/ 61 h 365"/>
                <a:gd name="T30" fmla="*/ 791 w 845"/>
                <a:gd name="T31" fmla="*/ 31 h 365"/>
                <a:gd name="T32" fmla="*/ 845 w 845"/>
                <a:gd name="T33" fmla="*/ 0 h 365"/>
                <a:gd name="T34" fmla="*/ 845 w 845"/>
                <a:gd name="T35" fmla="*/ 0 h 365"/>
                <a:gd name="T36" fmla="*/ 805 w 845"/>
                <a:gd name="T37" fmla="*/ 27 h 365"/>
                <a:gd name="T38" fmla="*/ 761 w 845"/>
                <a:gd name="T39" fmla="*/ 54 h 365"/>
                <a:gd name="T40" fmla="*/ 716 w 845"/>
                <a:gd name="T41" fmla="*/ 80 h 365"/>
                <a:gd name="T42" fmla="*/ 669 w 845"/>
                <a:gd name="T43" fmla="*/ 105 h 365"/>
                <a:gd name="T44" fmla="*/ 622 w 845"/>
                <a:gd name="T45" fmla="*/ 129 h 365"/>
                <a:gd name="T46" fmla="*/ 572 w 845"/>
                <a:gd name="T47" fmla="*/ 153 h 365"/>
                <a:gd name="T48" fmla="*/ 521 w 845"/>
                <a:gd name="T49" fmla="*/ 177 h 365"/>
                <a:gd name="T50" fmla="*/ 468 w 845"/>
                <a:gd name="T51" fmla="*/ 199 h 365"/>
                <a:gd name="T52" fmla="*/ 414 w 845"/>
                <a:gd name="T53" fmla="*/ 222 h 365"/>
                <a:gd name="T54" fmla="*/ 357 w 845"/>
                <a:gd name="T55" fmla="*/ 244 h 365"/>
                <a:gd name="T56" fmla="*/ 300 w 845"/>
                <a:gd name="T57" fmla="*/ 264 h 365"/>
                <a:gd name="T58" fmla="*/ 243 w 845"/>
                <a:gd name="T59" fmla="*/ 285 h 365"/>
                <a:gd name="T60" fmla="*/ 184 w 845"/>
                <a:gd name="T61" fmla="*/ 306 h 365"/>
                <a:gd name="T62" fmla="*/ 124 w 845"/>
                <a:gd name="T63" fmla="*/ 326 h 365"/>
                <a:gd name="T64" fmla="*/ 0 w 845"/>
                <a:gd name="T65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5" h="365">
                  <a:moveTo>
                    <a:pt x="0" y="365"/>
                  </a:moveTo>
                  <a:lnTo>
                    <a:pt x="0" y="365"/>
                  </a:lnTo>
                  <a:lnTo>
                    <a:pt x="98" y="333"/>
                  </a:lnTo>
                  <a:lnTo>
                    <a:pt x="149" y="316"/>
                  </a:lnTo>
                  <a:lnTo>
                    <a:pt x="199" y="298"/>
                  </a:lnTo>
                  <a:lnTo>
                    <a:pt x="251" y="279"/>
                  </a:lnTo>
                  <a:lnTo>
                    <a:pt x="303" y="259"/>
                  </a:lnTo>
                  <a:lnTo>
                    <a:pt x="356" y="238"/>
                  </a:lnTo>
                  <a:lnTo>
                    <a:pt x="410" y="215"/>
                  </a:lnTo>
                  <a:lnTo>
                    <a:pt x="464" y="192"/>
                  </a:lnTo>
                  <a:lnTo>
                    <a:pt x="518" y="169"/>
                  </a:lnTo>
                  <a:lnTo>
                    <a:pt x="572" y="144"/>
                  </a:lnTo>
                  <a:lnTo>
                    <a:pt x="627" y="116"/>
                  </a:lnTo>
                  <a:lnTo>
                    <a:pt x="681" y="89"/>
                  </a:lnTo>
                  <a:lnTo>
                    <a:pt x="736" y="61"/>
                  </a:lnTo>
                  <a:lnTo>
                    <a:pt x="791" y="31"/>
                  </a:lnTo>
                  <a:lnTo>
                    <a:pt x="845" y="0"/>
                  </a:lnTo>
                  <a:lnTo>
                    <a:pt x="845" y="0"/>
                  </a:lnTo>
                  <a:lnTo>
                    <a:pt x="805" y="27"/>
                  </a:lnTo>
                  <a:lnTo>
                    <a:pt x="761" y="54"/>
                  </a:lnTo>
                  <a:lnTo>
                    <a:pt x="716" y="80"/>
                  </a:lnTo>
                  <a:lnTo>
                    <a:pt x="669" y="105"/>
                  </a:lnTo>
                  <a:lnTo>
                    <a:pt x="622" y="129"/>
                  </a:lnTo>
                  <a:lnTo>
                    <a:pt x="572" y="153"/>
                  </a:lnTo>
                  <a:lnTo>
                    <a:pt x="521" y="177"/>
                  </a:lnTo>
                  <a:lnTo>
                    <a:pt x="468" y="199"/>
                  </a:lnTo>
                  <a:lnTo>
                    <a:pt x="414" y="222"/>
                  </a:lnTo>
                  <a:lnTo>
                    <a:pt x="357" y="244"/>
                  </a:lnTo>
                  <a:lnTo>
                    <a:pt x="300" y="264"/>
                  </a:lnTo>
                  <a:lnTo>
                    <a:pt x="243" y="285"/>
                  </a:lnTo>
                  <a:lnTo>
                    <a:pt x="184" y="306"/>
                  </a:lnTo>
                  <a:lnTo>
                    <a:pt x="124" y="326"/>
                  </a:lnTo>
                  <a:lnTo>
                    <a:pt x="0" y="365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0" name="Freeform 9"/>
            <p:cNvSpPr>
              <a:spLocks/>
            </p:cNvSpPr>
            <p:nvPr/>
          </p:nvSpPr>
          <p:spPr bwMode="auto">
            <a:xfrm flipH="1">
              <a:off x="5233665" y="3462003"/>
              <a:ext cx="154811" cy="51597"/>
            </a:xfrm>
            <a:custGeom>
              <a:avLst/>
              <a:gdLst>
                <a:gd name="T0" fmla="*/ 0 w 845"/>
                <a:gd name="T1" fmla="*/ 365 h 365"/>
                <a:gd name="T2" fmla="*/ 0 w 845"/>
                <a:gd name="T3" fmla="*/ 365 h 365"/>
                <a:gd name="T4" fmla="*/ 98 w 845"/>
                <a:gd name="T5" fmla="*/ 333 h 365"/>
                <a:gd name="T6" fmla="*/ 149 w 845"/>
                <a:gd name="T7" fmla="*/ 316 h 365"/>
                <a:gd name="T8" fmla="*/ 199 w 845"/>
                <a:gd name="T9" fmla="*/ 298 h 365"/>
                <a:gd name="T10" fmla="*/ 251 w 845"/>
                <a:gd name="T11" fmla="*/ 279 h 365"/>
                <a:gd name="T12" fmla="*/ 303 w 845"/>
                <a:gd name="T13" fmla="*/ 259 h 365"/>
                <a:gd name="T14" fmla="*/ 356 w 845"/>
                <a:gd name="T15" fmla="*/ 238 h 365"/>
                <a:gd name="T16" fmla="*/ 410 w 845"/>
                <a:gd name="T17" fmla="*/ 215 h 365"/>
                <a:gd name="T18" fmla="*/ 464 w 845"/>
                <a:gd name="T19" fmla="*/ 192 h 365"/>
                <a:gd name="T20" fmla="*/ 518 w 845"/>
                <a:gd name="T21" fmla="*/ 169 h 365"/>
                <a:gd name="T22" fmla="*/ 572 w 845"/>
                <a:gd name="T23" fmla="*/ 144 h 365"/>
                <a:gd name="T24" fmla="*/ 627 w 845"/>
                <a:gd name="T25" fmla="*/ 116 h 365"/>
                <a:gd name="T26" fmla="*/ 681 w 845"/>
                <a:gd name="T27" fmla="*/ 89 h 365"/>
                <a:gd name="T28" fmla="*/ 736 w 845"/>
                <a:gd name="T29" fmla="*/ 61 h 365"/>
                <a:gd name="T30" fmla="*/ 791 w 845"/>
                <a:gd name="T31" fmla="*/ 31 h 365"/>
                <a:gd name="T32" fmla="*/ 845 w 845"/>
                <a:gd name="T33" fmla="*/ 0 h 365"/>
                <a:gd name="T34" fmla="*/ 845 w 845"/>
                <a:gd name="T35" fmla="*/ 0 h 365"/>
                <a:gd name="T36" fmla="*/ 805 w 845"/>
                <a:gd name="T37" fmla="*/ 27 h 365"/>
                <a:gd name="T38" fmla="*/ 761 w 845"/>
                <a:gd name="T39" fmla="*/ 54 h 365"/>
                <a:gd name="T40" fmla="*/ 716 w 845"/>
                <a:gd name="T41" fmla="*/ 80 h 365"/>
                <a:gd name="T42" fmla="*/ 669 w 845"/>
                <a:gd name="T43" fmla="*/ 105 h 365"/>
                <a:gd name="T44" fmla="*/ 622 w 845"/>
                <a:gd name="T45" fmla="*/ 129 h 365"/>
                <a:gd name="T46" fmla="*/ 572 w 845"/>
                <a:gd name="T47" fmla="*/ 153 h 365"/>
                <a:gd name="T48" fmla="*/ 521 w 845"/>
                <a:gd name="T49" fmla="*/ 177 h 365"/>
                <a:gd name="T50" fmla="*/ 468 w 845"/>
                <a:gd name="T51" fmla="*/ 199 h 365"/>
                <a:gd name="T52" fmla="*/ 414 w 845"/>
                <a:gd name="T53" fmla="*/ 222 h 365"/>
                <a:gd name="T54" fmla="*/ 357 w 845"/>
                <a:gd name="T55" fmla="*/ 244 h 365"/>
                <a:gd name="T56" fmla="*/ 300 w 845"/>
                <a:gd name="T57" fmla="*/ 264 h 365"/>
                <a:gd name="T58" fmla="*/ 243 w 845"/>
                <a:gd name="T59" fmla="*/ 285 h 365"/>
                <a:gd name="T60" fmla="*/ 184 w 845"/>
                <a:gd name="T61" fmla="*/ 306 h 365"/>
                <a:gd name="T62" fmla="*/ 124 w 845"/>
                <a:gd name="T63" fmla="*/ 326 h 365"/>
                <a:gd name="T64" fmla="*/ 0 w 845"/>
                <a:gd name="T65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5" h="365">
                  <a:moveTo>
                    <a:pt x="0" y="365"/>
                  </a:moveTo>
                  <a:lnTo>
                    <a:pt x="0" y="365"/>
                  </a:lnTo>
                  <a:lnTo>
                    <a:pt x="98" y="333"/>
                  </a:lnTo>
                  <a:lnTo>
                    <a:pt x="149" y="316"/>
                  </a:lnTo>
                  <a:lnTo>
                    <a:pt x="199" y="298"/>
                  </a:lnTo>
                  <a:lnTo>
                    <a:pt x="251" y="279"/>
                  </a:lnTo>
                  <a:lnTo>
                    <a:pt x="303" y="259"/>
                  </a:lnTo>
                  <a:lnTo>
                    <a:pt x="356" y="238"/>
                  </a:lnTo>
                  <a:lnTo>
                    <a:pt x="410" y="215"/>
                  </a:lnTo>
                  <a:lnTo>
                    <a:pt x="464" y="192"/>
                  </a:lnTo>
                  <a:lnTo>
                    <a:pt x="518" y="169"/>
                  </a:lnTo>
                  <a:lnTo>
                    <a:pt x="572" y="144"/>
                  </a:lnTo>
                  <a:lnTo>
                    <a:pt x="627" y="116"/>
                  </a:lnTo>
                  <a:lnTo>
                    <a:pt x="681" y="89"/>
                  </a:lnTo>
                  <a:lnTo>
                    <a:pt x="736" y="61"/>
                  </a:lnTo>
                  <a:lnTo>
                    <a:pt x="791" y="31"/>
                  </a:lnTo>
                  <a:lnTo>
                    <a:pt x="845" y="0"/>
                  </a:lnTo>
                  <a:lnTo>
                    <a:pt x="845" y="0"/>
                  </a:lnTo>
                  <a:lnTo>
                    <a:pt x="805" y="27"/>
                  </a:lnTo>
                  <a:lnTo>
                    <a:pt x="761" y="54"/>
                  </a:lnTo>
                  <a:lnTo>
                    <a:pt x="716" y="80"/>
                  </a:lnTo>
                  <a:lnTo>
                    <a:pt x="669" y="105"/>
                  </a:lnTo>
                  <a:lnTo>
                    <a:pt x="622" y="129"/>
                  </a:lnTo>
                  <a:lnTo>
                    <a:pt x="572" y="153"/>
                  </a:lnTo>
                  <a:lnTo>
                    <a:pt x="521" y="177"/>
                  </a:lnTo>
                  <a:lnTo>
                    <a:pt x="468" y="199"/>
                  </a:lnTo>
                  <a:lnTo>
                    <a:pt x="414" y="222"/>
                  </a:lnTo>
                  <a:lnTo>
                    <a:pt x="357" y="244"/>
                  </a:lnTo>
                  <a:lnTo>
                    <a:pt x="300" y="264"/>
                  </a:lnTo>
                  <a:lnTo>
                    <a:pt x="243" y="285"/>
                  </a:lnTo>
                  <a:lnTo>
                    <a:pt x="184" y="306"/>
                  </a:lnTo>
                  <a:lnTo>
                    <a:pt x="124" y="326"/>
                  </a:lnTo>
                  <a:lnTo>
                    <a:pt x="0" y="3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1" name="Freeform 10"/>
            <p:cNvSpPr>
              <a:spLocks/>
            </p:cNvSpPr>
            <p:nvPr/>
          </p:nvSpPr>
          <p:spPr bwMode="auto">
            <a:xfrm flipH="1">
              <a:off x="5389765" y="3514889"/>
              <a:ext cx="3871" cy="0"/>
            </a:xfrm>
            <a:custGeom>
              <a:avLst/>
              <a:gdLst>
                <a:gd name="T0" fmla="*/ 11 w 22"/>
                <a:gd name="T1" fmla="*/ 3 h 6"/>
                <a:gd name="T2" fmla="*/ 11 w 22"/>
                <a:gd name="T3" fmla="*/ 3 h 6"/>
                <a:gd name="T4" fmla="*/ 0 w 22"/>
                <a:gd name="T5" fmla="*/ 6 h 6"/>
                <a:gd name="T6" fmla="*/ 0 w 22"/>
                <a:gd name="T7" fmla="*/ 6 h 6"/>
                <a:gd name="T8" fmla="*/ 22 w 22"/>
                <a:gd name="T9" fmla="*/ 0 h 6"/>
                <a:gd name="T10" fmla="*/ 22 w 22"/>
                <a:gd name="T11" fmla="*/ 0 h 6"/>
                <a:gd name="T12" fmla="*/ 11 w 22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1" y="3"/>
                  </a:moveTo>
                  <a:lnTo>
                    <a:pt x="11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1" y="3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2" name="Freeform 11"/>
            <p:cNvSpPr>
              <a:spLocks/>
            </p:cNvSpPr>
            <p:nvPr/>
          </p:nvSpPr>
          <p:spPr bwMode="auto">
            <a:xfrm flipH="1">
              <a:off x="5389765" y="3514889"/>
              <a:ext cx="3871" cy="0"/>
            </a:xfrm>
            <a:custGeom>
              <a:avLst/>
              <a:gdLst>
                <a:gd name="T0" fmla="*/ 11 w 22"/>
                <a:gd name="T1" fmla="*/ 3 h 6"/>
                <a:gd name="T2" fmla="*/ 11 w 22"/>
                <a:gd name="T3" fmla="*/ 3 h 6"/>
                <a:gd name="T4" fmla="*/ 0 w 22"/>
                <a:gd name="T5" fmla="*/ 6 h 6"/>
                <a:gd name="T6" fmla="*/ 0 w 22"/>
                <a:gd name="T7" fmla="*/ 6 h 6"/>
                <a:gd name="T8" fmla="*/ 22 w 22"/>
                <a:gd name="T9" fmla="*/ 0 h 6"/>
                <a:gd name="T10" fmla="*/ 22 w 22"/>
                <a:gd name="T11" fmla="*/ 0 h 6"/>
                <a:gd name="T12" fmla="*/ 11 w 22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1" y="3"/>
                  </a:moveTo>
                  <a:lnTo>
                    <a:pt x="11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1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3" name="Freeform 12"/>
            <p:cNvSpPr>
              <a:spLocks/>
            </p:cNvSpPr>
            <p:nvPr/>
          </p:nvSpPr>
          <p:spPr bwMode="auto">
            <a:xfrm flipH="1">
              <a:off x="6107055" y="3464583"/>
              <a:ext cx="52894" cy="21929"/>
            </a:xfrm>
            <a:custGeom>
              <a:avLst/>
              <a:gdLst>
                <a:gd name="T0" fmla="*/ 0 w 292"/>
                <a:gd name="T1" fmla="*/ 0 h 155"/>
                <a:gd name="T2" fmla="*/ 0 w 292"/>
                <a:gd name="T3" fmla="*/ 0 h 155"/>
                <a:gd name="T4" fmla="*/ 27 w 292"/>
                <a:gd name="T5" fmla="*/ 15 h 155"/>
                <a:gd name="T6" fmla="*/ 94 w 292"/>
                <a:gd name="T7" fmla="*/ 53 h 155"/>
                <a:gd name="T8" fmla="*/ 137 w 292"/>
                <a:gd name="T9" fmla="*/ 77 h 155"/>
                <a:gd name="T10" fmla="*/ 185 w 292"/>
                <a:gd name="T11" fmla="*/ 103 h 155"/>
                <a:gd name="T12" fmla="*/ 238 w 292"/>
                <a:gd name="T13" fmla="*/ 129 h 155"/>
                <a:gd name="T14" fmla="*/ 292 w 292"/>
                <a:gd name="T15" fmla="*/ 155 h 155"/>
                <a:gd name="T16" fmla="*/ 292 w 292"/>
                <a:gd name="T17" fmla="*/ 155 h 155"/>
                <a:gd name="T18" fmla="*/ 253 w 292"/>
                <a:gd name="T19" fmla="*/ 137 h 155"/>
                <a:gd name="T20" fmla="*/ 213 w 292"/>
                <a:gd name="T21" fmla="*/ 118 h 155"/>
                <a:gd name="T22" fmla="*/ 175 w 292"/>
                <a:gd name="T23" fmla="*/ 100 h 155"/>
                <a:gd name="T24" fmla="*/ 137 w 292"/>
                <a:gd name="T25" fmla="*/ 81 h 155"/>
                <a:gd name="T26" fmla="*/ 102 w 292"/>
                <a:gd name="T27" fmla="*/ 61 h 155"/>
                <a:gd name="T28" fmla="*/ 67 w 292"/>
                <a:gd name="T29" fmla="*/ 40 h 155"/>
                <a:gd name="T30" fmla="*/ 32 w 292"/>
                <a:gd name="T31" fmla="*/ 20 h 155"/>
                <a:gd name="T32" fmla="*/ 0 w 292"/>
                <a:gd name="T33" fmla="*/ 0 h 155"/>
                <a:gd name="T34" fmla="*/ 0 w 292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2" h="155">
                  <a:moveTo>
                    <a:pt x="0" y="0"/>
                  </a:moveTo>
                  <a:lnTo>
                    <a:pt x="0" y="0"/>
                  </a:lnTo>
                  <a:lnTo>
                    <a:pt x="27" y="15"/>
                  </a:lnTo>
                  <a:lnTo>
                    <a:pt x="94" y="53"/>
                  </a:lnTo>
                  <a:lnTo>
                    <a:pt x="137" y="77"/>
                  </a:lnTo>
                  <a:lnTo>
                    <a:pt x="185" y="103"/>
                  </a:lnTo>
                  <a:lnTo>
                    <a:pt x="238" y="129"/>
                  </a:lnTo>
                  <a:lnTo>
                    <a:pt x="292" y="155"/>
                  </a:lnTo>
                  <a:lnTo>
                    <a:pt x="292" y="155"/>
                  </a:lnTo>
                  <a:lnTo>
                    <a:pt x="253" y="137"/>
                  </a:lnTo>
                  <a:lnTo>
                    <a:pt x="213" y="118"/>
                  </a:lnTo>
                  <a:lnTo>
                    <a:pt x="175" y="100"/>
                  </a:lnTo>
                  <a:lnTo>
                    <a:pt x="137" y="81"/>
                  </a:lnTo>
                  <a:lnTo>
                    <a:pt x="102" y="61"/>
                  </a:lnTo>
                  <a:lnTo>
                    <a:pt x="67" y="40"/>
                  </a:lnTo>
                  <a:lnTo>
                    <a:pt x="32" y="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4" name="Freeform 13"/>
            <p:cNvSpPr>
              <a:spLocks/>
            </p:cNvSpPr>
            <p:nvPr/>
          </p:nvSpPr>
          <p:spPr bwMode="auto">
            <a:xfrm flipH="1">
              <a:off x="5397506" y="3516179"/>
              <a:ext cx="2580" cy="0"/>
            </a:xfrm>
            <a:custGeom>
              <a:avLst/>
              <a:gdLst>
                <a:gd name="T0" fmla="*/ 0 w 15"/>
                <a:gd name="T1" fmla="*/ 4 h 4"/>
                <a:gd name="T2" fmla="*/ 0 w 15"/>
                <a:gd name="T3" fmla="*/ 4 h 4"/>
                <a:gd name="T4" fmla="*/ 15 w 15"/>
                <a:gd name="T5" fmla="*/ 0 h 4"/>
                <a:gd name="T6" fmla="*/ 15 w 15"/>
                <a:gd name="T7" fmla="*/ 0 h 4"/>
                <a:gd name="T8" fmla="*/ 0 w 1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lnTo>
                    <a:pt x="0" y="4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5" name="Freeform 14"/>
            <p:cNvSpPr>
              <a:spLocks/>
            </p:cNvSpPr>
            <p:nvPr/>
          </p:nvSpPr>
          <p:spPr bwMode="auto">
            <a:xfrm flipH="1">
              <a:off x="5397506" y="3516179"/>
              <a:ext cx="2580" cy="0"/>
            </a:xfrm>
            <a:custGeom>
              <a:avLst/>
              <a:gdLst>
                <a:gd name="T0" fmla="*/ 0 w 15"/>
                <a:gd name="T1" fmla="*/ 4 h 4"/>
                <a:gd name="T2" fmla="*/ 0 w 15"/>
                <a:gd name="T3" fmla="*/ 4 h 4"/>
                <a:gd name="T4" fmla="*/ 15 w 15"/>
                <a:gd name="T5" fmla="*/ 0 h 4"/>
                <a:gd name="T6" fmla="*/ 15 w 15"/>
                <a:gd name="T7" fmla="*/ 0 h 4"/>
                <a:gd name="T8" fmla="*/ 0 w 1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lnTo>
                    <a:pt x="0" y="4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0" y="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6" name="Freeform 15"/>
            <p:cNvSpPr>
              <a:spLocks noEditPoints="1"/>
            </p:cNvSpPr>
            <p:nvPr/>
          </p:nvSpPr>
          <p:spPr bwMode="auto">
            <a:xfrm flipH="1">
              <a:off x="5170450" y="3222078"/>
              <a:ext cx="1059164" cy="325059"/>
            </a:xfrm>
            <a:custGeom>
              <a:avLst/>
              <a:gdLst>
                <a:gd name="T0" fmla="*/ 821 w 5746"/>
                <a:gd name="T1" fmla="*/ 1914 h 2268"/>
                <a:gd name="T2" fmla="*/ 1091 w 5746"/>
                <a:gd name="T3" fmla="*/ 2009 h 2268"/>
                <a:gd name="T4" fmla="*/ 1354 w 5746"/>
                <a:gd name="T5" fmla="*/ 2087 h 2268"/>
                <a:gd name="T6" fmla="*/ 1654 w 5746"/>
                <a:gd name="T7" fmla="*/ 2156 h 2268"/>
                <a:gd name="T8" fmla="*/ 1944 w 5746"/>
                <a:gd name="T9" fmla="*/ 2204 h 2268"/>
                <a:gd name="T10" fmla="*/ 2213 w 5746"/>
                <a:gd name="T11" fmla="*/ 2236 h 2268"/>
                <a:gd name="T12" fmla="*/ 2646 w 5746"/>
                <a:gd name="T13" fmla="*/ 2264 h 2268"/>
                <a:gd name="T14" fmla="*/ 2874 w 5746"/>
                <a:gd name="T15" fmla="*/ 2267 h 2268"/>
                <a:gd name="T16" fmla="*/ 3032 w 5746"/>
                <a:gd name="T17" fmla="*/ 2267 h 2268"/>
                <a:gd name="T18" fmla="*/ 3358 w 5746"/>
                <a:gd name="T19" fmla="*/ 2251 h 2268"/>
                <a:gd name="T20" fmla="*/ 3707 w 5746"/>
                <a:gd name="T21" fmla="*/ 2218 h 2268"/>
                <a:gd name="T22" fmla="*/ 3685 w 5746"/>
                <a:gd name="T23" fmla="*/ 996 h 2268"/>
                <a:gd name="T24" fmla="*/ 3289 w 5746"/>
                <a:gd name="T25" fmla="*/ 1039 h 2268"/>
                <a:gd name="T26" fmla="*/ 2874 w 5746"/>
                <a:gd name="T27" fmla="*/ 1054 h 2268"/>
                <a:gd name="T28" fmla="*/ 2675 w 5746"/>
                <a:gd name="T29" fmla="*/ 1051 h 2268"/>
                <a:gd name="T30" fmla="*/ 2418 w 5746"/>
                <a:gd name="T31" fmla="*/ 1036 h 2268"/>
                <a:gd name="T32" fmla="*/ 2170 w 5746"/>
                <a:gd name="T33" fmla="*/ 1011 h 2268"/>
                <a:gd name="T34" fmla="*/ 1932 w 5746"/>
                <a:gd name="T35" fmla="*/ 976 h 2268"/>
                <a:gd name="T36" fmla="*/ 1705 w 5746"/>
                <a:gd name="T37" fmla="*/ 931 h 2268"/>
                <a:gd name="T38" fmla="*/ 1491 w 5746"/>
                <a:gd name="T39" fmla="*/ 877 h 2268"/>
                <a:gd name="T40" fmla="*/ 1291 w 5746"/>
                <a:gd name="T41" fmla="*/ 815 h 2268"/>
                <a:gd name="T42" fmla="*/ 1106 w 5746"/>
                <a:gd name="T43" fmla="*/ 744 h 2268"/>
                <a:gd name="T44" fmla="*/ 54 w 5746"/>
                <a:gd name="T45" fmla="*/ 823 h 2268"/>
                <a:gd name="T46" fmla="*/ 346 w 5746"/>
                <a:gd name="T47" fmla="*/ 20 h 2268"/>
                <a:gd name="T48" fmla="*/ 361 w 5746"/>
                <a:gd name="T49" fmla="*/ 95 h 2268"/>
                <a:gd name="T50" fmla="*/ 387 w 5746"/>
                <a:gd name="T51" fmla="*/ 169 h 2268"/>
                <a:gd name="T52" fmla="*/ 425 w 5746"/>
                <a:gd name="T53" fmla="*/ 242 h 2268"/>
                <a:gd name="T54" fmla="*/ 488 w 5746"/>
                <a:gd name="T55" fmla="*/ 330 h 2268"/>
                <a:gd name="T56" fmla="*/ 622 w 5746"/>
                <a:gd name="T57" fmla="*/ 463 h 2268"/>
                <a:gd name="T58" fmla="*/ 748 w 5746"/>
                <a:gd name="T59" fmla="*/ 556 h 2268"/>
                <a:gd name="T60" fmla="*/ 315 w 5746"/>
                <a:gd name="T61" fmla="*/ 1655 h 2268"/>
                <a:gd name="T62" fmla="*/ 215 w 5746"/>
                <a:gd name="T63" fmla="*/ 1573 h 2268"/>
                <a:gd name="T64" fmla="*/ 132 w 5746"/>
                <a:gd name="T65" fmla="*/ 1482 h 2268"/>
                <a:gd name="T66" fmla="*/ 68 w 5746"/>
                <a:gd name="T67" fmla="*/ 1384 h 2268"/>
                <a:gd name="T68" fmla="*/ 24 w 5746"/>
                <a:gd name="T69" fmla="*/ 1278 h 2268"/>
                <a:gd name="T70" fmla="*/ 2 w 5746"/>
                <a:gd name="T71" fmla="*/ 1161 h 2268"/>
                <a:gd name="T72" fmla="*/ 4 w 5746"/>
                <a:gd name="T73" fmla="*/ 1034 h 2268"/>
                <a:gd name="T74" fmla="*/ 30 w 5746"/>
                <a:gd name="T75" fmla="*/ 896 h 2268"/>
                <a:gd name="T76" fmla="*/ 5402 w 5746"/>
                <a:gd name="T77" fmla="*/ 3 h 2268"/>
                <a:gd name="T78" fmla="*/ 5715 w 5746"/>
                <a:gd name="T79" fmla="*/ 894 h 2268"/>
                <a:gd name="T80" fmla="*/ 5742 w 5746"/>
                <a:gd name="T81" fmla="*/ 1029 h 2268"/>
                <a:gd name="T82" fmla="*/ 5745 w 5746"/>
                <a:gd name="T83" fmla="*/ 1152 h 2268"/>
                <a:gd name="T84" fmla="*/ 5725 w 5746"/>
                <a:gd name="T85" fmla="*/ 1265 h 2268"/>
                <a:gd name="T86" fmla="*/ 5686 w 5746"/>
                <a:gd name="T87" fmla="*/ 1369 h 2268"/>
                <a:gd name="T88" fmla="*/ 5627 w 5746"/>
                <a:gd name="T89" fmla="*/ 1465 h 2268"/>
                <a:gd name="T90" fmla="*/ 5550 w 5746"/>
                <a:gd name="T91" fmla="*/ 1555 h 2268"/>
                <a:gd name="T92" fmla="*/ 5456 w 5746"/>
                <a:gd name="T93" fmla="*/ 1636 h 2268"/>
                <a:gd name="T94" fmla="*/ 5064 w 5746"/>
                <a:gd name="T95" fmla="*/ 510 h 2268"/>
                <a:gd name="T96" fmla="*/ 5169 w 5746"/>
                <a:gd name="T97" fmla="*/ 423 h 2268"/>
                <a:gd name="T98" fmla="*/ 5281 w 5746"/>
                <a:gd name="T99" fmla="*/ 301 h 2268"/>
                <a:gd name="T100" fmla="*/ 5358 w 5746"/>
                <a:gd name="T101" fmla="*/ 172 h 2268"/>
                <a:gd name="T102" fmla="*/ 5398 w 5746"/>
                <a:gd name="T103" fmla="*/ 3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46" h="2268">
                  <a:moveTo>
                    <a:pt x="770" y="1895"/>
                  </a:moveTo>
                  <a:lnTo>
                    <a:pt x="770" y="1895"/>
                  </a:lnTo>
                  <a:lnTo>
                    <a:pt x="770" y="1895"/>
                  </a:lnTo>
                  <a:lnTo>
                    <a:pt x="821" y="1914"/>
                  </a:lnTo>
                  <a:lnTo>
                    <a:pt x="873" y="1934"/>
                  </a:lnTo>
                  <a:lnTo>
                    <a:pt x="926" y="1953"/>
                  </a:lnTo>
                  <a:lnTo>
                    <a:pt x="979" y="1972"/>
                  </a:lnTo>
                  <a:lnTo>
                    <a:pt x="1091" y="2009"/>
                  </a:lnTo>
                  <a:lnTo>
                    <a:pt x="1204" y="2045"/>
                  </a:lnTo>
                  <a:lnTo>
                    <a:pt x="1204" y="2045"/>
                  </a:lnTo>
                  <a:lnTo>
                    <a:pt x="1279" y="2067"/>
                  </a:lnTo>
                  <a:lnTo>
                    <a:pt x="1354" y="2087"/>
                  </a:lnTo>
                  <a:lnTo>
                    <a:pt x="1430" y="2107"/>
                  </a:lnTo>
                  <a:lnTo>
                    <a:pt x="1504" y="2125"/>
                  </a:lnTo>
                  <a:lnTo>
                    <a:pt x="1579" y="2140"/>
                  </a:lnTo>
                  <a:lnTo>
                    <a:pt x="1654" y="2156"/>
                  </a:lnTo>
                  <a:lnTo>
                    <a:pt x="1728" y="2170"/>
                  </a:lnTo>
                  <a:lnTo>
                    <a:pt x="1801" y="2182"/>
                  </a:lnTo>
                  <a:lnTo>
                    <a:pt x="1873" y="2194"/>
                  </a:lnTo>
                  <a:lnTo>
                    <a:pt x="1944" y="2204"/>
                  </a:lnTo>
                  <a:lnTo>
                    <a:pt x="2014" y="2213"/>
                  </a:lnTo>
                  <a:lnTo>
                    <a:pt x="2082" y="2223"/>
                  </a:lnTo>
                  <a:lnTo>
                    <a:pt x="2149" y="2230"/>
                  </a:lnTo>
                  <a:lnTo>
                    <a:pt x="2213" y="2236"/>
                  </a:lnTo>
                  <a:lnTo>
                    <a:pt x="2337" y="2248"/>
                  </a:lnTo>
                  <a:lnTo>
                    <a:pt x="2452" y="2255"/>
                  </a:lnTo>
                  <a:lnTo>
                    <a:pt x="2554" y="2261"/>
                  </a:lnTo>
                  <a:lnTo>
                    <a:pt x="2646" y="2264"/>
                  </a:lnTo>
                  <a:lnTo>
                    <a:pt x="2724" y="2267"/>
                  </a:lnTo>
                  <a:lnTo>
                    <a:pt x="2787" y="2268"/>
                  </a:lnTo>
                  <a:lnTo>
                    <a:pt x="2834" y="2268"/>
                  </a:lnTo>
                  <a:lnTo>
                    <a:pt x="2874" y="2267"/>
                  </a:lnTo>
                  <a:lnTo>
                    <a:pt x="2874" y="2267"/>
                  </a:lnTo>
                  <a:lnTo>
                    <a:pt x="2892" y="2268"/>
                  </a:lnTo>
                  <a:lnTo>
                    <a:pt x="2946" y="2268"/>
                  </a:lnTo>
                  <a:lnTo>
                    <a:pt x="3032" y="2267"/>
                  </a:lnTo>
                  <a:lnTo>
                    <a:pt x="3145" y="2263"/>
                  </a:lnTo>
                  <a:lnTo>
                    <a:pt x="3210" y="2260"/>
                  </a:lnTo>
                  <a:lnTo>
                    <a:pt x="3282" y="2256"/>
                  </a:lnTo>
                  <a:lnTo>
                    <a:pt x="3358" y="2251"/>
                  </a:lnTo>
                  <a:lnTo>
                    <a:pt x="3440" y="2245"/>
                  </a:lnTo>
                  <a:lnTo>
                    <a:pt x="3525" y="2237"/>
                  </a:lnTo>
                  <a:lnTo>
                    <a:pt x="3615" y="2228"/>
                  </a:lnTo>
                  <a:lnTo>
                    <a:pt x="3707" y="2218"/>
                  </a:lnTo>
                  <a:lnTo>
                    <a:pt x="3803" y="2204"/>
                  </a:lnTo>
                  <a:lnTo>
                    <a:pt x="3803" y="2204"/>
                  </a:lnTo>
                  <a:lnTo>
                    <a:pt x="3685" y="996"/>
                  </a:lnTo>
                  <a:lnTo>
                    <a:pt x="3685" y="996"/>
                  </a:lnTo>
                  <a:lnTo>
                    <a:pt x="3588" y="1010"/>
                  </a:lnTo>
                  <a:lnTo>
                    <a:pt x="3490" y="1021"/>
                  </a:lnTo>
                  <a:lnTo>
                    <a:pt x="3390" y="1031"/>
                  </a:lnTo>
                  <a:lnTo>
                    <a:pt x="3289" y="1039"/>
                  </a:lnTo>
                  <a:lnTo>
                    <a:pt x="3188" y="1045"/>
                  </a:lnTo>
                  <a:lnTo>
                    <a:pt x="3084" y="1050"/>
                  </a:lnTo>
                  <a:lnTo>
                    <a:pt x="2979" y="1053"/>
                  </a:lnTo>
                  <a:lnTo>
                    <a:pt x="2874" y="1054"/>
                  </a:lnTo>
                  <a:lnTo>
                    <a:pt x="2874" y="1054"/>
                  </a:lnTo>
                  <a:lnTo>
                    <a:pt x="2807" y="1053"/>
                  </a:lnTo>
                  <a:lnTo>
                    <a:pt x="2741" y="1052"/>
                  </a:lnTo>
                  <a:lnTo>
                    <a:pt x="2675" y="1051"/>
                  </a:lnTo>
                  <a:lnTo>
                    <a:pt x="2611" y="1047"/>
                  </a:lnTo>
                  <a:lnTo>
                    <a:pt x="2546" y="1044"/>
                  </a:lnTo>
                  <a:lnTo>
                    <a:pt x="2482" y="1040"/>
                  </a:lnTo>
                  <a:lnTo>
                    <a:pt x="2418" y="1036"/>
                  </a:lnTo>
                  <a:lnTo>
                    <a:pt x="2356" y="1031"/>
                  </a:lnTo>
                  <a:lnTo>
                    <a:pt x="2294" y="1025"/>
                  </a:lnTo>
                  <a:lnTo>
                    <a:pt x="2231" y="1018"/>
                  </a:lnTo>
                  <a:lnTo>
                    <a:pt x="2170" y="1011"/>
                  </a:lnTo>
                  <a:lnTo>
                    <a:pt x="2109" y="1003"/>
                  </a:lnTo>
                  <a:lnTo>
                    <a:pt x="2049" y="994"/>
                  </a:lnTo>
                  <a:lnTo>
                    <a:pt x="1990" y="986"/>
                  </a:lnTo>
                  <a:lnTo>
                    <a:pt x="1932" y="976"/>
                  </a:lnTo>
                  <a:lnTo>
                    <a:pt x="1875" y="965"/>
                  </a:lnTo>
                  <a:lnTo>
                    <a:pt x="1817" y="955"/>
                  </a:lnTo>
                  <a:lnTo>
                    <a:pt x="1760" y="943"/>
                  </a:lnTo>
                  <a:lnTo>
                    <a:pt x="1705" y="931"/>
                  </a:lnTo>
                  <a:lnTo>
                    <a:pt x="1650" y="918"/>
                  </a:lnTo>
                  <a:lnTo>
                    <a:pt x="1596" y="905"/>
                  </a:lnTo>
                  <a:lnTo>
                    <a:pt x="1543" y="891"/>
                  </a:lnTo>
                  <a:lnTo>
                    <a:pt x="1491" y="877"/>
                  </a:lnTo>
                  <a:lnTo>
                    <a:pt x="1440" y="862"/>
                  </a:lnTo>
                  <a:lnTo>
                    <a:pt x="1389" y="846"/>
                  </a:lnTo>
                  <a:lnTo>
                    <a:pt x="1339" y="831"/>
                  </a:lnTo>
                  <a:lnTo>
                    <a:pt x="1291" y="815"/>
                  </a:lnTo>
                  <a:lnTo>
                    <a:pt x="1243" y="797"/>
                  </a:lnTo>
                  <a:lnTo>
                    <a:pt x="1197" y="781"/>
                  </a:lnTo>
                  <a:lnTo>
                    <a:pt x="1151" y="763"/>
                  </a:lnTo>
                  <a:lnTo>
                    <a:pt x="1106" y="744"/>
                  </a:lnTo>
                  <a:lnTo>
                    <a:pt x="1063" y="726"/>
                  </a:lnTo>
                  <a:lnTo>
                    <a:pt x="1063" y="726"/>
                  </a:lnTo>
                  <a:lnTo>
                    <a:pt x="770" y="1895"/>
                  </a:lnTo>
                  <a:close/>
                  <a:moveTo>
                    <a:pt x="54" y="823"/>
                  </a:moveTo>
                  <a:lnTo>
                    <a:pt x="54" y="823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6" y="20"/>
                  </a:lnTo>
                  <a:lnTo>
                    <a:pt x="348" y="39"/>
                  </a:lnTo>
                  <a:lnTo>
                    <a:pt x="352" y="58"/>
                  </a:lnTo>
                  <a:lnTo>
                    <a:pt x="356" y="76"/>
                  </a:lnTo>
                  <a:lnTo>
                    <a:pt x="361" y="95"/>
                  </a:lnTo>
                  <a:lnTo>
                    <a:pt x="366" y="114"/>
                  </a:lnTo>
                  <a:lnTo>
                    <a:pt x="372" y="133"/>
                  </a:lnTo>
                  <a:lnTo>
                    <a:pt x="380" y="151"/>
                  </a:lnTo>
                  <a:lnTo>
                    <a:pt x="387" y="169"/>
                  </a:lnTo>
                  <a:lnTo>
                    <a:pt x="396" y="188"/>
                  </a:lnTo>
                  <a:lnTo>
                    <a:pt x="404" y="206"/>
                  </a:lnTo>
                  <a:lnTo>
                    <a:pt x="415" y="224"/>
                  </a:lnTo>
                  <a:lnTo>
                    <a:pt x="425" y="242"/>
                  </a:lnTo>
                  <a:lnTo>
                    <a:pt x="437" y="260"/>
                  </a:lnTo>
                  <a:lnTo>
                    <a:pt x="448" y="277"/>
                  </a:lnTo>
                  <a:lnTo>
                    <a:pt x="461" y="295"/>
                  </a:lnTo>
                  <a:lnTo>
                    <a:pt x="488" y="330"/>
                  </a:lnTo>
                  <a:lnTo>
                    <a:pt x="518" y="364"/>
                  </a:lnTo>
                  <a:lnTo>
                    <a:pt x="550" y="397"/>
                  </a:lnTo>
                  <a:lnTo>
                    <a:pt x="584" y="431"/>
                  </a:lnTo>
                  <a:lnTo>
                    <a:pt x="622" y="463"/>
                  </a:lnTo>
                  <a:lnTo>
                    <a:pt x="661" y="494"/>
                  </a:lnTo>
                  <a:lnTo>
                    <a:pt x="703" y="525"/>
                  </a:lnTo>
                  <a:lnTo>
                    <a:pt x="748" y="556"/>
                  </a:lnTo>
                  <a:lnTo>
                    <a:pt x="748" y="556"/>
                  </a:lnTo>
                  <a:lnTo>
                    <a:pt x="371" y="1693"/>
                  </a:lnTo>
                  <a:lnTo>
                    <a:pt x="371" y="1693"/>
                  </a:lnTo>
                  <a:lnTo>
                    <a:pt x="343" y="1675"/>
                  </a:lnTo>
                  <a:lnTo>
                    <a:pt x="315" y="1655"/>
                  </a:lnTo>
                  <a:lnTo>
                    <a:pt x="289" y="1635"/>
                  </a:lnTo>
                  <a:lnTo>
                    <a:pt x="263" y="1614"/>
                  </a:lnTo>
                  <a:lnTo>
                    <a:pt x="238" y="1593"/>
                  </a:lnTo>
                  <a:lnTo>
                    <a:pt x="215" y="1573"/>
                  </a:lnTo>
                  <a:lnTo>
                    <a:pt x="192" y="1551"/>
                  </a:lnTo>
                  <a:lnTo>
                    <a:pt x="172" y="1528"/>
                  </a:lnTo>
                  <a:lnTo>
                    <a:pt x="151" y="1505"/>
                  </a:lnTo>
                  <a:lnTo>
                    <a:pt x="132" y="1482"/>
                  </a:lnTo>
                  <a:lnTo>
                    <a:pt x="114" y="1458"/>
                  </a:lnTo>
                  <a:lnTo>
                    <a:pt x="98" y="1434"/>
                  </a:lnTo>
                  <a:lnTo>
                    <a:pt x="82" y="1409"/>
                  </a:lnTo>
                  <a:lnTo>
                    <a:pt x="68" y="1384"/>
                  </a:lnTo>
                  <a:lnTo>
                    <a:pt x="55" y="1358"/>
                  </a:lnTo>
                  <a:lnTo>
                    <a:pt x="44" y="1332"/>
                  </a:lnTo>
                  <a:lnTo>
                    <a:pt x="33" y="1305"/>
                  </a:lnTo>
                  <a:lnTo>
                    <a:pt x="24" y="1278"/>
                  </a:lnTo>
                  <a:lnTo>
                    <a:pt x="17" y="1249"/>
                  </a:lnTo>
                  <a:lnTo>
                    <a:pt x="10" y="1220"/>
                  </a:lnTo>
                  <a:lnTo>
                    <a:pt x="5" y="1191"/>
                  </a:lnTo>
                  <a:lnTo>
                    <a:pt x="2" y="1161"/>
                  </a:lnTo>
                  <a:lnTo>
                    <a:pt x="0" y="1130"/>
                  </a:lnTo>
                  <a:lnTo>
                    <a:pt x="0" y="1099"/>
                  </a:lnTo>
                  <a:lnTo>
                    <a:pt x="1" y="1067"/>
                  </a:lnTo>
                  <a:lnTo>
                    <a:pt x="4" y="1034"/>
                  </a:lnTo>
                  <a:lnTo>
                    <a:pt x="8" y="1001"/>
                  </a:lnTo>
                  <a:lnTo>
                    <a:pt x="14" y="967"/>
                  </a:lnTo>
                  <a:lnTo>
                    <a:pt x="22" y="932"/>
                  </a:lnTo>
                  <a:lnTo>
                    <a:pt x="30" y="896"/>
                  </a:lnTo>
                  <a:lnTo>
                    <a:pt x="42" y="861"/>
                  </a:lnTo>
                  <a:lnTo>
                    <a:pt x="54" y="823"/>
                  </a:lnTo>
                  <a:close/>
                  <a:moveTo>
                    <a:pt x="5402" y="3"/>
                  </a:moveTo>
                  <a:lnTo>
                    <a:pt x="5402" y="3"/>
                  </a:lnTo>
                  <a:lnTo>
                    <a:pt x="5693" y="823"/>
                  </a:lnTo>
                  <a:lnTo>
                    <a:pt x="5693" y="823"/>
                  </a:lnTo>
                  <a:lnTo>
                    <a:pt x="5705" y="860"/>
                  </a:lnTo>
                  <a:lnTo>
                    <a:pt x="5715" y="894"/>
                  </a:lnTo>
                  <a:lnTo>
                    <a:pt x="5724" y="929"/>
                  </a:lnTo>
                  <a:lnTo>
                    <a:pt x="5732" y="963"/>
                  </a:lnTo>
                  <a:lnTo>
                    <a:pt x="5738" y="995"/>
                  </a:lnTo>
                  <a:lnTo>
                    <a:pt x="5742" y="1029"/>
                  </a:lnTo>
                  <a:lnTo>
                    <a:pt x="5745" y="1060"/>
                  </a:lnTo>
                  <a:lnTo>
                    <a:pt x="5746" y="1091"/>
                  </a:lnTo>
                  <a:lnTo>
                    <a:pt x="5746" y="1121"/>
                  </a:lnTo>
                  <a:lnTo>
                    <a:pt x="5745" y="1152"/>
                  </a:lnTo>
                  <a:lnTo>
                    <a:pt x="5742" y="1181"/>
                  </a:lnTo>
                  <a:lnTo>
                    <a:pt x="5738" y="1209"/>
                  </a:lnTo>
                  <a:lnTo>
                    <a:pt x="5733" y="1237"/>
                  </a:lnTo>
                  <a:lnTo>
                    <a:pt x="5725" y="1265"/>
                  </a:lnTo>
                  <a:lnTo>
                    <a:pt x="5718" y="1292"/>
                  </a:lnTo>
                  <a:lnTo>
                    <a:pt x="5709" y="1318"/>
                  </a:lnTo>
                  <a:lnTo>
                    <a:pt x="5697" y="1344"/>
                  </a:lnTo>
                  <a:lnTo>
                    <a:pt x="5686" y="1369"/>
                  </a:lnTo>
                  <a:lnTo>
                    <a:pt x="5672" y="1394"/>
                  </a:lnTo>
                  <a:lnTo>
                    <a:pt x="5659" y="1418"/>
                  </a:lnTo>
                  <a:lnTo>
                    <a:pt x="5643" y="1442"/>
                  </a:lnTo>
                  <a:lnTo>
                    <a:pt x="5627" y="1465"/>
                  </a:lnTo>
                  <a:lnTo>
                    <a:pt x="5609" y="1488"/>
                  </a:lnTo>
                  <a:lnTo>
                    <a:pt x="5590" y="1511"/>
                  </a:lnTo>
                  <a:lnTo>
                    <a:pt x="5570" y="1533"/>
                  </a:lnTo>
                  <a:lnTo>
                    <a:pt x="5550" y="1555"/>
                  </a:lnTo>
                  <a:lnTo>
                    <a:pt x="5528" y="1576"/>
                  </a:lnTo>
                  <a:lnTo>
                    <a:pt x="5505" y="1597"/>
                  </a:lnTo>
                  <a:lnTo>
                    <a:pt x="5481" y="1616"/>
                  </a:lnTo>
                  <a:lnTo>
                    <a:pt x="5456" y="1636"/>
                  </a:lnTo>
                  <a:lnTo>
                    <a:pt x="5430" y="1656"/>
                  </a:lnTo>
                  <a:lnTo>
                    <a:pt x="5403" y="1675"/>
                  </a:lnTo>
                  <a:lnTo>
                    <a:pt x="5403" y="1675"/>
                  </a:lnTo>
                  <a:lnTo>
                    <a:pt x="5064" y="510"/>
                  </a:lnTo>
                  <a:lnTo>
                    <a:pt x="5064" y="510"/>
                  </a:lnTo>
                  <a:lnTo>
                    <a:pt x="5102" y="482"/>
                  </a:lnTo>
                  <a:lnTo>
                    <a:pt x="5136" y="453"/>
                  </a:lnTo>
                  <a:lnTo>
                    <a:pt x="5169" y="423"/>
                  </a:lnTo>
                  <a:lnTo>
                    <a:pt x="5200" y="393"/>
                  </a:lnTo>
                  <a:lnTo>
                    <a:pt x="5229" y="363"/>
                  </a:lnTo>
                  <a:lnTo>
                    <a:pt x="5256" y="333"/>
                  </a:lnTo>
                  <a:lnTo>
                    <a:pt x="5281" y="301"/>
                  </a:lnTo>
                  <a:lnTo>
                    <a:pt x="5303" y="269"/>
                  </a:lnTo>
                  <a:lnTo>
                    <a:pt x="5324" y="238"/>
                  </a:lnTo>
                  <a:lnTo>
                    <a:pt x="5342" y="205"/>
                  </a:lnTo>
                  <a:lnTo>
                    <a:pt x="5358" y="172"/>
                  </a:lnTo>
                  <a:lnTo>
                    <a:pt x="5372" y="139"/>
                  </a:lnTo>
                  <a:lnTo>
                    <a:pt x="5382" y="106"/>
                  </a:lnTo>
                  <a:lnTo>
                    <a:pt x="5392" y="71"/>
                  </a:lnTo>
                  <a:lnTo>
                    <a:pt x="5398" y="38"/>
                  </a:lnTo>
                  <a:lnTo>
                    <a:pt x="5400" y="20"/>
                  </a:lnTo>
                  <a:lnTo>
                    <a:pt x="5402" y="3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7" name="Freeform 16"/>
            <p:cNvSpPr>
              <a:spLocks/>
            </p:cNvSpPr>
            <p:nvPr/>
          </p:nvSpPr>
          <p:spPr bwMode="auto">
            <a:xfrm flipH="1">
              <a:off x="5527805" y="3325272"/>
              <a:ext cx="559899" cy="221866"/>
            </a:xfrm>
            <a:custGeom>
              <a:avLst/>
              <a:gdLst>
                <a:gd name="T0" fmla="*/ 0 w 3033"/>
                <a:gd name="T1" fmla="*/ 1169 h 1542"/>
                <a:gd name="T2" fmla="*/ 51 w 3033"/>
                <a:gd name="T3" fmla="*/ 1188 h 1542"/>
                <a:gd name="T4" fmla="*/ 156 w 3033"/>
                <a:gd name="T5" fmla="*/ 1227 h 1542"/>
                <a:gd name="T6" fmla="*/ 321 w 3033"/>
                <a:gd name="T7" fmla="*/ 1283 h 1542"/>
                <a:gd name="T8" fmla="*/ 434 w 3033"/>
                <a:gd name="T9" fmla="*/ 1319 h 1542"/>
                <a:gd name="T10" fmla="*/ 584 w 3033"/>
                <a:gd name="T11" fmla="*/ 1361 h 1542"/>
                <a:gd name="T12" fmla="*/ 734 w 3033"/>
                <a:gd name="T13" fmla="*/ 1399 h 1542"/>
                <a:gd name="T14" fmla="*/ 884 w 3033"/>
                <a:gd name="T15" fmla="*/ 1430 h 1542"/>
                <a:gd name="T16" fmla="*/ 1031 w 3033"/>
                <a:gd name="T17" fmla="*/ 1456 h 1542"/>
                <a:gd name="T18" fmla="*/ 1174 w 3033"/>
                <a:gd name="T19" fmla="*/ 1478 h 1542"/>
                <a:gd name="T20" fmla="*/ 1312 w 3033"/>
                <a:gd name="T21" fmla="*/ 1497 h 1542"/>
                <a:gd name="T22" fmla="*/ 1443 w 3033"/>
                <a:gd name="T23" fmla="*/ 1510 h 1542"/>
                <a:gd name="T24" fmla="*/ 1682 w 3033"/>
                <a:gd name="T25" fmla="*/ 1529 h 1542"/>
                <a:gd name="T26" fmla="*/ 1876 w 3033"/>
                <a:gd name="T27" fmla="*/ 1538 h 1542"/>
                <a:gd name="T28" fmla="*/ 2017 w 3033"/>
                <a:gd name="T29" fmla="*/ 1542 h 1542"/>
                <a:gd name="T30" fmla="*/ 2104 w 3033"/>
                <a:gd name="T31" fmla="*/ 1541 h 1542"/>
                <a:gd name="T32" fmla="*/ 2122 w 3033"/>
                <a:gd name="T33" fmla="*/ 1542 h 1542"/>
                <a:gd name="T34" fmla="*/ 2262 w 3033"/>
                <a:gd name="T35" fmla="*/ 1541 h 1542"/>
                <a:gd name="T36" fmla="*/ 2440 w 3033"/>
                <a:gd name="T37" fmla="*/ 1534 h 1542"/>
                <a:gd name="T38" fmla="*/ 2588 w 3033"/>
                <a:gd name="T39" fmla="*/ 1525 h 1542"/>
                <a:gd name="T40" fmla="*/ 2755 w 3033"/>
                <a:gd name="T41" fmla="*/ 1511 h 1542"/>
                <a:gd name="T42" fmla="*/ 2937 w 3033"/>
                <a:gd name="T43" fmla="*/ 1492 h 1542"/>
                <a:gd name="T44" fmla="*/ 3033 w 3033"/>
                <a:gd name="T45" fmla="*/ 1478 h 1542"/>
                <a:gd name="T46" fmla="*/ 2915 w 3033"/>
                <a:gd name="T47" fmla="*/ 270 h 1542"/>
                <a:gd name="T48" fmla="*/ 2720 w 3033"/>
                <a:gd name="T49" fmla="*/ 295 h 1542"/>
                <a:gd name="T50" fmla="*/ 2519 w 3033"/>
                <a:gd name="T51" fmla="*/ 313 h 1542"/>
                <a:gd name="T52" fmla="*/ 2314 w 3033"/>
                <a:gd name="T53" fmla="*/ 324 h 1542"/>
                <a:gd name="T54" fmla="*/ 2104 w 3033"/>
                <a:gd name="T55" fmla="*/ 328 h 1542"/>
                <a:gd name="T56" fmla="*/ 2037 w 3033"/>
                <a:gd name="T57" fmla="*/ 327 h 1542"/>
                <a:gd name="T58" fmla="*/ 1905 w 3033"/>
                <a:gd name="T59" fmla="*/ 325 h 1542"/>
                <a:gd name="T60" fmla="*/ 1776 w 3033"/>
                <a:gd name="T61" fmla="*/ 318 h 1542"/>
                <a:gd name="T62" fmla="*/ 1648 w 3033"/>
                <a:gd name="T63" fmla="*/ 310 h 1542"/>
                <a:gd name="T64" fmla="*/ 1524 w 3033"/>
                <a:gd name="T65" fmla="*/ 299 h 1542"/>
                <a:gd name="T66" fmla="*/ 1400 w 3033"/>
                <a:gd name="T67" fmla="*/ 285 h 1542"/>
                <a:gd name="T68" fmla="*/ 1279 w 3033"/>
                <a:gd name="T69" fmla="*/ 268 h 1542"/>
                <a:gd name="T70" fmla="*/ 1162 w 3033"/>
                <a:gd name="T71" fmla="*/ 250 h 1542"/>
                <a:gd name="T72" fmla="*/ 1047 w 3033"/>
                <a:gd name="T73" fmla="*/ 229 h 1542"/>
                <a:gd name="T74" fmla="*/ 935 w 3033"/>
                <a:gd name="T75" fmla="*/ 205 h 1542"/>
                <a:gd name="T76" fmla="*/ 826 w 3033"/>
                <a:gd name="T77" fmla="*/ 179 h 1542"/>
                <a:gd name="T78" fmla="*/ 721 w 3033"/>
                <a:gd name="T79" fmla="*/ 151 h 1542"/>
                <a:gd name="T80" fmla="*/ 619 w 3033"/>
                <a:gd name="T81" fmla="*/ 120 h 1542"/>
                <a:gd name="T82" fmla="*/ 521 w 3033"/>
                <a:gd name="T83" fmla="*/ 89 h 1542"/>
                <a:gd name="T84" fmla="*/ 427 w 3033"/>
                <a:gd name="T85" fmla="*/ 55 h 1542"/>
                <a:gd name="T86" fmla="*/ 336 w 3033"/>
                <a:gd name="T87" fmla="*/ 18 h 1542"/>
                <a:gd name="T88" fmla="*/ 293 w 3033"/>
                <a:gd name="T89" fmla="*/ 0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33" h="1542">
                  <a:moveTo>
                    <a:pt x="0" y="1169"/>
                  </a:moveTo>
                  <a:lnTo>
                    <a:pt x="0" y="1169"/>
                  </a:lnTo>
                  <a:lnTo>
                    <a:pt x="0" y="1169"/>
                  </a:lnTo>
                  <a:lnTo>
                    <a:pt x="51" y="1188"/>
                  </a:lnTo>
                  <a:lnTo>
                    <a:pt x="103" y="1208"/>
                  </a:lnTo>
                  <a:lnTo>
                    <a:pt x="156" y="1227"/>
                  </a:lnTo>
                  <a:lnTo>
                    <a:pt x="209" y="1246"/>
                  </a:lnTo>
                  <a:lnTo>
                    <a:pt x="321" y="1283"/>
                  </a:lnTo>
                  <a:lnTo>
                    <a:pt x="434" y="1319"/>
                  </a:lnTo>
                  <a:lnTo>
                    <a:pt x="434" y="1319"/>
                  </a:lnTo>
                  <a:lnTo>
                    <a:pt x="509" y="1341"/>
                  </a:lnTo>
                  <a:lnTo>
                    <a:pt x="584" y="1361"/>
                  </a:lnTo>
                  <a:lnTo>
                    <a:pt x="660" y="1381"/>
                  </a:lnTo>
                  <a:lnTo>
                    <a:pt x="734" y="1399"/>
                  </a:lnTo>
                  <a:lnTo>
                    <a:pt x="809" y="1414"/>
                  </a:lnTo>
                  <a:lnTo>
                    <a:pt x="884" y="1430"/>
                  </a:lnTo>
                  <a:lnTo>
                    <a:pt x="958" y="1444"/>
                  </a:lnTo>
                  <a:lnTo>
                    <a:pt x="1031" y="1456"/>
                  </a:lnTo>
                  <a:lnTo>
                    <a:pt x="1103" y="1468"/>
                  </a:lnTo>
                  <a:lnTo>
                    <a:pt x="1174" y="1478"/>
                  </a:lnTo>
                  <a:lnTo>
                    <a:pt x="1244" y="1487"/>
                  </a:lnTo>
                  <a:lnTo>
                    <a:pt x="1312" y="1497"/>
                  </a:lnTo>
                  <a:lnTo>
                    <a:pt x="1379" y="1504"/>
                  </a:lnTo>
                  <a:lnTo>
                    <a:pt x="1443" y="1510"/>
                  </a:lnTo>
                  <a:lnTo>
                    <a:pt x="1567" y="1522"/>
                  </a:lnTo>
                  <a:lnTo>
                    <a:pt x="1682" y="1529"/>
                  </a:lnTo>
                  <a:lnTo>
                    <a:pt x="1784" y="1535"/>
                  </a:lnTo>
                  <a:lnTo>
                    <a:pt x="1876" y="1538"/>
                  </a:lnTo>
                  <a:lnTo>
                    <a:pt x="1954" y="1541"/>
                  </a:lnTo>
                  <a:lnTo>
                    <a:pt x="2017" y="1542"/>
                  </a:lnTo>
                  <a:lnTo>
                    <a:pt x="2064" y="1542"/>
                  </a:lnTo>
                  <a:lnTo>
                    <a:pt x="2104" y="1541"/>
                  </a:lnTo>
                  <a:lnTo>
                    <a:pt x="2104" y="1541"/>
                  </a:lnTo>
                  <a:lnTo>
                    <a:pt x="2122" y="1542"/>
                  </a:lnTo>
                  <a:lnTo>
                    <a:pt x="2176" y="1542"/>
                  </a:lnTo>
                  <a:lnTo>
                    <a:pt x="2262" y="1541"/>
                  </a:lnTo>
                  <a:lnTo>
                    <a:pt x="2375" y="1537"/>
                  </a:lnTo>
                  <a:lnTo>
                    <a:pt x="2440" y="1534"/>
                  </a:lnTo>
                  <a:lnTo>
                    <a:pt x="2512" y="1530"/>
                  </a:lnTo>
                  <a:lnTo>
                    <a:pt x="2588" y="1525"/>
                  </a:lnTo>
                  <a:lnTo>
                    <a:pt x="2670" y="1519"/>
                  </a:lnTo>
                  <a:lnTo>
                    <a:pt x="2755" y="1511"/>
                  </a:lnTo>
                  <a:lnTo>
                    <a:pt x="2845" y="1502"/>
                  </a:lnTo>
                  <a:lnTo>
                    <a:pt x="2937" y="1492"/>
                  </a:lnTo>
                  <a:lnTo>
                    <a:pt x="3033" y="1478"/>
                  </a:lnTo>
                  <a:lnTo>
                    <a:pt x="3033" y="1478"/>
                  </a:lnTo>
                  <a:lnTo>
                    <a:pt x="2915" y="270"/>
                  </a:lnTo>
                  <a:lnTo>
                    <a:pt x="2915" y="270"/>
                  </a:lnTo>
                  <a:lnTo>
                    <a:pt x="2818" y="284"/>
                  </a:lnTo>
                  <a:lnTo>
                    <a:pt x="2720" y="295"/>
                  </a:lnTo>
                  <a:lnTo>
                    <a:pt x="2620" y="305"/>
                  </a:lnTo>
                  <a:lnTo>
                    <a:pt x="2519" y="313"/>
                  </a:lnTo>
                  <a:lnTo>
                    <a:pt x="2418" y="319"/>
                  </a:lnTo>
                  <a:lnTo>
                    <a:pt x="2314" y="324"/>
                  </a:lnTo>
                  <a:lnTo>
                    <a:pt x="2209" y="327"/>
                  </a:lnTo>
                  <a:lnTo>
                    <a:pt x="2104" y="328"/>
                  </a:lnTo>
                  <a:lnTo>
                    <a:pt x="2104" y="328"/>
                  </a:lnTo>
                  <a:lnTo>
                    <a:pt x="2037" y="327"/>
                  </a:lnTo>
                  <a:lnTo>
                    <a:pt x="1971" y="326"/>
                  </a:lnTo>
                  <a:lnTo>
                    <a:pt x="1905" y="325"/>
                  </a:lnTo>
                  <a:lnTo>
                    <a:pt x="1841" y="321"/>
                  </a:lnTo>
                  <a:lnTo>
                    <a:pt x="1776" y="318"/>
                  </a:lnTo>
                  <a:lnTo>
                    <a:pt x="1712" y="314"/>
                  </a:lnTo>
                  <a:lnTo>
                    <a:pt x="1648" y="310"/>
                  </a:lnTo>
                  <a:lnTo>
                    <a:pt x="1586" y="305"/>
                  </a:lnTo>
                  <a:lnTo>
                    <a:pt x="1524" y="299"/>
                  </a:lnTo>
                  <a:lnTo>
                    <a:pt x="1461" y="292"/>
                  </a:lnTo>
                  <a:lnTo>
                    <a:pt x="1400" y="285"/>
                  </a:lnTo>
                  <a:lnTo>
                    <a:pt x="1339" y="277"/>
                  </a:lnTo>
                  <a:lnTo>
                    <a:pt x="1279" y="268"/>
                  </a:lnTo>
                  <a:lnTo>
                    <a:pt x="1220" y="260"/>
                  </a:lnTo>
                  <a:lnTo>
                    <a:pt x="1162" y="250"/>
                  </a:lnTo>
                  <a:lnTo>
                    <a:pt x="1105" y="239"/>
                  </a:lnTo>
                  <a:lnTo>
                    <a:pt x="1047" y="229"/>
                  </a:lnTo>
                  <a:lnTo>
                    <a:pt x="990" y="217"/>
                  </a:lnTo>
                  <a:lnTo>
                    <a:pt x="935" y="205"/>
                  </a:lnTo>
                  <a:lnTo>
                    <a:pt x="880" y="192"/>
                  </a:lnTo>
                  <a:lnTo>
                    <a:pt x="826" y="179"/>
                  </a:lnTo>
                  <a:lnTo>
                    <a:pt x="773" y="165"/>
                  </a:lnTo>
                  <a:lnTo>
                    <a:pt x="721" y="151"/>
                  </a:lnTo>
                  <a:lnTo>
                    <a:pt x="670" y="136"/>
                  </a:lnTo>
                  <a:lnTo>
                    <a:pt x="619" y="120"/>
                  </a:lnTo>
                  <a:lnTo>
                    <a:pt x="569" y="105"/>
                  </a:lnTo>
                  <a:lnTo>
                    <a:pt x="521" y="89"/>
                  </a:lnTo>
                  <a:lnTo>
                    <a:pt x="473" y="71"/>
                  </a:lnTo>
                  <a:lnTo>
                    <a:pt x="427" y="55"/>
                  </a:lnTo>
                  <a:lnTo>
                    <a:pt x="381" y="37"/>
                  </a:lnTo>
                  <a:lnTo>
                    <a:pt x="336" y="18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0" y="11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8" name="Freeform 17"/>
            <p:cNvSpPr>
              <a:spLocks/>
            </p:cNvSpPr>
            <p:nvPr/>
          </p:nvSpPr>
          <p:spPr bwMode="auto">
            <a:xfrm flipH="1">
              <a:off x="6091574" y="3222078"/>
              <a:ext cx="138040" cy="242504"/>
            </a:xfrm>
            <a:custGeom>
              <a:avLst/>
              <a:gdLst>
                <a:gd name="T0" fmla="*/ 54 w 748"/>
                <a:gd name="T1" fmla="*/ 823 h 1693"/>
                <a:gd name="T2" fmla="*/ 54 w 748"/>
                <a:gd name="T3" fmla="*/ 823 h 1693"/>
                <a:gd name="T4" fmla="*/ 344 w 748"/>
                <a:gd name="T5" fmla="*/ 0 h 1693"/>
                <a:gd name="T6" fmla="*/ 344 w 748"/>
                <a:gd name="T7" fmla="*/ 0 h 1693"/>
                <a:gd name="T8" fmla="*/ 346 w 748"/>
                <a:gd name="T9" fmla="*/ 20 h 1693"/>
                <a:gd name="T10" fmla="*/ 348 w 748"/>
                <a:gd name="T11" fmla="*/ 39 h 1693"/>
                <a:gd name="T12" fmla="*/ 352 w 748"/>
                <a:gd name="T13" fmla="*/ 58 h 1693"/>
                <a:gd name="T14" fmla="*/ 356 w 748"/>
                <a:gd name="T15" fmla="*/ 76 h 1693"/>
                <a:gd name="T16" fmla="*/ 361 w 748"/>
                <a:gd name="T17" fmla="*/ 95 h 1693"/>
                <a:gd name="T18" fmla="*/ 366 w 748"/>
                <a:gd name="T19" fmla="*/ 114 h 1693"/>
                <a:gd name="T20" fmla="*/ 372 w 748"/>
                <a:gd name="T21" fmla="*/ 133 h 1693"/>
                <a:gd name="T22" fmla="*/ 380 w 748"/>
                <a:gd name="T23" fmla="*/ 151 h 1693"/>
                <a:gd name="T24" fmla="*/ 387 w 748"/>
                <a:gd name="T25" fmla="*/ 169 h 1693"/>
                <a:gd name="T26" fmla="*/ 396 w 748"/>
                <a:gd name="T27" fmla="*/ 188 h 1693"/>
                <a:gd name="T28" fmla="*/ 404 w 748"/>
                <a:gd name="T29" fmla="*/ 206 h 1693"/>
                <a:gd name="T30" fmla="*/ 415 w 748"/>
                <a:gd name="T31" fmla="*/ 224 h 1693"/>
                <a:gd name="T32" fmla="*/ 425 w 748"/>
                <a:gd name="T33" fmla="*/ 242 h 1693"/>
                <a:gd name="T34" fmla="*/ 437 w 748"/>
                <a:gd name="T35" fmla="*/ 260 h 1693"/>
                <a:gd name="T36" fmla="*/ 448 w 748"/>
                <a:gd name="T37" fmla="*/ 277 h 1693"/>
                <a:gd name="T38" fmla="*/ 461 w 748"/>
                <a:gd name="T39" fmla="*/ 295 h 1693"/>
                <a:gd name="T40" fmla="*/ 488 w 748"/>
                <a:gd name="T41" fmla="*/ 330 h 1693"/>
                <a:gd name="T42" fmla="*/ 518 w 748"/>
                <a:gd name="T43" fmla="*/ 364 h 1693"/>
                <a:gd name="T44" fmla="*/ 550 w 748"/>
                <a:gd name="T45" fmla="*/ 397 h 1693"/>
                <a:gd name="T46" fmla="*/ 584 w 748"/>
                <a:gd name="T47" fmla="*/ 431 h 1693"/>
                <a:gd name="T48" fmla="*/ 622 w 748"/>
                <a:gd name="T49" fmla="*/ 463 h 1693"/>
                <a:gd name="T50" fmla="*/ 661 w 748"/>
                <a:gd name="T51" fmla="*/ 494 h 1693"/>
                <a:gd name="T52" fmla="*/ 703 w 748"/>
                <a:gd name="T53" fmla="*/ 525 h 1693"/>
                <a:gd name="T54" fmla="*/ 748 w 748"/>
                <a:gd name="T55" fmla="*/ 556 h 1693"/>
                <a:gd name="T56" fmla="*/ 748 w 748"/>
                <a:gd name="T57" fmla="*/ 556 h 1693"/>
                <a:gd name="T58" fmla="*/ 371 w 748"/>
                <a:gd name="T59" fmla="*/ 1693 h 1693"/>
                <a:gd name="T60" fmla="*/ 371 w 748"/>
                <a:gd name="T61" fmla="*/ 1693 h 1693"/>
                <a:gd name="T62" fmla="*/ 343 w 748"/>
                <a:gd name="T63" fmla="*/ 1675 h 1693"/>
                <a:gd name="T64" fmla="*/ 315 w 748"/>
                <a:gd name="T65" fmla="*/ 1655 h 1693"/>
                <a:gd name="T66" fmla="*/ 289 w 748"/>
                <a:gd name="T67" fmla="*/ 1635 h 1693"/>
                <a:gd name="T68" fmla="*/ 263 w 748"/>
                <a:gd name="T69" fmla="*/ 1614 h 1693"/>
                <a:gd name="T70" fmla="*/ 238 w 748"/>
                <a:gd name="T71" fmla="*/ 1593 h 1693"/>
                <a:gd name="T72" fmla="*/ 215 w 748"/>
                <a:gd name="T73" fmla="*/ 1573 h 1693"/>
                <a:gd name="T74" fmla="*/ 192 w 748"/>
                <a:gd name="T75" fmla="*/ 1551 h 1693"/>
                <a:gd name="T76" fmla="*/ 172 w 748"/>
                <a:gd name="T77" fmla="*/ 1528 h 1693"/>
                <a:gd name="T78" fmla="*/ 151 w 748"/>
                <a:gd name="T79" fmla="*/ 1505 h 1693"/>
                <a:gd name="T80" fmla="*/ 132 w 748"/>
                <a:gd name="T81" fmla="*/ 1482 h 1693"/>
                <a:gd name="T82" fmla="*/ 114 w 748"/>
                <a:gd name="T83" fmla="*/ 1458 h 1693"/>
                <a:gd name="T84" fmla="*/ 98 w 748"/>
                <a:gd name="T85" fmla="*/ 1434 h 1693"/>
                <a:gd name="T86" fmla="*/ 82 w 748"/>
                <a:gd name="T87" fmla="*/ 1409 h 1693"/>
                <a:gd name="T88" fmla="*/ 68 w 748"/>
                <a:gd name="T89" fmla="*/ 1384 h 1693"/>
                <a:gd name="T90" fmla="*/ 55 w 748"/>
                <a:gd name="T91" fmla="*/ 1358 h 1693"/>
                <a:gd name="T92" fmla="*/ 44 w 748"/>
                <a:gd name="T93" fmla="*/ 1332 h 1693"/>
                <a:gd name="T94" fmla="*/ 33 w 748"/>
                <a:gd name="T95" fmla="*/ 1305 h 1693"/>
                <a:gd name="T96" fmla="*/ 24 w 748"/>
                <a:gd name="T97" fmla="*/ 1278 h 1693"/>
                <a:gd name="T98" fmla="*/ 17 w 748"/>
                <a:gd name="T99" fmla="*/ 1249 h 1693"/>
                <a:gd name="T100" fmla="*/ 10 w 748"/>
                <a:gd name="T101" fmla="*/ 1220 h 1693"/>
                <a:gd name="T102" fmla="*/ 5 w 748"/>
                <a:gd name="T103" fmla="*/ 1191 h 1693"/>
                <a:gd name="T104" fmla="*/ 2 w 748"/>
                <a:gd name="T105" fmla="*/ 1161 h 1693"/>
                <a:gd name="T106" fmla="*/ 0 w 748"/>
                <a:gd name="T107" fmla="*/ 1130 h 1693"/>
                <a:gd name="T108" fmla="*/ 0 w 748"/>
                <a:gd name="T109" fmla="*/ 1099 h 1693"/>
                <a:gd name="T110" fmla="*/ 1 w 748"/>
                <a:gd name="T111" fmla="*/ 1067 h 1693"/>
                <a:gd name="T112" fmla="*/ 4 w 748"/>
                <a:gd name="T113" fmla="*/ 1034 h 1693"/>
                <a:gd name="T114" fmla="*/ 8 w 748"/>
                <a:gd name="T115" fmla="*/ 1001 h 1693"/>
                <a:gd name="T116" fmla="*/ 14 w 748"/>
                <a:gd name="T117" fmla="*/ 967 h 1693"/>
                <a:gd name="T118" fmla="*/ 22 w 748"/>
                <a:gd name="T119" fmla="*/ 932 h 1693"/>
                <a:gd name="T120" fmla="*/ 30 w 748"/>
                <a:gd name="T121" fmla="*/ 896 h 1693"/>
                <a:gd name="T122" fmla="*/ 42 w 748"/>
                <a:gd name="T123" fmla="*/ 861 h 1693"/>
                <a:gd name="T124" fmla="*/ 54 w 748"/>
                <a:gd name="T125" fmla="*/ 823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8" h="1693">
                  <a:moveTo>
                    <a:pt x="54" y="823"/>
                  </a:moveTo>
                  <a:lnTo>
                    <a:pt x="54" y="823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6" y="20"/>
                  </a:lnTo>
                  <a:lnTo>
                    <a:pt x="348" y="39"/>
                  </a:lnTo>
                  <a:lnTo>
                    <a:pt x="352" y="58"/>
                  </a:lnTo>
                  <a:lnTo>
                    <a:pt x="356" y="76"/>
                  </a:lnTo>
                  <a:lnTo>
                    <a:pt x="361" y="95"/>
                  </a:lnTo>
                  <a:lnTo>
                    <a:pt x="366" y="114"/>
                  </a:lnTo>
                  <a:lnTo>
                    <a:pt x="372" y="133"/>
                  </a:lnTo>
                  <a:lnTo>
                    <a:pt x="380" y="151"/>
                  </a:lnTo>
                  <a:lnTo>
                    <a:pt x="387" y="169"/>
                  </a:lnTo>
                  <a:lnTo>
                    <a:pt x="396" y="188"/>
                  </a:lnTo>
                  <a:lnTo>
                    <a:pt x="404" y="206"/>
                  </a:lnTo>
                  <a:lnTo>
                    <a:pt x="415" y="224"/>
                  </a:lnTo>
                  <a:lnTo>
                    <a:pt x="425" y="242"/>
                  </a:lnTo>
                  <a:lnTo>
                    <a:pt x="437" y="260"/>
                  </a:lnTo>
                  <a:lnTo>
                    <a:pt x="448" y="277"/>
                  </a:lnTo>
                  <a:lnTo>
                    <a:pt x="461" y="295"/>
                  </a:lnTo>
                  <a:lnTo>
                    <a:pt x="488" y="330"/>
                  </a:lnTo>
                  <a:lnTo>
                    <a:pt x="518" y="364"/>
                  </a:lnTo>
                  <a:lnTo>
                    <a:pt x="550" y="397"/>
                  </a:lnTo>
                  <a:lnTo>
                    <a:pt x="584" y="431"/>
                  </a:lnTo>
                  <a:lnTo>
                    <a:pt x="622" y="463"/>
                  </a:lnTo>
                  <a:lnTo>
                    <a:pt x="661" y="494"/>
                  </a:lnTo>
                  <a:lnTo>
                    <a:pt x="703" y="525"/>
                  </a:lnTo>
                  <a:lnTo>
                    <a:pt x="748" y="556"/>
                  </a:lnTo>
                  <a:lnTo>
                    <a:pt x="748" y="556"/>
                  </a:lnTo>
                  <a:lnTo>
                    <a:pt x="371" y="1693"/>
                  </a:lnTo>
                  <a:lnTo>
                    <a:pt x="371" y="1693"/>
                  </a:lnTo>
                  <a:lnTo>
                    <a:pt x="343" y="1675"/>
                  </a:lnTo>
                  <a:lnTo>
                    <a:pt x="315" y="1655"/>
                  </a:lnTo>
                  <a:lnTo>
                    <a:pt x="289" y="1635"/>
                  </a:lnTo>
                  <a:lnTo>
                    <a:pt x="263" y="1614"/>
                  </a:lnTo>
                  <a:lnTo>
                    <a:pt x="238" y="1593"/>
                  </a:lnTo>
                  <a:lnTo>
                    <a:pt x="215" y="1573"/>
                  </a:lnTo>
                  <a:lnTo>
                    <a:pt x="192" y="1551"/>
                  </a:lnTo>
                  <a:lnTo>
                    <a:pt x="172" y="1528"/>
                  </a:lnTo>
                  <a:lnTo>
                    <a:pt x="151" y="1505"/>
                  </a:lnTo>
                  <a:lnTo>
                    <a:pt x="132" y="1482"/>
                  </a:lnTo>
                  <a:lnTo>
                    <a:pt x="114" y="1458"/>
                  </a:lnTo>
                  <a:lnTo>
                    <a:pt x="98" y="1434"/>
                  </a:lnTo>
                  <a:lnTo>
                    <a:pt x="82" y="1409"/>
                  </a:lnTo>
                  <a:lnTo>
                    <a:pt x="68" y="1384"/>
                  </a:lnTo>
                  <a:lnTo>
                    <a:pt x="55" y="1358"/>
                  </a:lnTo>
                  <a:lnTo>
                    <a:pt x="44" y="1332"/>
                  </a:lnTo>
                  <a:lnTo>
                    <a:pt x="33" y="1305"/>
                  </a:lnTo>
                  <a:lnTo>
                    <a:pt x="24" y="1278"/>
                  </a:lnTo>
                  <a:lnTo>
                    <a:pt x="17" y="1249"/>
                  </a:lnTo>
                  <a:lnTo>
                    <a:pt x="10" y="1220"/>
                  </a:lnTo>
                  <a:lnTo>
                    <a:pt x="5" y="1191"/>
                  </a:lnTo>
                  <a:lnTo>
                    <a:pt x="2" y="1161"/>
                  </a:lnTo>
                  <a:lnTo>
                    <a:pt x="0" y="1130"/>
                  </a:lnTo>
                  <a:lnTo>
                    <a:pt x="0" y="1099"/>
                  </a:lnTo>
                  <a:lnTo>
                    <a:pt x="1" y="1067"/>
                  </a:lnTo>
                  <a:lnTo>
                    <a:pt x="4" y="1034"/>
                  </a:lnTo>
                  <a:lnTo>
                    <a:pt x="8" y="1001"/>
                  </a:lnTo>
                  <a:lnTo>
                    <a:pt x="14" y="967"/>
                  </a:lnTo>
                  <a:lnTo>
                    <a:pt x="22" y="932"/>
                  </a:lnTo>
                  <a:lnTo>
                    <a:pt x="30" y="896"/>
                  </a:lnTo>
                  <a:lnTo>
                    <a:pt x="42" y="861"/>
                  </a:lnTo>
                  <a:lnTo>
                    <a:pt x="54" y="82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9" name="Freeform 18"/>
            <p:cNvSpPr>
              <a:spLocks/>
            </p:cNvSpPr>
            <p:nvPr/>
          </p:nvSpPr>
          <p:spPr bwMode="auto">
            <a:xfrm flipH="1">
              <a:off x="5170450" y="3222078"/>
              <a:ext cx="125139" cy="239925"/>
            </a:xfrm>
            <a:custGeom>
              <a:avLst/>
              <a:gdLst>
                <a:gd name="T0" fmla="*/ 338 w 682"/>
                <a:gd name="T1" fmla="*/ 0 h 1672"/>
                <a:gd name="T2" fmla="*/ 338 w 682"/>
                <a:gd name="T3" fmla="*/ 0 h 1672"/>
                <a:gd name="T4" fmla="*/ 629 w 682"/>
                <a:gd name="T5" fmla="*/ 820 h 1672"/>
                <a:gd name="T6" fmla="*/ 629 w 682"/>
                <a:gd name="T7" fmla="*/ 820 h 1672"/>
                <a:gd name="T8" fmla="*/ 641 w 682"/>
                <a:gd name="T9" fmla="*/ 857 h 1672"/>
                <a:gd name="T10" fmla="*/ 651 w 682"/>
                <a:gd name="T11" fmla="*/ 891 h 1672"/>
                <a:gd name="T12" fmla="*/ 660 w 682"/>
                <a:gd name="T13" fmla="*/ 926 h 1672"/>
                <a:gd name="T14" fmla="*/ 668 w 682"/>
                <a:gd name="T15" fmla="*/ 960 h 1672"/>
                <a:gd name="T16" fmla="*/ 674 w 682"/>
                <a:gd name="T17" fmla="*/ 992 h 1672"/>
                <a:gd name="T18" fmla="*/ 678 w 682"/>
                <a:gd name="T19" fmla="*/ 1026 h 1672"/>
                <a:gd name="T20" fmla="*/ 681 w 682"/>
                <a:gd name="T21" fmla="*/ 1057 h 1672"/>
                <a:gd name="T22" fmla="*/ 682 w 682"/>
                <a:gd name="T23" fmla="*/ 1088 h 1672"/>
                <a:gd name="T24" fmla="*/ 682 w 682"/>
                <a:gd name="T25" fmla="*/ 1118 h 1672"/>
                <a:gd name="T26" fmla="*/ 681 w 682"/>
                <a:gd name="T27" fmla="*/ 1149 h 1672"/>
                <a:gd name="T28" fmla="*/ 678 w 682"/>
                <a:gd name="T29" fmla="*/ 1178 h 1672"/>
                <a:gd name="T30" fmla="*/ 674 w 682"/>
                <a:gd name="T31" fmla="*/ 1206 h 1672"/>
                <a:gd name="T32" fmla="*/ 669 w 682"/>
                <a:gd name="T33" fmla="*/ 1234 h 1672"/>
                <a:gd name="T34" fmla="*/ 661 w 682"/>
                <a:gd name="T35" fmla="*/ 1262 h 1672"/>
                <a:gd name="T36" fmla="*/ 654 w 682"/>
                <a:gd name="T37" fmla="*/ 1289 h 1672"/>
                <a:gd name="T38" fmla="*/ 645 w 682"/>
                <a:gd name="T39" fmla="*/ 1315 h 1672"/>
                <a:gd name="T40" fmla="*/ 633 w 682"/>
                <a:gd name="T41" fmla="*/ 1341 h 1672"/>
                <a:gd name="T42" fmla="*/ 622 w 682"/>
                <a:gd name="T43" fmla="*/ 1366 h 1672"/>
                <a:gd name="T44" fmla="*/ 608 w 682"/>
                <a:gd name="T45" fmla="*/ 1391 h 1672"/>
                <a:gd name="T46" fmla="*/ 595 w 682"/>
                <a:gd name="T47" fmla="*/ 1415 h 1672"/>
                <a:gd name="T48" fmla="*/ 579 w 682"/>
                <a:gd name="T49" fmla="*/ 1439 h 1672"/>
                <a:gd name="T50" fmla="*/ 563 w 682"/>
                <a:gd name="T51" fmla="*/ 1462 h 1672"/>
                <a:gd name="T52" fmla="*/ 545 w 682"/>
                <a:gd name="T53" fmla="*/ 1485 h 1672"/>
                <a:gd name="T54" fmla="*/ 526 w 682"/>
                <a:gd name="T55" fmla="*/ 1508 h 1672"/>
                <a:gd name="T56" fmla="*/ 506 w 682"/>
                <a:gd name="T57" fmla="*/ 1530 h 1672"/>
                <a:gd name="T58" fmla="*/ 486 w 682"/>
                <a:gd name="T59" fmla="*/ 1552 h 1672"/>
                <a:gd name="T60" fmla="*/ 464 w 682"/>
                <a:gd name="T61" fmla="*/ 1573 h 1672"/>
                <a:gd name="T62" fmla="*/ 441 w 682"/>
                <a:gd name="T63" fmla="*/ 1594 h 1672"/>
                <a:gd name="T64" fmla="*/ 417 w 682"/>
                <a:gd name="T65" fmla="*/ 1613 h 1672"/>
                <a:gd name="T66" fmla="*/ 392 w 682"/>
                <a:gd name="T67" fmla="*/ 1633 h 1672"/>
                <a:gd name="T68" fmla="*/ 366 w 682"/>
                <a:gd name="T69" fmla="*/ 1653 h 1672"/>
                <a:gd name="T70" fmla="*/ 339 w 682"/>
                <a:gd name="T71" fmla="*/ 1672 h 1672"/>
                <a:gd name="T72" fmla="*/ 339 w 682"/>
                <a:gd name="T73" fmla="*/ 1672 h 1672"/>
                <a:gd name="T74" fmla="*/ 0 w 682"/>
                <a:gd name="T75" fmla="*/ 507 h 1672"/>
                <a:gd name="T76" fmla="*/ 0 w 682"/>
                <a:gd name="T77" fmla="*/ 507 h 1672"/>
                <a:gd name="T78" fmla="*/ 38 w 682"/>
                <a:gd name="T79" fmla="*/ 479 h 1672"/>
                <a:gd name="T80" fmla="*/ 72 w 682"/>
                <a:gd name="T81" fmla="*/ 450 h 1672"/>
                <a:gd name="T82" fmla="*/ 105 w 682"/>
                <a:gd name="T83" fmla="*/ 420 h 1672"/>
                <a:gd name="T84" fmla="*/ 136 w 682"/>
                <a:gd name="T85" fmla="*/ 390 h 1672"/>
                <a:gd name="T86" fmla="*/ 165 w 682"/>
                <a:gd name="T87" fmla="*/ 360 h 1672"/>
                <a:gd name="T88" fmla="*/ 192 w 682"/>
                <a:gd name="T89" fmla="*/ 330 h 1672"/>
                <a:gd name="T90" fmla="*/ 217 w 682"/>
                <a:gd name="T91" fmla="*/ 298 h 1672"/>
                <a:gd name="T92" fmla="*/ 239 w 682"/>
                <a:gd name="T93" fmla="*/ 266 h 1672"/>
                <a:gd name="T94" fmla="*/ 260 w 682"/>
                <a:gd name="T95" fmla="*/ 235 h 1672"/>
                <a:gd name="T96" fmla="*/ 278 w 682"/>
                <a:gd name="T97" fmla="*/ 202 h 1672"/>
                <a:gd name="T98" fmla="*/ 294 w 682"/>
                <a:gd name="T99" fmla="*/ 169 h 1672"/>
                <a:gd name="T100" fmla="*/ 308 w 682"/>
                <a:gd name="T101" fmla="*/ 136 h 1672"/>
                <a:gd name="T102" fmla="*/ 318 w 682"/>
                <a:gd name="T103" fmla="*/ 103 h 1672"/>
                <a:gd name="T104" fmla="*/ 328 w 682"/>
                <a:gd name="T105" fmla="*/ 68 h 1672"/>
                <a:gd name="T106" fmla="*/ 334 w 682"/>
                <a:gd name="T107" fmla="*/ 35 h 1672"/>
                <a:gd name="T108" fmla="*/ 336 w 682"/>
                <a:gd name="T109" fmla="*/ 17 h 1672"/>
                <a:gd name="T110" fmla="*/ 338 w 682"/>
                <a:gd name="T111" fmla="*/ 0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2" h="1672">
                  <a:moveTo>
                    <a:pt x="338" y="0"/>
                  </a:moveTo>
                  <a:lnTo>
                    <a:pt x="338" y="0"/>
                  </a:lnTo>
                  <a:lnTo>
                    <a:pt x="629" y="820"/>
                  </a:lnTo>
                  <a:lnTo>
                    <a:pt x="629" y="820"/>
                  </a:lnTo>
                  <a:lnTo>
                    <a:pt x="641" y="857"/>
                  </a:lnTo>
                  <a:lnTo>
                    <a:pt x="651" y="891"/>
                  </a:lnTo>
                  <a:lnTo>
                    <a:pt x="660" y="926"/>
                  </a:lnTo>
                  <a:lnTo>
                    <a:pt x="668" y="960"/>
                  </a:lnTo>
                  <a:lnTo>
                    <a:pt x="674" y="992"/>
                  </a:lnTo>
                  <a:lnTo>
                    <a:pt x="678" y="1026"/>
                  </a:lnTo>
                  <a:lnTo>
                    <a:pt x="681" y="1057"/>
                  </a:lnTo>
                  <a:lnTo>
                    <a:pt x="682" y="1088"/>
                  </a:lnTo>
                  <a:lnTo>
                    <a:pt x="682" y="1118"/>
                  </a:lnTo>
                  <a:lnTo>
                    <a:pt x="681" y="1149"/>
                  </a:lnTo>
                  <a:lnTo>
                    <a:pt x="678" y="1178"/>
                  </a:lnTo>
                  <a:lnTo>
                    <a:pt x="674" y="1206"/>
                  </a:lnTo>
                  <a:lnTo>
                    <a:pt x="669" y="1234"/>
                  </a:lnTo>
                  <a:lnTo>
                    <a:pt x="661" y="1262"/>
                  </a:lnTo>
                  <a:lnTo>
                    <a:pt x="654" y="1289"/>
                  </a:lnTo>
                  <a:lnTo>
                    <a:pt x="645" y="1315"/>
                  </a:lnTo>
                  <a:lnTo>
                    <a:pt x="633" y="1341"/>
                  </a:lnTo>
                  <a:lnTo>
                    <a:pt x="622" y="1366"/>
                  </a:lnTo>
                  <a:lnTo>
                    <a:pt x="608" y="1391"/>
                  </a:lnTo>
                  <a:lnTo>
                    <a:pt x="595" y="1415"/>
                  </a:lnTo>
                  <a:lnTo>
                    <a:pt x="579" y="1439"/>
                  </a:lnTo>
                  <a:lnTo>
                    <a:pt x="563" y="1462"/>
                  </a:lnTo>
                  <a:lnTo>
                    <a:pt x="545" y="1485"/>
                  </a:lnTo>
                  <a:lnTo>
                    <a:pt x="526" y="1508"/>
                  </a:lnTo>
                  <a:lnTo>
                    <a:pt x="506" y="1530"/>
                  </a:lnTo>
                  <a:lnTo>
                    <a:pt x="486" y="1552"/>
                  </a:lnTo>
                  <a:lnTo>
                    <a:pt x="464" y="1573"/>
                  </a:lnTo>
                  <a:lnTo>
                    <a:pt x="441" y="1594"/>
                  </a:lnTo>
                  <a:lnTo>
                    <a:pt x="417" y="1613"/>
                  </a:lnTo>
                  <a:lnTo>
                    <a:pt x="392" y="1633"/>
                  </a:lnTo>
                  <a:lnTo>
                    <a:pt x="366" y="1653"/>
                  </a:lnTo>
                  <a:lnTo>
                    <a:pt x="339" y="1672"/>
                  </a:lnTo>
                  <a:lnTo>
                    <a:pt x="339" y="1672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38" y="479"/>
                  </a:lnTo>
                  <a:lnTo>
                    <a:pt x="72" y="450"/>
                  </a:lnTo>
                  <a:lnTo>
                    <a:pt x="105" y="420"/>
                  </a:lnTo>
                  <a:lnTo>
                    <a:pt x="136" y="390"/>
                  </a:lnTo>
                  <a:lnTo>
                    <a:pt x="165" y="360"/>
                  </a:lnTo>
                  <a:lnTo>
                    <a:pt x="192" y="330"/>
                  </a:lnTo>
                  <a:lnTo>
                    <a:pt x="217" y="298"/>
                  </a:lnTo>
                  <a:lnTo>
                    <a:pt x="239" y="266"/>
                  </a:lnTo>
                  <a:lnTo>
                    <a:pt x="260" y="235"/>
                  </a:lnTo>
                  <a:lnTo>
                    <a:pt x="278" y="202"/>
                  </a:lnTo>
                  <a:lnTo>
                    <a:pt x="294" y="169"/>
                  </a:lnTo>
                  <a:lnTo>
                    <a:pt x="308" y="136"/>
                  </a:lnTo>
                  <a:lnTo>
                    <a:pt x="318" y="103"/>
                  </a:lnTo>
                  <a:lnTo>
                    <a:pt x="328" y="68"/>
                  </a:lnTo>
                  <a:lnTo>
                    <a:pt x="334" y="35"/>
                  </a:lnTo>
                  <a:lnTo>
                    <a:pt x="336" y="17"/>
                  </a:lnTo>
                  <a:lnTo>
                    <a:pt x="3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0" name="Freeform 19"/>
            <p:cNvSpPr>
              <a:spLocks noEditPoints="1"/>
            </p:cNvSpPr>
            <p:nvPr/>
          </p:nvSpPr>
          <p:spPr bwMode="auto">
            <a:xfrm flipH="1">
              <a:off x="5299460" y="2925397"/>
              <a:ext cx="799856" cy="279912"/>
            </a:xfrm>
            <a:custGeom>
              <a:avLst/>
              <a:gdLst>
                <a:gd name="T0" fmla="*/ 0 w 4340"/>
                <a:gd name="T1" fmla="*/ 1058 h 1954"/>
                <a:gd name="T2" fmla="*/ 5 w 4340"/>
                <a:gd name="T3" fmla="*/ 1092 h 1954"/>
                <a:gd name="T4" fmla="*/ 18 w 4340"/>
                <a:gd name="T5" fmla="*/ 1144 h 1954"/>
                <a:gd name="T6" fmla="*/ 36 w 4340"/>
                <a:gd name="T7" fmla="*/ 1194 h 1954"/>
                <a:gd name="T8" fmla="*/ 61 w 4340"/>
                <a:gd name="T9" fmla="*/ 1244 h 1954"/>
                <a:gd name="T10" fmla="*/ 116 w 4340"/>
                <a:gd name="T11" fmla="*/ 1325 h 1954"/>
                <a:gd name="T12" fmla="*/ 205 w 4340"/>
                <a:gd name="T13" fmla="*/ 1418 h 1954"/>
                <a:gd name="T14" fmla="*/ 314 w 4340"/>
                <a:gd name="T15" fmla="*/ 1505 h 1954"/>
                <a:gd name="T16" fmla="*/ 398 w 4340"/>
                <a:gd name="T17" fmla="*/ 1560 h 1954"/>
                <a:gd name="T18" fmla="*/ 733 w 4340"/>
                <a:gd name="T19" fmla="*/ 403 h 1954"/>
                <a:gd name="T20" fmla="*/ 622 w 4340"/>
                <a:gd name="T21" fmla="*/ 331 h 1954"/>
                <a:gd name="T22" fmla="*/ 529 w 4340"/>
                <a:gd name="T23" fmla="*/ 255 h 1954"/>
                <a:gd name="T24" fmla="*/ 455 w 4340"/>
                <a:gd name="T25" fmla="*/ 174 h 1954"/>
                <a:gd name="T26" fmla="*/ 403 w 4340"/>
                <a:gd name="T27" fmla="*/ 89 h 1954"/>
                <a:gd name="T28" fmla="*/ 387 w 4340"/>
                <a:gd name="T29" fmla="*/ 45 h 1954"/>
                <a:gd name="T30" fmla="*/ 374 w 4340"/>
                <a:gd name="T31" fmla="*/ 0 h 1954"/>
                <a:gd name="T32" fmla="*/ 2171 w 4340"/>
                <a:gd name="T33" fmla="*/ 1954 h 1954"/>
                <a:gd name="T34" fmla="*/ 1841 w 4340"/>
                <a:gd name="T35" fmla="*/ 1943 h 1954"/>
                <a:gd name="T36" fmla="*/ 1526 w 4340"/>
                <a:gd name="T37" fmla="*/ 1912 h 1954"/>
                <a:gd name="T38" fmla="*/ 1232 w 4340"/>
                <a:gd name="T39" fmla="*/ 1862 h 1954"/>
                <a:gd name="T40" fmla="*/ 959 w 4340"/>
                <a:gd name="T41" fmla="*/ 1795 h 1954"/>
                <a:gd name="T42" fmla="*/ 833 w 4340"/>
                <a:gd name="T43" fmla="*/ 1756 h 1954"/>
                <a:gd name="T44" fmla="*/ 714 w 4340"/>
                <a:gd name="T45" fmla="*/ 1713 h 1954"/>
                <a:gd name="T46" fmla="*/ 638 w 4340"/>
                <a:gd name="T47" fmla="*/ 1682 h 1954"/>
                <a:gd name="T48" fmla="*/ 997 w 4340"/>
                <a:gd name="T49" fmla="*/ 524 h 1954"/>
                <a:gd name="T50" fmla="*/ 1199 w 4340"/>
                <a:gd name="T51" fmla="*/ 589 h 1954"/>
                <a:gd name="T52" fmla="*/ 1419 w 4340"/>
                <a:gd name="T53" fmla="*/ 641 h 1954"/>
                <a:gd name="T54" fmla="*/ 1657 w 4340"/>
                <a:gd name="T55" fmla="*/ 679 h 1954"/>
                <a:gd name="T56" fmla="*/ 1911 w 4340"/>
                <a:gd name="T57" fmla="*/ 703 h 1954"/>
                <a:gd name="T58" fmla="*/ 2176 w 4340"/>
                <a:gd name="T59" fmla="*/ 712 h 1954"/>
                <a:gd name="T60" fmla="*/ 2323 w 4340"/>
                <a:gd name="T61" fmla="*/ 710 h 1954"/>
                <a:gd name="T62" fmla="*/ 2540 w 4340"/>
                <a:gd name="T63" fmla="*/ 696 h 1954"/>
                <a:gd name="T64" fmla="*/ 2747 w 4340"/>
                <a:gd name="T65" fmla="*/ 672 h 1954"/>
                <a:gd name="T66" fmla="*/ 2867 w 4340"/>
                <a:gd name="T67" fmla="*/ 1905 h 1954"/>
                <a:gd name="T68" fmla="*/ 2615 w 4340"/>
                <a:gd name="T69" fmla="*/ 1934 h 1954"/>
                <a:gd name="T70" fmla="*/ 2352 w 4340"/>
                <a:gd name="T71" fmla="*/ 1950 h 1954"/>
                <a:gd name="T72" fmla="*/ 2171 w 4340"/>
                <a:gd name="T73" fmla="*/ 1954 h 1954"/>
                <a:gd name="T74" fmla="*/ 3710 w 4340"/>
                <a:gd name="T75" fmla="*/ 345 h 1954"/>
                <a:gd name="T76" fmla="*/ 3760 w 4340"/>
                <a:gd name="T77" fmla="*/ 308 h 1954"/>
                <a:gd name="T78" fmla="*/ 3826 w 4340"/>
                <a:gd name="T79" fmla="*/ 252 h 1954"/>
                <a:gd name="T80" fmla="*/ 3881 w 4340"/>
                <a:gd name="T81" fmla="*/ 193 h 1954"/>
                <a:gd name="T82" fmla="*/ 3924 w 4340"/>
                <a:gd name="T83" fmla="*/ 131 h 1954"/>
                <a:gd name="T84" fmla="*/ 3957 w 4340"/>
                <a:gd name="T85" fmla="*/ 68 h 1954"/>
                <a:gd name="T86" fmla="*/ 3971 w 4340"/>
                <a:gd name="T87" fmla="*/ 24 h 1954"/>
                <a:gd name="T88" fmla="*/ 4336 w 4340"/>
                <a:gd name="T89" fmla="*/ 1091 h 1954"/>
                <a:gd name="T90" fmla="*/ 4311 w 4340"/>
                <a:gd name="T91" fmla="*/ 1177 h 1954"/>
                <a:gd name="T92" fmla="*/ 4269 w 4340"/>
                <a:gd name="T93" fmla="*/ 1261 h 1954"/>
                <a:gd name="T94" fmla="*/ 4210 w 4340"/>
                <a:gd name="T95" fmla="*/ 1341 h 1954"/>
                <a:gd name="T96" fmla="*/ 4134 w 4340"/>
                <a:gd name="T97" fmla="*/ 1418 h 1954"/>
                <a:gd name="T98" fmla="*/ 4044 w 4340"/>
                <a:gd name="T99" fmla="*/ 1492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40" h="1954">
                  <a:moveTo>
                    <a:pt x="374" y="0"/>
                  </a:moveTo>
                  <a:lnTo>
                    <a:pt x="374" y="0"/>
                  </a:lnTo>
                  <a:lnTo>
                    <a:pt x="0" y="1058"/>
                  </a:lnTo>
                  <a:lnTo>
                    <a:pt x="0" y="1058"/>
                  </a:lnTo>
                  <a:lnTo>
                    <a:pt x="2" y="1074"/>
                  </a:lnTo>
                  <a:lnTo>
                    <a:pt x="5" y="1092"/>
                  </a:lnTo>
                  <a:lnTo>
                    <a:pt x="8" y="1110"/>
                  </a:lnTo>
                  <a:lnTo>
                    <a:pt x="12" y="1126"/>
                  </a:lnTo>
                  <a:lnTo>
                    <a:pt x="18" y="1144"/>
                  </a:lnTo>
                  <a:lnTo>
                    <a:pt x="23" y="1161"/>
                  </a:lnTo>
                  <a:lnTo>
                    <a:pt x="29" y="1177"/>
                  </a:lnTo>
                  <a:lnTo>
                    <a:pt x="36" y="1194"/>
                  </a:lnTo>
                  <a:lnTo>
                    <a:pt x="44" y="1211"/>
                  </a:lnTo>
                  <a:lnTo>
                    <a:pt x="52" y="1227"/>
                  </a:lnTo>
                  <a:lnTo>
                    <a:pt x="61" y="1244"/>
                  </a:lnTo>
                  <a:lnTo>
                    <a:pt x="72" y="1261"/>
                  </a:lnTo>
                  <a:lnTo>
                    <a:pt x="92" y="1293"/>
                  </a:lnTo>
                  <a:lnTo>
                    <a:pt x="116" y="1325"/>
                  </a:lnTo>
                  <a:lnTo>
                    <a:pt x="143" y="1357"/>
                  </a:lnTo>
                  <a:lnTo>
                    <a:pt x="172" y="1387"/>
                  </a:lnTo>
                  <a:lnTo>
                    <a:pt x="205" y="1418"/>
                  </a:lnTo>
                  <a:lnTo>
                    <a:pt x="239" y="1447"/>
                  </a:lnTo>
                  <a:lnTo>
                    <a:pt x="275" y="1476"/>
                  </a:lnTo>
                  <a:lnTo>
                    <a:pt x="314" y="1505"/>
                  </a:lnTo>
                  <a:lnTo>
                    <a:pt x="354" y="1533"/>
                  </a:lnTo>
                  <a:lnTo>
                    <a:pt x="398" y="1560"/>
                  </a:lnTo>
                  <a:lnTo>
                    <a:pt x="398" y="1560"/>
                  </a:lnTo>
                  <a:lnTo>
                    <a:pt x="774" y="425"/>
                  </a:lnTo>
                  <a:lnTo>
                    <a:pt x="774" y="425"/>
                  </a:lnTo>
                  <a:lnTo>
                    <a:pt x="733" y="403"/>
                  </a:lnTo>
                  <a:lnTo>
                    <a:pt x="694" y="380"/>
                  </a:lnTo>
                  <a:lnTo>
                    <a:pt x="657" y="356"/>
                  </a:lnTo>
                  <a:lnTo>
                    <a:pt x="622" y="331"/>
                  </a:lnTo>
                  <a:lnTo>
                    <a:pt x="588" y="307"/>
                  </a:lnTo>
                  <a:lnTo>
                    <a:pt x="557" y="281"/>
                  </a:lnTo>
                  <a:lnTo>
                    <a:pt x="529" y="255"/>
                  </a:lnTo>
                  <a:lnTo>
                    <a:pt x="502" y="228"/>
                  </a:lnTo>
                  <a:lnTo>
                    <a:pt x="477" y="201"/>
                  </a:lnTo>
                  <a:lnTo>
                    <a:pt x="455" y="174"/>
                  </a:lnTo>
                  <a:lnTo>
                    <a:pt x="435" y="146"/>
                  </a:lnTo>
                  <a:lnTo>
                    <a:pt x="419" y="118"/>
                  </a:lnTo>
                  <a:lnTo>
                    <a:pt x="403" y="89"/>
                  </a:lnTo>
                  <a:lnTo>
                    <a:pt x="397" y="74"/>
                  </a:lnTo>
                  <a:lnTo>
                    <a:pt x="392" y="59"/>
                  </a:lnTo>
                  <a:lnTo>
                    <a:pt x="387" y="45"/>
                  </a:lnTo>
                  <a:lnTo>
                    <a:pt x="381" y="29"/>
                  </a:lnTo>
                  <a:lnTo>
                    <a:pt x="377" y="15"/>
                  </a:lnTo>
                  <a:lnTo>
                    <a:pt x="374" y="0"/>
                  </a:lnTo>
                  <a:lnTo>
                    <a:pt x="374" y="0"/>
                  </a:lnTo>
                  <a:close/>
                  <a:moveTo>
                    <a:pt x="2171" y="1954"/>
                  </a:moveTo>
                  <a:lnTo>
                    <a:pt x="2171" y="1954"/>
                  </a:lnTo>
                  <a:lnTo>
                    <a:pt x="2058" y="1953"/>
                  </a:lnTo>
                  <a:lnTo>
                    <a:pt x="1949" y="1948"/>
                  </a:lnTo>
                  <a:lnTo>
                    <a:pt x="1841" y="1943"/>
                  </a:lnTo>
                  <a:lnTo>
                    <a:pt x="1734" y="1935"/>
                  </a:lnTo>
                  <a:lnTo>
                    <a:pt x="1629" y="1924"/>
                  </a:lnTo>
                  <a:lnTo>
                    <a:pt x="1526" y="1912"/>
                  </a:lnTo>
                  <a:lnTo>
                    <a:pt x="1426" y="1897"/>
                  </a:lnTo>
                  <a:lnTo>
                    <a:pt x="1327" y="1881"/>
                  </a:lnTo>
                  <a:lnTo>
                    <a:pt x="1232" y="1862"/>
                  </a:lnTo>
                  <a:lnTo>
                    <a:pt x="1138" y="1842"/>
                  </a:lnTo>
                  <a:lnTo>
                    <a:pt x="1048" y="1819"/>
                  </a:lnTo>
                  <a:lnTo>
                    <a:pt x="959" y="1795"/>
                  </a:lnTo>
                  <a:lnTo>
                    <a:pt x="917" y="1783"/>
                  </a:lnTo>
                  <a:lnTo>
                    <a:pt x="874" y="1769"/>
                  </a:lnTo>
                  <a:lnTo>
                    <a:pt x="833" y="1756"/>
                  </a:lnTo>
                  <a:lnTo>
                    <a:pt x="792" y="1742"/>
                  </a:lnTo>
                  <a:lnTo>
                    <a:pt x="753" y="1727"/>
                  </a:lnTo>
                  <a:lnTo>
                    <a:pt x="714" y="1713"/>
                  </a:lnTo>
                  <a:lnTo>
                    <a:pt x="676" y="1697"/>
                  </a:lnTo>
                  <a:lnTo>
                    <a:pt x="638" y="1682"/>
                  </a:lnTo>
                  <a:lnTo>
                    <a:pt x="638" y="1682"/>
                  </a:lnTo>
                  <a:lnTo>
                    <a:pt x="936" y="500"/>
                  </a:lnTo>
                  <a:lnTo>
                    <a:pt x="936" y="500"/>
                  </a:lnTo>
                  <a:lnTo>
                    <a:pt x="997" y="524"/>
                  </a:lnTo>
                  <a:lnTo>
                    <a:pt x="1061" y="547"/>
                  </a:lnTo>
                  <a:lnTo>
                    <a:pt x="1129" y="568"/>
                  </a:lnTo>
                  <a:lnTo>
                    <a:pt x="1199" y="589"/>
                  </a:lnTo>
                  <a:lnTo>
                    <a:pt x="1269" y="607"/>
                  </a:lnTo>
                  <a:lnTo>
                    <a:pt x="1343" y="625"/>
                  </a:lnTo>
                  <a:lnTo>
                    <a:pt x="1419" y="641"/>
                  </a:lnTo>
                  <a:lnTo>
                    <a:pt x="1497" y="655"/>
                  </a:lnTo>
                  <a:lnTo>
                    <a:pt x="1576" y="668"/>
                  </a:lnTo>
                  <a:lnTo>
                    <a:pt x="1657" y="679"/>
                  </a:lnTo>
                  <a:lnTo>
                    <a:pt x="1740" y="689"/>
                  </a:lnTo>
                  <a:lnTo>
                    <a:pt x="1824" y="697"/>
                  </a:lnTo>
                  <a:lnTo>
                    <a:pt x="1911" y="703"/>
                  </a:lnTo>
                  <a:lnTo>
                    <a:pt x="1998" y="708"/>
                  </a:lnTo>
                  <a:lnTo>
                    <a:pt x="2086" y="711"/>
                  </a:lnTo>
                  <a:lnTo>
                    <a:pt x="2176" y="712"/>
                  </a:lnTo>
                  <a:lnTo>
                    <a:pt x="2176" y="712"/>
                  </a:lnTo>
                  <a:lnTo>
                    <a:pt x="2250" y="712"/>
                  </a:lnTo>
                  <a:lnTo>
                    <a:pt x="2323" y="710"/>
                  </a:lnTo>
                  <a:lnTo>
                    <a:pt x="2396" y="706"/>
                  </a:lnTo>
                  <a:lnTo>
                    <a:pt x="2469" y="701"/>
                  </a:lnTo>
                  <a:lnTo>
                    <a:pt x="2540" y="696"/>
                  </a:lnTo>
                  <a:lnTo>
                    <a:pt x="2609" y="690"/>
                  </a:lnTo>
                  <a:lnTo>
                    <a:pt x="2678" y="681"/>
                  </a:lnTo>
                  <a:lnTo>
                    <a:pt x="2747" y="672"/>
                  </a:lnTo>
                  <a:lnTo>
                    <a:pt x="2747" y="672"/>
                  </a:lnTo>
                  <a:lnTo>
                    <a:pt x="2867" y="1905"/>
                  </a:lnTo>
                  <a:lnTo>
                    <a:pt x="2867" y="1905"/>
                  </a:lnTo>
                  <a:lnTo>
                    <a:pt x="2784" y="1916"/>
                  </a:lnTo>
                  <a:lnTo>
                    <a:pt x="2700" y="1925"/>
                  </a:lnTo>
                  <a:lnTo>
                    <a:pt x="2615" y="1934"/>
                  </a:lnTo>
                  <a:lnTo>
                    <a:pt x="2528" y="1941"/>
                  </a:lnTo>
                  <a:lnTo>
                    <a:pt x="2440" y="1946"/>
                  </a:lnTo>
                  <a:lnTo>
                    <a:pt x="2352" y="1950"/>
                  </a:lnTo>
                  <a:lnTo>
                    <a:pt x="2261" y="1953"/>
                  </a:lnTo>
                  <a:lnTo>
                    <a:pt x="2171" y="1954"/>
                  </a:lnTo>
                  <a:lnTo>
                    <a:pt x="2171" y="1954"/>
                  </a:lnTo>
                  <a:close/>
                  <a:moveTo>
                    <a:pt x="4044" y="1492"/>
                  </a:moveTo>
                  <a:lnTo>
                    <a:pt x="4044" y="1492"/>
                  </a:lnTo>
                  <a:lnTo>
                    <a:pt x="3710" y="345"/>
                  </a:lnTo>
                  <a:lnTo>
                    <a:pt x="3710" y="345"/>
                  </a:lnTo>
                  <a:lnTo>
                    <a:pt x="3736" y="327"/>
                  </a:lnTo>
                  <a:lnTo>
                    <a:pt x="3760" y="308"/>
                  </a:lnTo>
                  <a:lnTo>
                    <a:pt x="3783" y="290"/>
                  </a:lnTo>
                  <a:lnTo>
                    <a:pt x="3805" y="271"/>
                  </a:lnTo>
                  <a:lnTo>
                    <a:pt x="3826" y="252"/>
                  </a:lnTo>
                  <a:lnTo>
                    <a:pt x="3845" y="232"/>
                  </a:lnTo>
                  <a:lnTo>
                    <a:pt x="3864" y="212"/>
                  </a:lnTo>
                  <a:lnTo>
                    <a:pt x="3881" y="193"/>
                  </a:lnTo>
                  <a:lnTo>
                    <a:pt x="3897" y="173"/>
                  </a:lnTo>
                  <a:lnTo>
                    <a:pt x="3912" y="152"/>
                  </a:lnTo>
                  <a:lnTo>
                    <a:pt x="3924" y="131"/>
                  </a:lnTo>
                  <a:lnTo>
                    <a:pt x="3937" y="110"/>
                  </a:lnTo>
                  <a:lnTo>
                    <a:pt x="3947" y="89"/>
                  </a:lnTo>
                  <a:lnTo>
                    <a:pt x="3957" y="68"/>
                  </a:lnTo>
                  <a:lnTo>
                    <a:pt x="3965" y="46"/>
                  </a:lnTo>
                  <a:lnTo>
                    <a:pt x="3971" y="24"/>
                  </a:lnTo>
                  <a:lnTo>
                    <a:pt x="3971" y="24"/>
                  </a:lnTo>
                  <a:lnTo>
                    <a:pt x="4340" y="1062"/>
                  </a:lnTo>
                  <a:lnTo>
                    <a:pt x="4340" y="1062"/>
                  </a:lnTo>
                  <a:lnTo>
                    <a:pt x="4336" y="1091"/>
                  </a:lnTo>
                  <a:lnTo>
                    <a:pt x="4330" y="1120"/>
                  </a:lnTo>
                  <a:lnTo>
                    <a:pt x="4322" y="1149"/>
                  </a:lnTo>
                  <a:lnTo>
                    <a:pt x="4311" y="1177"/>
                  </a:lnTo>
                  <a:lnTo>
                    <a:pt x="4299" y="1205"/>
                  </a:lnTo>
                  <a:lnTo>
                    <a:pt x="4285" y="1234"/>
                  </a:lnTo>
                  <a:lnTo>
                    <a:pt x="4269" y="1261"/>
                  </a:lnTo>
                  <a:lnTo>
                    <a:pt x="4251" y="1288"/>
                  </a:lnTo>
                  <a:lnTo>
                    <a:pt x="4231" y="1315"/>
                  </a:lnTo>
                  <a:lnTo>
                    <a:pt x="4210" y="1341"/>
                  </a:lnTo>
                  <a:lnTo>
                    <a:pt x="4186" y="1367"/>
                  </a:lnTo>
                  <a:lnTo>
                    <a:pt x="4162" y="1393"/>
                  </a:lnTo>
                  <a:lnTo>
                    <a:pt x="4134" y="1418"/>
                  </a:lnTo>
                  <a:lnTo>
                    <a:pt x="4106" y="1443"/>
                  </a:lnTo>
                  <a:lnTo>
                    <a:pt x="4076" y="1468"/>
                  </a:lnTo>
                  <a:lnTo>
                    <a:pt x="4044" y="1492"/>
                  </a:lnTo>
                  <a:lnTo>
                    <a:pt x="4044" y="1492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1" name="Freeform 20"/>
            <p:cNvSpPr>
              <a:spLocks noEditPoints="1"/>
            </p:cNvSpPr>
            <p:nvPr/>
          </p:nvSpPr>
          <p:spPr bwMode="auto">
            <a:xfrm flipH="1">
              <a:off x="5433629" y="2637745"/>
              <a:ext cx="531517" cy="221866"/>
            </a:xfrm>
            <a:custGeom>
              <a:avLst/>
              <a:gdLst>
                <a:gd name="T0" fmla="*/ 1448 w 2888"/>
                <a:gd name="T1" fmla="*/ 297 h 1553"/>
                <a:gd name="T2" fmla="*/ 1358 w 2888"/>
                <a:gd name="T3" fmla="*/ 295 h 1553"/>
                <a:gd name="T4" fmla="*/ 1271 w 2888"/>
                <a:gd name="T5" fmla="*/ 291 h 1553"/>
                <a:gd name="T6" fmla="*/ 1185 w 2888"/>
                <a:gd name="T7" fmla="*/ 285 h 1553"/>
                <a:gd name="T8" fmla="*/ 1102 w 2888"/>
                <a:gd name="T9" fmla="*/ 275 h 1553"/>
                <a:gd name="T10" fmla="*/ 1021 w 2888"/>
                <a:gd name="T11" fmla="*/ 264 h 1553"/>
                <a:gd name="T12" fmla="*/ 943 w 2888"/>
                <a:gd name="T13" fmla="*/ 249 h 1553"/>
                <a:gd name="T14" fmla="*/ 867 w 2888"/>
                <a:gd name="T15" fmla="*/ 233 h 1553"/>
                <a:gd name="T16" fmla="*/ 795 w 2888"/>
                <a:gd name="T17" fmla="*/ 214 h 1553"/>
                <a:gd name="T18" fmla="*/ 726 w 2888"/>
                <a:gd name="T19" fmla="*/ 194 h 1553"/>
                <a:gd name="T20" fmla="*/ 661 w 2888"/>
                <a:gd name="T21" fmla="*/ 171 h 1553"/>
                <a:gd name="T22" fmla="*/ 599 w 2888"/>
                <a:gd name="T23" fmla="*/ 147 h 1553"/>
                <a:gd name="T24" fmla="*/ 542 w 2888"/>
                <a:gd name="T25" fmla="*/ 120 h 1553"/>
                <a:gd name="T26" fmla="*/ 489 w 2888"/>
                <a:gd name="T27" fmla="*/ 93 h 1553"/>
                <a:gd name="T28" fmla="*/ 440 w 2888"/>
                <a:gd name="T29" fmla="*/ 64 h 1553"/>
                <a:gd name="T30" fmla="*/ 397 w 2888"/>
                <a:gd name="T31" fmla="*/ 32 h 1553"/>
                <a:gd name="T32" fmla="*/ 358 w 2888"/>
                <a:gd name="T33" fmla="*/ 0 h 1553"/>
                <a:gd name="T34" fmla="*/ 0 w 2888"/>
                <a:gd name="T35" fmla="*/ 1008 h 1553"/>
                <a:gd name="T36" fmla="*/ 5 w 2888"/>
                <a:gd name="T37" fmla="*/ 1022 h 1553"/>
                <a:gd name="T38" fmla="*/ 16 w 2888"/>
                <a:gd name="T39" fmla="*/ 1050 h 1553"/>
                <a:gd name="T40" fmla="*/ 32 w 2888"/>
                <a:gd name="T41" fmla="*/ 1079 h 1553"/>
                <a:gd name="T42" fmla="*/ 50 w 2888"/>
                <a:gd name="T43" fmla="*/ 1107 h 1553"/>
                <a:gd name="T44" fmla="*/ 81 w 2888"/>
                <a:gd name="T45" fmla="*/ 1146 h 1553"/>
                <a:gd name="T46" fmla="*/ 133 w 2888"/>
                <a:gd name="T47" fmla="*/ 1198 h 1553"/>
                <a:gd name="T48" fmla="*/ 194 w 2888"/>
                <a:gd name="T49" fmla="*/ 1247 h 1553"/>
                <a:gd name="T50" fmla="*/ 266 w 2888"/>
                <a:gd name="T51" fmla="*/ 1293 h 1553"/>
                <a:gd name="T52" fmla="*/ 346 w 2888"/>
                <a:gd name="T53" fmla="*/ 1337 h 1553"/>
                <a:gd name="T54" fmla="*/ 434 w 2888"/>
                <a:gd name="T55" fmla="*/ 1377 h 1553"/>
                <a:gd name="T56" fmla="*/ 531 w 2888"/>
                <a:gd name="T57" fmla="*/ 1413 h 1553"/>
                <a:gd name="T58" fmla="*/ 635 w 2888"/>
                <a:gd name="T59" fmla="*/ 1446 h 1553"/>
                <a:gd name="T60" fmla="*/ 745 w 2888"/>
                <a:gd name="T61" fmla="*/ 1476 h 1553"/>
                <a:gd name="T62" fmla="*/ 861 w 2888"/>
                <a:gd name="T63" fmla="*/ 1500 h 1553"/>
                <a:gd name="T64" fmla="*/ 984 w 2888"/>
                <a:gd name="T65" fmla="*/ 1520 h 1553"/>
                <a:gd name="T66" fmla="*/ 1111 w 2888"/>
                <a:gd name="T67" fmla="*/ 1536 h 1553"/>
                <a:gd name="T68" fmla="*/ 1243 w 2888"/>
                <a:gd name="T69" fmla="*/ 1546 h 1553"/>
                <a:gd name="T70" fmla="*/ 1378 w 2888"/>
                <a:gd name="T71" fmla="*/ 1552 h 1553"/>
                <a:gd name="T72" fmla="*/ 1448 w 2888"/>
                <a:gd name="T73" fmla="*/ 1553 h 1553"/>
                <a:gd name="T74" fmla="*/ 1566 w 2888"/>
                <a:gd name="T75" fmla="*/ 1551 h 1553"/>
                <a:gd name="T76" fmla="*/ 1682 w 2888"/>
                <a:gd name="T77" fmla="*/ 1544 h 1553"/>
                <a:gd name="T78" fmla="*/ 1795 w 2888"/>
                <a:gd name="T79" fmla="*/ 1534 h 1553"/>
                <a:gd name="T80" fmla="*/ 1905 w 2888"/>
                <a:gd name="T81" fmla="*/ 1521 h 1553"/>
                <a:gd name="T82" fmla="*/ 1783 w 2888"/>
                <a:gd name="T83" fmla="*/ 276 h 1553"/>
                <a:gd name="T84" fmla="*/ 1743 w 2888"/>
                <a:gd name="T85" fmla="*/ 280 h 1553"/>
                <a:gd name="T86" fmla="*/ 1661 w 2888"/>
                <a:gd name="T87" fmla="*/ 289 h 1553"/>
                <a:gd name="T88" fmla="*/ 1577 w 2888"/>
                <a:gd name="T89" fmla="*/ 294 h 1553"/>
                <a:gd name="T90" fmla="*/ 1491 w 2888"/>
                <a:gd name="T91" fmla="*/ 296 h 1553"/>
                <a:gd name="T92" fmla="*/ 1448 w 2888"/>
                <a:gd name="T93" fmla="*/ 297 h 1553"/>
                <a:gd name="T94" fmla="*/ 2668 w 2888"/>
                <a:gd name="T95" fmla="*/ 1269 h 1553"/>
                <a:gd name="T96" fmla="*/ 2337 w 2888"/>
                <a:gd name="T97" fmla="*/ 128 h 1553"/>
                <a:gd name="T98" fmla="*/ 2391 w 2888"/>
                <a:gd name="T99" fmla="*/ 101 h 1553"/>
                <a:gd name="T100" fmla="*/ 2440 w 2888"/>
                <a:gd name="T101" fmla="*/ 73 h 1553"/>
                <a:gd name="T102" fmla="*/ 2485 w 2888"/>
                <a:gd name="T103" fmla="*/ 43 h 1553"/>
                <a:gd name="T104" fmla="*/ 2525 w 2888"/>
                <a:gd name="T105" fmla="*/ 12 h 1553"/>
                <a:gd name="T106" fmla="*/ 2888 w 2888"/>
                <a:gd name="T107" fmla="*/ 1030 h 1553"/>
                <a:gd name="T108" fmla="*/ 2880 w 2888"/>
                <a:gd name="T109" fmla="*/ 1046 h 1553"/>
                <a:gd name="T110" fmla="*/ 2864 w 2888"/>
                <a:gd name="T111" fmla="*/ 1079 h 1553"/>
                <a:gd name="T112" fmla="*/ 2844 w 2888"/>
                <a:gd name="T113" fmla="*/ 1110 h 1553"/>
                <a:gd name="T114" fmla="*/ 2819 w 2888"/>
                <a:gd name="T115" fmla="*/ 1141 h 1553"/>
                <a:gd name="T116" fmla="*/ 2792 w 2888"/>
                <a:gd name="T117" fmla="*/ 1170 h 1553"/>
                <a:gd name="T118" fmla="*/ 2761 w 2888"/>
                <a:gd name="T119" fmla="*/ 1199 h 1553"/>
                <a:gd name="T120" fmla="*/ 2727 w 2888"/>
                <a:gd name="T121" fmla="*/ 1229 h 1553"/>
                <a:gd name="T122" fmla="*/ 2688 w 2888"/>
                <a:gd name="T123" fmla="*/ 1256 h 1553"/>
                <a:gd name="T124" fmla="*/ 2668 w 2888"/>
                <a:gd name="T125" fmla="*/ 1269 h 1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88" h="1553">
                  <a:moveTo>
                    <a:pt x="1448" y="297"/>
                  </a:moveTo>
                  <a:lnTo>
                    <a:pt x="1448" y="297"/>
                  </a:lnTo>
                  <a:lnTo>
                    <a:pt x="1403" y="296"/>
                  </a:lnTo>
                  <a:lnTo>
                    <a:pt x="1358" y="295"/>
                  </a:lnTo>
                  <a:lnTo>
                    <a:pt x="1314" y="294"/>
                  </a:lnTo>
                  <a:lnTo>
                    <a:pt x="1271" y="291"/>
                  </a:lnTo>
                  <a:lnTo>
                    <a:pt x="1227" y="288"/>
                  </a:lnTo>
                  <a:lnTo>
                    <a:pt x="1185" y="285"/>
                  </a:lnTo>
                  <a:lnTo>
                    <a:pt x="1143" y="280"/>
                  </a:lnTo>
                  <a:lnTo>
                    <a:pt x="1102" y="275"/>
                  </a:lnTo>
                  <a:lnTo>
                    <a:pt x="1061" y="269"/>
                  </a:lnTo>
                  <a:lnTo>
                    <a:pt x="1021" y="264"/>
                  </a:lnTo>
                  <a:lnTo>
                    <a:pt x="981" y="257"/>
                  </a:lnTo>
                  <a:lnTo>
                    <a:pt x="943" y="249"/>
                  </a:lnTo>
                  <a:lnTo>
                    <a:pt x="904" y="241"/>
                  </a:lnTo>
                  <a:lnTo>
                    <a:pt x="867" y="233"/>
                  </a:lnTo>
                  <a:lnTo>
                    <a:pt x="830" y="224"/>
                  </a:lnTo>
                  <a:lnTo>
                    <a:pt x="795" y="214"/>
                  </a:lnTo>
                  <a:lnTo>
                    <a:pt x="760" y="204"/>
                  </a:lnTo>
                  <a:lnTo>
                    <a:pt x="726" y="194"/>
                  </a:lnTo>
                  <a:lnTo>
                    <a:pt x="693" y="183"/>
                  </a:lnTo>
                  <a:lnTo>
                    <a:pt x="661" y="171"/>
                  </a:lnTo>
                  <a:lnTo>
                    <a:pt x="630" y="160"/>
                  </a:lnTo>
                  <a:lnTo>
                    <a:pt x="599" y="147"/>
                  </a:lnTo>
                  <a:lnTo>
                    <a:pt x="570" y="134"/>
                  </a:lnTo>
                  <a:lnTo>
                    <a:pt x="542" y="120"/>
                  </a:lnTo>
                  <a:lnTo>
                    <a:pt x="515" y="106"/>
                  </a:lnTo>
                  <a:lnTo>
                    <a:pt x="489" y="93"/>
                  </a:lnTo>
                  <a:lnTo>
                    <a:pt x="464" y="78"/>
                  </a:lnTo>
                  <a:lnTo>
                    <a:pt x="440" y="64"/>
                  </a:lnTo>
                  <a:lnTo>
                    <a:pt x="418" y="48"/>
                  </a:lnTo>
                  <a:lnTo>
                    <a:pt x="397" y="32"/>
                  </a:lnTo>
                  <a:lnTo>
                    <a:pt x="377" y="17"/>
                  </a:lnTo>
                  <a:lnTo>
                    <a:pt x="358" y="0"/>
                  </a:lnTo>
                  <a:lnTo>
                    <a:pt x="358" y="0"/>
                  </a:lnTo>
                  <a:lnTo>
                    <a:pt x="0" y="1008"/>
                  </a:lnTo>
                  <a:lnTo>
                    <a:pt x="0" y="1008"/>
                  </a:lnTo>
                  <a:lnTo>
                    <a:pt x="5" y="1022"/>
                  </a:lnTo>
                  <a:lnTo>
                    <a:pt x="10" y="1037"/>
                  </a:lnTo>
                  <a:lnTo>
                    <a:pt x="16" y="1050"/>
                  </a:lnTo>
                  <a:lnTo>
                    <a:pt x="24" y="1065"/>
                  </a:lnTo>
                  <a:lnTo>
                    <a:pt x="32" y="1079"/>
                  </a:lnTo>
                  <a:lnTo>
                    <a:pt x="40" y="1092"/>
                  </a:lnTo>
                  <a:lnTo>
                    <a:pt x="50" y="1107"/>
                  </a:lnTo>
                  <a:lnTo>
                    <a:pt x="59" y="1120"/>
                  </a:lnTo>
                  <a:lnTo>
                    <a:pt x="81" y="1146"/>
                  </a:lnTo>
                  <a:lnTo>
                    <a:pt x="106" y="1172"/>
                  </a:lnTo>
                  <a:lnTo>
                    <a:pt x="133" y="1198"/>
                  </a:lnTo>
                  <a:lnTo>
                    <a:pt x="162" y="1222"/>
                  </a:lnTo>
                  <a:lnTo>
                    <a:pt x="194" y="1247"/>
                  </a:lnTo>
                  <a:lnTo>
                    <a:pt x="228" y="1270"/>
                  </a:lnTo>
                  <a:lnTo>
                    <a:pt x="266" y="1293"/>
                  </a:lnTo>
                  <a:lnTo>
                    <a:pt x="304" y="1315"/>
                  </a:lnTo>
                  <a:lnTo>
                    <a:pt x="346" y="1337"/>
                  </a:lnTo>
                  <a:lnTo>
                    <a:pt x="389" y="1357"/>
                  </a:lnTo>
                  <a:lnTo>
                    <a:pt x="434" y="1377"/>
                  </a:lnTo>
                  <a:lnTo>
                    <a:pt x="482" y="1395"/>
                  </a:lnTo>
                  <a:lnTo>
                    <a:pt x="531" y="1413"/>
                  </a:lnTo>
                  <a:lnTo>
                    <a:pt x="582" y="1430"/>
                  </a:lnTo>
                  <a:lnTo>
                    <a:pt x="635" y="1446"/>
                  </a:lnTo>
                  <a:lnTo>
                    <a:pt x="689" y="1461"/>
                  </a:lnTo>
                  <a:lnTo>
                    <a:pt x="745" y="1476"/>
                  </a:lnTo>
                  <a:lnTo>
                    <a:pt x="803" y="1488"/>
                  </a:lnTo>
                  <a:lnTo>
                    <a:pt x="861" y="1500"/>
                  </a:lnTo>
                  <a:lnTo>
                    <a:pt x="923" y="1511"/>
                  </a:lnTo>
                  <a:lnTo>
                    <a:pt x="984" y="1520"/>
                  </a:lnTo>
                  <a:lnTo>
                    <a:pt x="1048" y="1529"/>
                  </a:lnTo>
                  <a:lnTo>
                    <a:pt x="1111" y="1536"/>
                  </a:lnTo>
                  <a:lnTo>
                    <a:pt x="1176" y="1541"/>
                  </a:lnTo>
                  <a:lnTo>
                    <a:pt x="1243" y="1546"/>
                  </a:lnTo>
                  <a:lnTo>
                    <a:pt x="1311" y="1550"/>
                  </a:lnTo>
                  <a:lnTo>
                    <a:pt x="1378" y="1552"/>
                  </a:lnTo>
                  <a:lnTo>
                    <a:pt x="1448" y="1553"/>
                  </a:lnTo>
                  <a:lnTo>
                    <a:pt x="1448" y="1553"/>
                  </a:lnTo>
                  <a:lnTo>
                    <a:pt x="1507" y="1552"/>
                  </a:lnTo>
                  <a:lnTo>
                    <a:pt x="1566" y="1551"/>
                  </a:lnTo>
                  <a:lnTo>
                    <a:pt x="1625" y="1547"/>
                  </a:lnTo>
                  <a:lnTo>
                    <a:pt x="1682" y="1544"/>
                  </a:lnTo>
                  <a:lnTo>
                    <a:pt x="1739" y="1540"/>
                  </a:lnTo>
                  <a:lnTo>
                    <a:pt x="1795" y="1534"/>
                  </a:lnTo>
                  <a:lnTo>
                    <a:pt x="1850" y="1528"/>
                  </a:lnTo>
                  <a:lnTo>
                    <a:pt x="1905" y="1521"/>
                  </a:lnTo>
                  <a:lnTo>
                    <a:pt x="1905" y="1521"/>
                  </a:lnTo>
                  <a:lnTo>
                    <a:pt x="1783" y="276"/>
                  </a:lnTo>
                  <a:lnTo>
                    <a:pt x="1783" y="276"/>
                  </a:lnTo>
                  <a:lnTo>
                    <a:pt x="1743" y="280"/>
                  </a:lnTo>
                  <a:lnTo>
                    <a:pt x="1703" y="285"/>
                  </a:lnTo>
                  <a:lnTo>
                    <a:pt x="1661" y="289"/>
                  </a:lnTo>
                  <a:lnTo>
                    <a:pt x="1619" y="292"/>
                  </a:lnTo>
                  <a:lnTo>
                    <a:pt x="1577" y="294"/>
                  </a:lnTo>
                  <a:lnTo>
                    <a:pt x="1534" y="295"/>
                  </a:lnTo>
                  <a:lnTo>
                    <a:pt x="1491" y="296"/>
                  </a:lnTo>
                  <a:lnTo>
                    <a:pt x="1448" y="297"/>
                  </a:lnTo>
                  <a:lnTo>
                    <a:pt x="1448" y="297"/>
                  </a:lnTo>
                  <a:close/>
                  <a:moveTo>
                    <a:pt x="2668" y="1269"/>
                  </a:moveTo>
                  <a:lnTo>
                    <a:pt x="2668" y="1269"/>
                  </a:lnTo>
                  <a:lnTo>
                    <a:pt x="2337" y="128"/>
                  </a:lnTo>
                  <a:lnTo>
                    <a:pt x="2337" y="128"/>
                  </a:lnTo>
                  <a:lnTo>
                    <a:pt x="2365" y="115"/>
                  </a:lnTo>
                  <a:lnTo>
                    <a:pt x="2391" y="101"/>
                  </a:lnTo>
                  <a:lnTo>
                    <a:pt x="2416" y="87"/>
                  </a:lnTo>
                  <a:lnTo>
                    <a:pt x="2440" y="73"/>
                  </a:lnTo>
                  <a:lnTo>
                    <a:pt x="2464" y="57"/>
                  </a:lnTo>
                  <a:lnTo>
                    <a:pt x="2485" y="43"/>
                  </a:lnTo>
                  <a:lnTo>
                    <a:pt x="2505" y="27"/>
                  </a:lnTo>
                  <a:lnTo>
                    <a:pt x="2525" y="12"/>
                  </a:lnTo>
                  <a:lnTo>
                    <a:pt x="2525" y="12"/>
                  </a:lnTo>
                  <a:lnTo>
                    <a:pt x="2888" y="1030"/>
                  </a:lnTo>
                  <a:lnTo>
                    <a:pt x="2888" y="1030"/>
                  </a:lnTo>
                  <a:lnTo>
                    <a:pt x="2880" y="1046"/>
                  </a:lnTo>
                  <a:lnTo>
                    <a:pt x="2873" y="1062"/>
                  </a:lnTo>
                  <a:lnTo>
                    <a:pt x="2864" y="1079"/>
                  </a:lnTo>
                  <a:lnTo>
                    <a:pt x="2854" y="1094"/>
                  </a:lnTo>
                  <a:lnTo>
                    <a:pt x="2844" y="1110"/>
                  </a:lnTo>
                  <a:lnTo>
                    <a:pt x="2832" y="1125"/>
                  </a:lnTo>
                  <a:lnTo>
                    <a:pt x="2819" y="1141"/>
                  </a:lnTo>
                  <a:lnTo>
                    <a:pt x="2806" y="1156"/>
                  </a:lnTo>
                  <a:lnTo>
                    <a:pt x="2792" y="1170"/>
                  </a:lnTo>
                  <a:lnTo>
                    <a:pt x="2776" y="1186"/>
                  </a:lnTo>
                  <a:lnTo>
                    <a:pt x="2761" y="1199"/>
                  </a:lnTo>
                  <a:lnTo>
                    <a:pt x="2744" y="1214"/>
                  </a:lnTo>
                  <a:lnTo>
                    <a:pt x="2727" y="1229"/>
                  </a:lnTo>
                  <a:lnTo>
                    <a:pt x="2708" y="1242"/>
                  </a:lnTo>
                  <a:lnTo>
                    <a:pt x="2688" y="1256"/>
                  </a:lnTo>
                  <a:lnTo>
                    <a:pt x="2668" y="1269"/>
                  </a:lnTo>
                  <a:lnTo>
                    <a:pt x="2668" y="1269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2" name="Freeform 21"/>
            <p:cNvSpPr>
              <a:spLocks/>
            </p:cNvSpPr>
            <p:nvPr/>
          </p:nvSpPr>
          <p:spPr bwMode="auto">
            <a:xfrm flipH="1">
              <a:off x="5388475" y="3513599"/>
              <a:ext cx="1290" cy="1290"/>
            </a:xfrm>
            <a:custGeom>
              <a:avLst/>
              <a:gdLst>
                <a:gd name="T0" fmla="*/ 5 w 5"/>
                <a:gd name="T1" fmla="*/ 0 h 2"/>
                <a:gd name="T2" fmla="*/ 5 w 5"/>
                <a:gd name="T3" fmla="*/ 0 h 2"/>
                <a:gd name="T4" fmla="*/ 0 w 5"/>
                <a:gd name="T5" fmla="*/ 2 h 2"/>
                <a:gd name="T6" fmla="*/ 0 w 5"/>
                <a:gd name="T7" fmla="*/ 2 h 2"/>
                <a:gd name="T8" fmla="*/ 5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3" name="Freeform 22"/>
            <p:cNvSpPr>
              <a:spLocks/>
            </p:cNvSpPr>
            <p:nvPr/>
          </p:nvSpPr>
          <p:spPr bwMode="auto">
            <a:xfrm flipH="1">
              <a:off x="5388475" y="3513599"/>
              <a:ext cx="1290" cy="1290"/>
            </a:xfrm>
            <a:custGeom>
              <a:avLst/>
              <a:gdLst>
                <a:gd name="T0" fmla="*/ 5 w 5"/>
                <a:gd name="T1" fmla="*/ 0 h 2"/>
                <a:gd name="T2" fmla="*/ 5 w 5"/>
                <a:gd name="T3" fmla="*/ 0 h 2"/>
                <a:gd name="T4" fmla="*/ 0 w 5"/>
                <a:gd name="T5" fmla="*/ 2 h 2"/>
                <a:gd name="T6" fmla="*/ 0 w 5"/>
                <a:gd name="T7" fmla="*/ 2 h 2"/>
                <a:gd name="T8" fmla="*/ 5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4" name="Rectangle 23"/>
            <p:cNvSpPr>
              <a:spLocks noChangeArrowheads="1"/>
            </p:cNvSpPr>
            <p:nvPr/>
          </p:nvSpPr>
          <p:spPr bwMode="auto">
            <a:xfrm flipH="1">
              <a:off x="5232374" y="3462003"/>
              <a:ext cx="1290" cy="1290"/>
            </a:xfrm>
            <a:prstGeom prst="rect">
              <a:avLst/>
            </a:pr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5" name="Rectangle 24"/>
            <p:cNvSpPr>
              <a:spLocks noChangeArrowheads="1"/>
            </p:cNvSpPr>
            <p:nvPr/>
          </p:nvSpPr>
          <p:spPr bwMode="auto">
            <a:xfrm flipH="1">
              <a:off x="5232374" y="3462003"/>
              <a:ext cx="1290" cy="1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6" name="Freeform 25"/>
            <p:cNvSpPr>
              <a:spLocks/>
            </p:cNvSpPr>
            <p:nvPr/>
          </p:nvSpPr>
          <p:spPr bwMode="auto">
            <a:xfrm flipH="1">
              <a:off x="5400086" y="3516179"/>
              <a:ext cx="127719" cy="21929"/>
            </a:xfrm>
            <a:custGeom>
              <a:avLst/>
              <a:gdLst>
                <a:gd name="T0" fmla="*/ 697 w 697"/>
                <a:gd name="T1" fmla="*/ 0 h 147"/>
                <a:gd name="T2" fmla="*/ 697 w 697"/>
                <a:gd name="T3" fmla="*/ 0 h 147"/>
                <a:gd name="T4" fmla="*/ 623 w 697"/>
                <a:gd name="T5" fmla="*/ 22 h 147"/>
                <a:gd name="T6" fmla="*/ 551 w 697"/>
                <a:gd name="T7" fmla="*/ 41 h 147"/>
                <a:gd name="T8" fmla="*/ 482 w 697"/>
                <a:gd name="T9" fmla="*/ 58 h 147"/>
                <a:gd name="T10" fmla="*/ 418 w 697"/>
                <a:gd name="T11" fmla="*/ 74 h 147"/>
                <a:gd name="T12" fmla="*/ 357 w 697"/>
                <a:gd name="T13" fmla="*/ 88 h 147"/>
                <a:gd name="T14" fmla="*/ 299 w 697"/>
                <a:gd name="T15" fmla="*/ 99 h 147"/>
                <a:gd name="T16" fmla="*/ 246 w 697"/>
                <a:gd name="T17" fmla="*/ 110 h 147"/>
                <a:gd name="T18" fmla="*/ 198 w 697"/>
                <a:gd name="T19" fmla="*/ 119 h 147"/>
                <a:gd name="T20" fmla="*/ 114 w 697"/>
                <a:gd name="T21" fmla="*/ 132 h 147"/>
                <a:gd name="T22" fmla="*/ 52 w 697"/>
                <a:gd name="T23" fmla="*/ 141 h 147"/>
                <a:gd name="T24" fmla="*/ 14 w 697"/>
                <a:gd name="T25" fmla="*/ 146 h 147"/>
                <a:gd name="T26" fmla="*/ 0 w 697"/>
                <a:gd name="T27" fmla="*/ 147 h 147"/>
                <a:gd name="T28" fmla="*/ 0 w 697"/>
                <a:gd name="T29" fmla="*/ 147 h 147"/>
                <a:gd name="T30" fmla="*/ 84 w 697"/>
                <a:gd name="T31" fmla="*/ 135 h 147"/>
                <a:gd name="T32" fmla="*/ 170 w 697"/>
                <a:gd name="T33" fmla="*/ 121 h 147"/>
                <a:gd name="T34" fmla="*/ 256 w 697"/>
                <a:gd name="T35" fmla="*/ 105 h 147"/>
                <a:gd name="T36" fmla="*/ 343 w 697"/>
                <a:gd name="T37" fmla="*/ 89 h 147"/>
                <a:gd name="T38" fmla="*/ 432 w 697"/>
                <a:gd name="T39" fmla="*/ 69 h 147"/>
                <a:gd name="T40" fmla="*/ 520 w 697"/>
                <a:gd name="T41" fmla="*/ 48 h 147"/>
                <a:gd name="T42" fmla="*/ 608 w 697"/>
                <a:gd name="T43" fmla="*/ 25 h 147"/>
                <a:gd name="T44" fmla="*/ 697 w 697"/>
                <a:gd name="T4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7" h="147">
                  <a:moveTo>
                    <a:pt x="697" y="0"/>
                  </a:moveTo>
                  <a:lnTo>
                    <a:pt x="697" y="0"/>
                  </a:lnTo>
                  <a:lnTo>
                    <a:pt x="623" y="22"/>
                  </a:lnTo>
                  <a:lnTo>
                    <a:pt x="551" y="41"/>
                  </a:lnTo>
                  <a:lnTo>
                    <a:pt x="482" y="58"/>
                  </a:lnTo>
                  <a:lnTo>
                    <a:pt x="418" y="74"/>
                  </a:lnTo>
                  <a:lnTo>
                    <a:pt x="357" y="88"/>
                  </a:lnTo>
                  <a:lnTo>
                    <a:pt x="299" y="99"/>
                  </a:lnTo>
                  <a:lnTo>
                    <a:pt x="246" y="110"/>
                  </a:lnTo>
                  <a:lnTo>
                    <a:pt x="198" y="119"/>
                  </a:lnTo>
                  <a:lnTo>
                    <a:pt x="114" y="132"/>
                  </a:lnTo>
                  <a:lnTo>
                    <a:pt x="52" y="141"/>
                  </a:lnTo>
                  <a:lnTo>
                    <a:pt x="14" y="146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84" y="135"/>
                  </a:lnTo>
                  <a:lnTo>
                    <a:pt x="170" y="121"/>
                  </a:lnTo>
                  <a:lnTo>
                    <a:pt x="256" y="105"/>
                  </a:lnTo>
                  <a:lnTo>
                    <a:pt x="343" y="89"/>
                  </a:lnTo>
                  <a:lnTo>
                    <a:pt x="432" y="69"/>
                  </a:lnTo>
                  <a:lnTo>
                    <a:pt x="520" y="48"/>
                  </a:lnTo>
                  <a:lnTo>
                    <a:pt x="608" y="25"/>
                  </a:lnTo>
                  <a:lnTo>
                    <a:pt x="697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7" name="Freeform 26"/>
            <p:cNvSpPr>
              <a:spLocks/>
            </p:cNvSpPr>
            <p:nvPr/>
          </p:nvSpPr>
          <p:spPr bwMode="auto">
            <a:xfrm flipH="1">
              <a:off x="5400086" y="3516179"/>
              <a:ext cx="127719" cy="21929"/>
            </a:xfrm>
            <a:custGeom>
              <a:avLst/>
              <a:gdLst>
                <a:gd name="T0" fmla="*/ 697 w 697"/>
                <a:gd name="T1" fmla="*/ 0 h 147"/>
                <a:gd name="T2" fmla="*/ 697 w 697"/>
                <a:gd name="T3" fmla="*/ 0 h 147"/>
                <a:gd name="T4" fmla="*/ 623 w 697"/>
                <a:gd name="T5" fmla="*/ 22 h 147"/>
                <a:gd name="T6" fmla="*/ 551 w 697"/>
                <a:gd name="T7" fmla="*/ 41 h 147"/>
                <a:gd name="T8" fmla="*/ 482 w 697"/>
                <a:gd name="T9" fmla="*/ 58 h 147"/>
                <a:gd name="T10" fmla="*/ 418 w 697"/>
                <a:gd name="T11" fmla="*/ 74 h 147"/>
                <a:gd name="T12" fmla="*/ 357 w 697"/>
                <a:gd name="T13" fmla="*/ 88 h 147"/>
                <a:gd name="T14" fmla="*/ 299 w 697"/>
                <a:gd name="T15" fmla="*/ 99 h 147"/>
                <a:gd name="T16" fmla="*/ 246 w 697"/>
                <a:gd name="T17" fmla="*/ 110 h 147"/>
                <a:gd name="T18" fmla="*/ 198 w 697"/>
                <a:gd name="T19" fmla="*/ 119 h 147"/>
                <a:gd name="T20" fmla="*/ 114 w 697"/>
                <a:gd name="T21" fmla="*/ 132 h 147"/>
                <a:gd name="T22" fmla="*/ 52 w 697"/>
                <a:gd name="T23" fmla="*/ 141 h 147"/>
                <a:gd name="T24" fmla="*/ 14 w 697"/>
                <a:gd name="T25" fmla="*/ 146 h 147"/>
                <a:gd name="T26" fmla="*/ 0 w 697"/>
                <a:gd name="T27" fmla="*/ 147 h 147"/>
                <a:gd name="T28" fmla="*/ 0 w 697"/>
                <a:gd name="T29" fmla="*/ 147 h 147"/>
                <a:gd name="T30" fmla="*/ 84 w 697"/>
                <a:gd name="T31" fmla="*/ 135 h 147"/>
                <a:gd name="T32" fmla="*/ 170 w 697"/>
                <a:gd name="T33" fmla="*/ 121 h 147"/>
                <a:gd name="T34" fmla="*/ 256 w 697"/>
                <a:gd name="T35" fmla="*/ 105 h 147"/>
                <a:gd name="T36" fmla="*/ 343 w 697"/>
                <a:gd name="T37" fmla="*/ 89 h 147"/>
                <a:gd name="T38" fmla="*/ 432 w 697"/>
                <a:gd name="T39" fmla="*/ 69 h 147"/>
                <a:gd name="T40" fmla="*/ 520 w 697"/>
                <a:gd name="T41" fmla="*/ 48 h 147"/>
                <a:gd name="T42" fmla="*/ 608 w 697"/>
                <a:gd name="T43" fmla="*/ 25 h 147"/>
                <a:gd name="T44" fmla="*/ 697 w 697"/>
                <a:gd name="T4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7" h="147">
                  <a:moveTo>
                    <a:pt x="697" y="0"/>
                  </a:moveTo>
                  <a:lnTo>
                    <a:pt x="697" y="0"/>
                  </a:lnTo>
                  <a:lnTo>
                    <a:pt x="623" y="22"/>
                  </a:lnTo>
                  <a:lnTo>
                    <a:pt x="551" y="41"/>
                  </a:lnTo>
                  <a:lnTo>
                    <a:pt x="482" y="58"/>
                  </a:lnTo>
                  <a:lnTo>
                    <a:pt x="418" y="74"/>
                  </a:lnTo>
                  <a:lnTo>
                    <a:pt x="357" y="88"/>
                  </a:lnTo>
                  <a:lnTo>
                    <a:pt x="299" y="99"/>
                  </a:lnTo>
                  <a:lnTo>
                    <a:pt x="246" y="110"/>
                  </a:lnTo>
                  <a:lnTo>
                    <a:pt x="198" y="119"/>
                  </a:lnTo>
                  <a:lnTo>
                    <a:pt x="114" y="132"/>
                  </a:lnTo>
                  <a:lnTo>
                    <a:pt x="52" y="141"/>
                  </a:lnTo>
                  <a:lnTo>
                    <a:pt x="14" y="146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84" y="135"/>
                  </a:lnTo>
                  <a:lnTo>
                    <a:pt x="170" y="121"/>
                  </a:lnTo>
                  <a:lnTo>
                    <a:pt x="256" y="105"/>
                  </a:lnTo>
                  <a:lnTo>
                    <a:pt x="343" y="89"/>
                  </a:lnTo>
                  <a:lnTo>
                    <a:pt x="432" y="69"/>
                  </a:lnTo>
                  <a:lnTo>
                    <a:pt x="520" y="48"/>
                  </a:lnTo>
                  <a:lnTo>
                    <a:pt x="608" y="25"/>
                  </a:lnTo>
                  <a:lnTo>
                    <a:pt x="69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8" name="Freeform 27"/>
            <p:cNvSpPr>
              <a:spLocks/>
            </p:cNvSpPr>
            <p:nvPr/>
          </p:nvSpPr>
          <p:spPr bwMode="auto">
            <a:xfrm flipH="1">
              <a:off x="5393636" y="3514889"/>
              <a:ext cx="3871" cy="1290"/>
            </a:xfrm>
            <a:custGeom>
              <a:avLst/>
              <a:gdLst>
                <a:gd name="T0" fmla="*/ 16 w 16"/>
                <a:gd name="T1" fmla="*/ 0 h 5"/>
                <a:gd name="T2" fmla="*/ 16 w 16"/>
                <a:gd name="T3" fmla="*/ 0 h 5"/>
                <a:gd name="T4" fmla="*/ 0 w 16"/>
                <a:gd name="T5" fmla="*/ 5 h 5"/>
                <a:gd name="T6" fmla="*/ 0 w 16"/>
                <a:gd name="T7" fmla="*/ 5 h 5"/>
                <a:gd name="T8" fmla="*/ 16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16" y="0"/>
                  </a:moveTo>
                  <a:lnTo>
                    <a:pt x="16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9" name="Freeform 28"/>
            <p:cNvSpPr>
              <a:spLocks/>
            </p:cNvSpPr>
            <p:nvPr/>
          </p:nvSpPr>
          <p:spPr bwMode="auto">
            <a:xfrm flipH="1">
              <a:off x="5393636" y="3514889"/>
              <a:ext cx="3871" cy="1290"/>
            </a:xfrm>
            <a:custGeom>
              <a:avLst/>
              <a:gdLst>
                <a:gd name="T0" fmla="*/ 16 w 16"/>
                <a:gd name="T1" fmla="*/ 0 h 5"/>
                <a:gd name="T2" fmla="*/ 16 w 16"/>
                <a:gd name="T3" fmla="*/ 0 h 5"/>
                <a:gd name="T4" fmla="*/ 0 w 16"/>
                <a:gd name="T5" fmla="*/ 5 h 5"/>
                <a:gd name="T6" fmla="*/ 0 w 16"/>
                <a:gd name="T7" fmla="*/ 5 h 5"/>
                <a:gd name="T8" fmla="*/ 16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16" y="0"/>
                  </a:moveTo>
                  <a:lnTo>
                    <a:pt x="16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0" name="Freeform 29"/>
            <p:cNvSpPr>
              <a:spLocks/>
            </p:cNvSpPr>
            <p:nvPr/>
          </p:nvSpPr>
          <p:spPr bwMode="auto">
            <a:xfrm flipH="1">
              <a:off x="5233665" y="3294314"/>
              <a:ext cx="316072" cy="243795"/>
            </a:xfrm>
            <a:custGeom>
              <a:avLst/>
              <a:gdLst>
                <a:gd name="T0" fmla="*/ 1379 w 1718"/>
                <a:gd name="T1" fmla="*/ 0 h 1694"/>
                <a:gd name="T2" fmla="*/ 1718 w 1718"/>
                <a:gd name="T3" fmla="*/ 1165 h 1694"/>
                <a:gd name="T4" fmla="*/ 1664 w 1718"/>
                <a:gd name="T5" fmla="*/ 1196 h 1694"/>
                <a:gd name="T6" fmla="*/ 1554 w 1718"/>
                <a:gd name="T7" fmla="*/ 1254 h 1694"/>
                <a:gd name="T8" fmla="*/ 1445 w 1718"/>
                <a:gd name="T9" fmla="*/ 1309 h 1694"/>
                <a:gd name="T10" fmla="*/ 1337 w 1718"/>
                <a:gd name="T11" fmla="*/ 1357 h 1694"/>
                <a:gd name="T12" fmla="*/ 1229 w 1718"/>
                <a:gd name="T13" fmla="*/ 1403 h 1694"/>
                <a:gd name="T14" fmla="*/ 1124 w 1718"/>
                <a:gd name="T15" fmla="*/ 1444 h 1694"/>
                <a:gd name="T16" fmla="*/ 1022 w 1718"/>
                <a:gd name="T17" fmla="*/ 1481 h 1694"/>
                <a:gd name="T18" fmla="*/ 873 w 1718"/>
                <a:gd name="T19" fmla="*/ 1530 h 1694"/>
                <a:gd name="T20" fmla="*/ 868 w 1718"/>
                <a:gd name="T21" fmla="*/ 1532 h 1694"/>
                <a:gd name="T22" fmla="*/ 846 w 1718"/>
                <a:gd name="T23" fmla="*/ 1538 h 1694"/>
                <a:gd name="T24" fmla="*/ 830 w 1718"/>
                <a:gd name="T25" fmla="*/ 1543 h 1694"/>
                <a:gd name="T26" fmla="*/ 815 w 1718"/>
                <a:gd name="T27" fmla="*/ 1547 h 1694"/>
                <a:gd name="T28" fmla="*/ 726 w 1718"/>
                <a:gd name="T29" fmla="*/ 1572 h 1694"/>
                <a:gd name="T30" fmla="*/ 550 w 1718"/>
                <a:gd name="T31" fmla="*/ 1616 h 1694"/>
                <a:gd name="T32" fmla="*/ 374 w 1718"/>
                <a:gd name="T33" fmla="*/ 1652 h 1694"/>
                <a:gd name="T34" fmla="*/ 202 w 1718"/>
                <a:gd name="T35" fmla="*/ 1682 h 1694"/>
                <a:gd name="T36" fmla="*/ 118 w 1718"/>
                <a:gd name="T37" fmla="*/ 1694 h 1694"/>
                <a:gd name="T38" fmla="*/ 0 w 1718"/>
                <a:gd name="T39" fmla="*/ 486 h 1694"/>
                <a:gd name="T40" fmla="*/ 215 w 1718"/>
                <a:gd name="T41" fmla="*/ 450 h 1694"/>
                <a:gd name="T42" fmla="*/ 420 w 1718"/>
                <a:gd name="T43" fmla="*/ 406 h 1694"/>
                <a:gd name="T44" fmla="*/ 566 w 1718"/>
                <a:gd name="T45" fmla="*/ 369 h 1694"/>
                <a:gd name="T46" fmla="*/ 660 w 1718"/>
                <a:gd name="T47" fmla="*/ 341 h 1694"/>
                <a:gd name="T48" fmla="*/ 750 w 1718"/>
                <a:gd name="T49" fmla="*/ 311 h 1694"/>
                <a:gd name="T50" fmla="*/ 839 w 1718"/>
                <a:gd name="T51" fmla="*/ 280 h 1694"/>
                <a:gd name="T52" fmla="*/ 923 w 1718"/>
                <a:gd name="T53" fmla="*/ 248 h 1694"/>
                <a:gd name="T54" fmla="*/ 1003 w 1718"/>
                <a:gd name="T55" fmla="*/ 213 h 1694"/>
                <a:gd name="T56" fmla="*/ 1081 w 1718"/>
                <a:gd name="T57" fmla="*/ 178 h 1694"/>
                <a:gd name="T58" fmla="*/ 1154 w 1718"/>
                <a:gd name="T59" fmla="*/ 141 h 1694"/>
                <a:gd name="T60" fmla="*/ 1223 w 1718"/>
                <a:gd name="T61" fmla="*/ 102 h 1694"/>
                <a:gd name="T62" fmla="*/ 1289 w 1718"/>
                <a:gd name="T63" fmla="*/ 62 h 1694"/>
                <a:gd name="T64" fmla="*/ 1350 w 1718"/>
                <a:gd name="T65" fmla="*/ 22 h 1694"/>
                <a:gd name="T66" fmla="*/ 1379 w 1718"/>
                <a:gd name="T67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18" h="1694">
                  <a:moveTo>
                    <a:pt x="1379" y="0"/>
                  </a:moveTo>
                  <a:lnTo>
                    <a:pt x="1379" y="0"/>
                  </a:lnTo>
                  <a:lnTo>
                    <a:pt x="1718" y="1165"/>
                  </a:lnTo>
                  <a:lnTo>
                    <a:pt x="1718" y="1165"/>
                  </a:lnTo>
                  <a:lnTo>
                    <a:pt x="1718" y="1165"/>
                  </a:lnTo>
                  <a:lnTo>
                    <a:pt x="1664" y="1196"/>
                  </a:lnTo>
                  <a:lnTo>
                    <a:pt x="1609" y="1226"/>
                  </a:lnTo>
                  <a:lnTo>
                    <a:pt x="1554" y="1254"/>
                  </a:lnTo>
                  <a:lnTo>
                    <a:pt x="1500" y="1281"/>
                  </a:lnTo>
                  <a:lnTo>
                    <a:pt x="1445" y="1309"/>
                  </a:lnTo>
                  <a:lnTo>
                    <a:pt x="1391" y="1334"/>
                  </a:lnTo>
                  <a:lnTo>
                    <a:pt x="1337" y="1357"/>
                  </a:lnTo>
                  <a:lnTo>
                    <a:pt x="1283" y="1380"/>
                  </a:lnTo>
                  <a:lnTo>
                    <a:pt x="1229" y="1403"/>
                  </a:lnTo>
                  <a:lnTo>
                    <a:pt x="1176" y="1424"/>
                  </a:lnTo>
                  <a:lnTo>
                    <a:pt x="1124" y="1444"/>
                  </a:lnTo>
                  <a:lnTo>
                    <a:pt x="1072" y="1463"/>
                  </a:lnTo>
                  <a:lnTo>
                    <a:pt x="1022" y="1481"/>
                  </a:lnTo>
                  <a:lnTo>
                    <a:pt x="971" y="1498"/>
                  </a:lnTo>
                  <a:lnTo>
                    <a:pt x="873" y="1530"/>
                  </a:lnTo>
                  <a:lnTo>
                    <a:pt x="873" y="1530"/>
                  </a:lnTo>
                  <a:lnTo>
                    <a:pt x="868" y="1532"/>
                  </a:lnTo>
                  <a:lnTo>
                    <a:pt x="868" y="1532"/>
                  </a:lnTo>
                  <a:lnTo>
                    <a:pt x="846" y="1538"/>
                  </a:lnTo>
                  <a:lnTo>
                    <a:pt x="846" y="1538"/>
                  </a:lnTo>
                  <a:lnTo>
                    <a:pt x="830" y="1543"/>
                  </a:lnTo>
                  <a:lnTo>
                    <a:pt x="830" y="1543"/>
                  </a:lnTo>
                  <a:lnTo>
                    <a:pt x="815" y="1547"/>
                  </a:lnTo>
                  <a:lnTo>
                    <a:pt x="815" y="1547"/>
                  </a:lnTo>
                  <a:lnTo>
                    <a:pt x="726" y="1572"/>
                  </a:lnTo>
                  <a:lnTo>
                    <a:pt x="638" y="1595"/>
                  </a:lnTo>
                  <a:lnTo>
                    <a:pt x="550" y="1616"/>
                  </a:lnTo>
                  <a:lnTo>
                    <a:pt x="461" y="1636"/>
                  </a:lnTo>
                  <a:lnTo>
                    <a:pt x="374" y="1652"/>
                  </a:lnTo>
                  <a:lnTo>
                    <a:pt x="288" y="1668"/>
                  </a:lnTo>
                  <a:lnTo>
                    <a:pt x="202" y="1682"/>
                  </a:lnTo>
                  <a:lnTo>
                    <a:pt x="118" y="1694"/>
                  </a:lnTo>
                  <a:lnTo>
                    <a:pt x="118" y="1694"/>
                  </a:lnTo>
                  <a:lnTo>
                    <a:pt x="0" y="486"/>
                  </a:lnTo>
                  <a:lnTo>
                    <a:pt x="0" y="486"/>
                  </a:lnTo>
                  <a:lnTo>
                    <a:pt x="108" y="470"/>
                  </a:lnTo>
                  <a:lnTo>
                    <a:pt x="215" y="450"/>
                  </a:lnTo>
                  <a:lnTo>
                    <a:pt x="318" y="429"/>
                  </a:lnTo>
                  <a:lnTo>
                    <a:pt x="420" y="406"/>
                  </a:lnTo>
                  <a:lnTo>
                    <a:pt x="517" y="381"/>
                  </a:lnTo>
                  <a:lnTo>
                    <a:pt x="566" y="369"/>
                  </a:lnTo>
                  <a:lnTo>
                    <a:pt x="613" y="355"/>
                  </a:lnTo>
                  <a:lnTo>
                    <a:pt x="660" y="341"/>
                  </a:lnTo>
                  <a:lnTo>
                    <a:pt x="705" y="326"/>
                  </a:lnTo>
                  <a:lnTo>
                    <a:pt x="750" y="311"/>
                  </a:lnTo>
                  <a:lnTo>
                    <a:pt x="795" y="296"/>
                  </a:lnTo>
                  <a:lnTo>
                    <a:pt x="839" y="280"/>
                  </a:lnTo>
                  <a:lnTo>
                    <a:pt x="880" y="264"/>
                  </a:lnTo>
                  <a:lnTo>
                    <a:pt x="923" y="248"/>
                  </a:lnTo>
                  <a:lnTo>
                    <a:pt x="963" y="231"/>
                  </a:lnTo>
                  <a:lnTo>
                    <a:pt x="1003" y="213"/>
                  </a:lnTo>
                  <a:lnTo>
                    <a:pt x="1042" y="196"/>
                  </a:lnTo>
                  <a:lnTo>
                    <a:pt x="1081" y="178"/>
                  </a:lnTo>
                  <a:lnTo>
                    <a:pt x="1117" y="159"/>
                  </a:lnTo>
                  <a:lnTo>
                    <a:pt x="1154" y="141"/>
                  </a:lnTo>
                  <a:lnTo>
                    <a:pt x="1189" y="122"/>
                  </a:lnTo>
                  <a:lnTo>
                    <a:pt x="1223" y="102"/>
                  </a:lnTo>
                  <a:lnTo>
                    <a:pt x="1256" y="82"/>
                  </a:lnTo>
                  <a:lnTo>
                    <a:pt x="1289" y="62"/>
                  </a:lnTo>
                  <a:lnTo>
                    <a:pt x="1320" y="42"/>
                  </a:lnTo>
                  <a:lnTo>
                    <a:pt x="1350" y="22"/>
                  </a:lnTo>
                  <a:lnTo>
                    <a:pt x="1379" y="0"/>
                  </a:lnTo>
                  <a:lnTo>
                    <a:pt x="1379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1" name="Freeform 30"/>
            <p:cNvSpPr>
              <a:spLocks/>
            </p:cNvSpPr>
            <p:nvPr/>
          </p:nvSpPr>
          <p:spPr bwMode="auto">
            <a:xfrm flipH="1">
              <a:off x="5415568" y="2819624"/>
              <a:ext cx="198674" cy="201227"/>
            </a:xfrm>
            <a:custGeom>
              <a:avLst/>
              <a:gdLst>
                <a:gd name="T0" fmla="*/ 0 w 1077"/>
                <a:gd name="T1" fmla="*/ 252 h 1409"/>
                <a:gd name="T2" fmla="*/ 0 w 1077"/>
                <a:gd name="T3" fmla="*/ 252 h 1409"/>
                <a:gd name="T4" fmla="*/ 58 w 1077"/>
                <a:gd name="T5" fmla="*/ 243 h 1409"/>
                <a:gd name="T6" fmla="*/ 116 w 1077"/>
                <a:gd name="T7" fmla="*/ 233 h 1409"/>
                <a:gd name="T8" fmla="*/ 172 w 1077"/>
                <a:gd name="T9" fmla="*/ 222 h 1409"/>
                <a:gd name="T10" fmla="*/ 227 w 1077"/>
                <a:gd name="T11" fmla="*/ 211 h 1409"/>
                <a:gd name="T12" fmla="*/ 281 w 1077"/>
                <a:gd name="T13" fmla="*/ 197 h 1409"/>
                <a:gd name="T14" fmla="*/ 333 w 1077"/>
                <a:gd name="T15" fmla="*/ 184 h 1409"/>
                <a:gd name="T16" fmla="*/ 384 w 1077"/>
                <a:gd name="T17" fmla="*/ 169 h 1409"/>
                <a:gd name="T18" fmla="*/ 433 w 1077"/>
                <a:gd name="T19" fmla="*/ 153 h 1409"/>
                <a:gd name="T20" fmla="*/ 481 w 1077"/>
                <a:gd name="T21" fmla="*/ 137 h 1409"/>
                <a:gd name="T22" fmla="*/ 526 w 1077"/>
                <a:gd name="T23" fmla="*/ 120 h 1409"/>
                <a:gd name="T24" fmla="*/ 570 w 1077"/>
                <a:gd name="T25" fmla="*/ 101 h 1409"/>
                <a:gd name="T26" fmla="*/ 613 w 1077"/>
                <a:gd name="T27" fmla="*/ 83 h 1409"/>
                <a:gd name="T28" fmla="*/ 653 w 1077"/>
                <a:gd name="T29" fmla="*/ 63 h 1409"/>
                <a:gd name="T30" fmla="*/ 692 w 1077"/>
                <a:gd name="T31" fmla="*/ 43 h 1409"/>
                <a:gd name="T32" fmla="*/ 729 w 1077"/>
                <a:gd name="T33" fmla="*/ 22 h 1409"/>
                <a:gd name="T34" fmla="*/ 763 w 1077"/>
                <a:gd name="T35" fmla="*/ 0 h 1409"/>
                <a:gd name="T36" fmla="*/ 763 w 1077"/>
                <a:gd name="T37" fmla="*/ 0 h 1409"/>
                <a:gd name="T38" fmla="*/ 1077 w 1077"/>
                <a:gd name="T39" fmla="*/ 1082 h 1409"/>
                <a:gd name="T40" fmla="*/ 1077 w 1077"/>
                <a:gd name="T41" fmla="*/ 1082 h 1409"/>
                <a:gd name="T42" fmla="*/ 1035 w 1077"/>
                <a:gd name="T43" fmla="*/ 1110 h 1409"/>
                <a:gd name="T44" fmla="*/ 989 w 1077"/>
                <a:gd name="T45" fmla="*/ 1137 h 1409"/>
                <a:gd name="T46" fmla="*/ 941 w 1077"/>
                <a:gd name="T47" fmla="*/ 1164 h 1409"/>
                <a:gd name="T48" fmla="*/ 890 w 1077"/>
                <a:gd name="T49" fmla="*/ 1189 h 1409"/>
                <a:gd name="T50" fmla="*/ 837 w 1077"/>
                <a:gd name="T51" fmla="*/ 1214 h 1409"/>
                <a:gd name="T52" fmla="*/ 782 w 1077"/>
                <a:gd name="T53" fmla="*/ 1237 h 1409"/>
                <a:gd name="T54" fmla="*/ 724 w 1077"/>
                <a:gd name="T55" fmla="*/ 1260 h 1409"/>
                <a:gd name="T56" fmla="*/ 664 w 1077"/>
                <a:gd name="T57" fmla="*/ 1281 h 1409"/>
                <a:gd name="T58" fmla="*/ 602 w 1077"/>
                <a:gd name="T59" fmla="*/ 1302 h 1409"/>
                <a:gd name="T60" fmla="*/ 538 w 1077"/>
                <a:gd name="T61" fmla="*/ 1320 h 1409"/>
                <a:gd name="T62" fmla="*/ 471 w 1077"/>
                <a:gd name="T63" fmla="*/ 1338 h 1409"/>
                <a:gd name="T64" fmla="*/ 404 w 1077"/>
                <a:gd name="T65" fmla="*/ 1355 h 1409"/>
                <a:gd name="T66" fmla="*/ 333 w 1077"/>
                <a:gd name="T67" fmla="*/ 1370 h 1409"/>
                <a:gd name="T68" fmla="*/ 261 w 1077"/>
                <a:gd name="T69" fmla="*/ 1385 h 1409"/>
                <a:gd name="T70" fmla="*/ 188 w 1077"/>
                <a:gd name="T71" fmla="*/ 1398 h 1409"/>
                <a:gd name="T72" fmla="*/ 114 w 1077"/>
                <a:gd name="T73" fmla="*/ 1409 h 1409"/>
                <a:gd name="T74" fmla="*/ 114 w 1077"/>
                <a:gd name="T75" fmla="*/ 1409 h 1409"/>
                <a:gd name="T76" fmla="*/ 0 w 1077"/>
                <a:gd name="T77" fmla="*/ 252 h 1409"/>
                <a:gd name="T78" fmla="*/ 0 w 1077"/>
                <a:gd name="T79" fmla="*/ 252 h 1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77" h="1409">
                  <a:moveTo>
                    <a:pt x="0" y="252"/>
                  </a:moveTo>
                  <a:lnTo>
                    <a:pt x="0" y="252"/>
                  </a:lnTo>
                  <a:lnTo>
                    <a:pt x="58" y="243"/>
                  </a:lnTo>
                  <a:lnTo>
                    <a:pt x="116" y="233"/>
                  </a:lnTo>
                  <a:lnTo>
                    <a:pt x="172" y="222"/>
                  </a:lnTo>
                  <a:lnTo>
                    <a:pt x="227" y="211"/>
                  </a:lnTo>
                  <a:lnTo>
                    <a:pt x="281" y="197"/>
                  </a:lnTo>
                  <a:lnTo>
                    <a:pt x="333" y="184"/>
                  </a:lnTo>
                  <a:lnTo>
                    <a:pt x="384" y="169"/>
                  </a:lnTo>
                  <a:lnTo>
                    <a:pt x="433" y="153"/>
                  </a:lnTo>
                  <a:lnTo>
                    <a:pt x="481" y="137"/>
                  </a:lnTo>
                  <a:lnTo>
                    <a:pt x="526" y="120"/>
                  </a:lnTo>
                  <a:lnTo>
                    <a:pt x="570" y="101"/>
                  </a:lnTo>
                  <a:lnTo>
                    <a:pt x="613" y="83"/>
                  </a:lnTo>
                  <a:lnTo>
                    <a:pt x="653" y="63"/>
                  </a:lnTo>
                  <a:lnTo>
                    <a:pt x="692" y="43"/>
                  </a:lnTo>
                  <a:lnTo>
                    <a:pt x="729" y="22"/>
                  </a:lnTo>
                  <a:lnTo>
                    <a:pt x="763" y="0"/>
                  </a:lnTo>
                  <a:lnTo>
                    <a:pt x="763" y="0"/>
                  </a:lnTo>
                  <a:lnTo>
                    <a:pt x="1077" y="1082"/>
                  </a:lnTo>
                  <a:lnTo>
                    <a:pt x="1077" y="1082"/>
                  </a:lnTo>
                  <a:lnTo>
                    <a:pt x="1035" y="1110"/>
                  </a:lnTo>
                  <a:lnTo>
                    <a:pt x="989" y="1137"/>
                  </a:lnTo>
                  <a:lnTo>
                    <a:pt x="941" y="1164"/>
                  </a:lnTo>
                  <a:lnTo>
                    <a:pt x="890" y="1189"/>
                  </a:lnTo>
                  <a:lnTo>
                    <a:pt x="837" y="1214"/>
                  </a:lnTo>
                  <a:lnTo>
                    <a:pt x="782" y="1237"/>
                  </a:lnTo>
                  <a:lnTo>
                    <a:pt x="724" y="1260"/>
                  </a:lnTo>
                  <a:lnTo>
                    <a:pt x="664" y="1281"/>
                  </a:lnTo>
                  <a:lnTo>
                    <a:pt x="602" y="1302"/>
                  </a:lnTo>
                  <a:lnTo>
                    <a:pt x="538" y="1320"/>
                  </a:lnTo>
                  <a:lnTo>
                    <a:pt x="471" y="1338"/>
                  </a:lnTo>
                  <a:lnTo>
                    <a:pt x="404" y="1355"/>
                  </a:lnTo>
                  <a:lnTo>
                    <a:pt x="333" y="1370"/>
                  </a:lnTo>
                  <a:lnTo>
                    <a:pt x="261" y="1385"/>
                  </a:lnTo>
                  <a:lnTo>
                    <a:pt x="188" y="1398"/>
                  </a:lnTo>
                  <a:lnTo>
                    <a:pt x="114" y="1409"/>
                  </a:lnTo>
                  <a:lnTo>
                    <a:pt x="114" y="1409"/>
                  </a:lnTo>
                  <a:lnTo>
                    <a:pt x="0" y="252"/>
                  </a:lnTo>
                  <a:lnTo>
                    <a:pt x="0" y="25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2" name="Freeform 31"/>
            <p:cNvSpPr>
              <a:spLocks/>
            </p:cNvSpPr>
            <p:nvPr/>
          </p:nvSpPr>
          <p:spPr bwMode="auto">
            <a:xfrm flipH="1">
              <a:off x="5295589" y="3138233"/>
              <a:ext cx="276079" cy="225736"/>
            </a:xfrm>
            <a:custGeom>
              <a:avLst/>
              <a:gdLst>
                <a:gd name="T0" fmla="*/ 1177 w 1494"/>
                <a:gd name="T1" fmla="*/ 0 h 1575"/>
                <a:gd name="T2" fmla="*/ 1177 w 1494"/>
                <a:gd name="T3" fmla="*/ 0 h 1575"/>
                <a:gd name="T4" fmla="*/ 1494 w 1494"/>
                <a:gd name="T5" fmla="*/ 1089 h 1575"/>
                <a:gd name="T6" fmla="*/ 1494 w 1494"/>
                <a:gd name="T7" fmla="*/ 1089 h 1575"/>
                <a:gd name="T8" fmla="*/ 1465 w 1494"/>
                <a:gd name="T9" fmla="*/ 1111 h 1575"/>
                <a:gd name="T10" fmla="*/ 1435 w 1494"/>
                <a:gd name="T11" fmla="*/ 1131 h 1575"/>
                <a:gd name="T12" fmla="*/ 1404 w 1494"/>
                <a:gd name="T13" fmla="*/ 1151 h 1575"/>
                <a:gd name="T14" fmla="*/ 1371 w 1494"/>
                <a:gd name="T15" fmla="*/ 1171 h 1575"/>
                <a:gd name="T16" fmla="*/ 1338 w 1494"/>
                <a:gd name="T17" fmla="*/ 1191 h 1575"/>
                <a:gd name="T18" fmla="*/ 1304 w 1494"/>
                <a:gd name="T19" fmla="*/ 1211 h 1575"/>
                <a:gd name="T20" fmla="*/ 1269 w 1494"/>
                <a:gd name="T21" fmla="*/ 1230 h 1575"/>
                <a:gd name="T22" fmla="*/ 1232 w 1494"/>
                <a:gd name="T23" fmla="*/ 1248 h 1575"/>
                <a:gd name="T24" fmla="*/ 1196 w 1494"/>
                <a:gd name="T25" fmla="*/ 1267 h 1575"/>
                <a:gd name="T26" fmla="*/ 1157 w 1494"/>
                <a:gd name="T27" fmla="*/ 1285 h 1575"/>
                <a:gd name="T28" fmla="*/ 1118 w 1494"/>
                <a:gd name="T29" fmla="*/ 1302 h 1575"/>
                <a:gd name="T30" fmla="*/ 1078 w 1494"/>
                <a:gd name="T31" fmla="*/ 1320 h 1575"/>
                <a:gd name="T32" fmla="*/ 1038 w 1494"/>
                <a:gd name="T33" fmla="*/ 1337 h 1575"/>
                <a:gd name="T34" fmla="*/ 995 w 1494"/>
                <a:gd name="T35" fmla="*/ 1353 h 1575"/>
                <a:gd name="T36" fmla="*/ 954 w 1494"/>
                <a:gd name="T37" fmla="*/ 1369 h 1575"/>
                <a:gd name="T38" fmla="*/ 910 w 1494"/>
                <a:gd name="T39" fmla="*/ 1385 h 1575"/>
                <a:gd name="T40" fmla="*/ 865 w 1494"/>
                <a:gd name="T41" fmla="*/ 1400 h 1575"/>
                <a:gd name="T42" fmla="*/ 820 w 1494"/>
                <a:gd name="T43" fmla="*/ 1415 h 1575"/>
                <a:gd name="T44" fmla="*/ 775 w 1494"/>
                <a:gd name="T45" fmla="*/ 1430 h 1575"/>
                <a:gd name="T46" fmla="*/ 728 w 1494"/>
                <a:gd name="T47" fmla="*/ 1444 h 1575"/>
                <a:gd name="T48" fmla="*/ 681 w 1494"/>
                <a:gd name="T49" fmla="*/ 1458 h 1575"/>
                <a:gd name="T50" fmla="*/ 632 w 1494"/>
                <a:gd name="T51" fmla="*/ 1470 h 1575"/>
                <a:gd name="T52" fmla="*/ 535 w 1494"/>
                <a:gd name="T53" fmla="*/ 1495 h 1575"/>
                <a:gd name="T54" fmla="*/ 433 w 1494"/>
                <a:gd name="T55" fmla="*/ 1518 h 1575"/>
                <a:gd name="T56" fmla="*/ 330 w 1494"/>
                <a:gd name="T57" fmla="*/ 1539 h 1575"/>
                <a:gd name="T58" fmla="*/ 223 w 1494"/>
                <a:gd name="T59" fmla="*/ 1559 h 1575"/>
                <a:gd name="T60" fmla="*/ 115 w 1494"/>
                <a:gd name="T61" fmla="*/ 1575 h 1575"/>
                <a:gd name="T62" fmla="*/ 115 w 1494"/>
                <a:gd name="T63" fmla="*/ 1575 h 1575"/>
                <a:gd name="T64" fmla="*/ 0 w 1494"/>
                <a:gd name="T65" fmla="*/ 413 h 1575"/>
                <a:gd name="T66" fmla="*/ 0 w 1494"/>
                <a:gd name="T67" fmla="*/ 413 h 1575"/>
                <a:gd name="T68" fmla="*/ 93 w 1494"/>
                <a:gd name="T69" fmla="*/ 398 h 1575"/>
                <a:gd name="T70" fmla="*/ 183 w 1494"/>
                <a:gd name="T71" fmla="*/ 381 h 1575"/>
                <a:gd name="T72" fmla="*/ 272 w 1494"/>
                <a:gd name="T73" fmla="*/ 364 h 1575"/>
                <a:gd name="T74" fmla="*/ 358 w 1494"/>
                <a:gd name="T75" fmla="*/ 345 h 1575"/>
                <a:gd name="T76" fmla="*/ 441 w 1494"/>
                <a:gd name="T77" fmla="*/ 323 h 1575"/>
                <a:gd name="T78" fmla="*/ 522 w 1494"/>
                <a:gd name="T79" fmla="*/ 301 h 1575"/>
                <a:gd name="T80" fmla="*/ 601 w 1494"/>
                <a:gd name="T81" fmla="*/ 276 h 1575"/>
                <a:gd name="T82" fmla="*/ 677 w 1494"/>
                <a:gd name="T83" fmla="*/ 251 h 1575"/>
                <a:gd name="T84" fmla="*/ 751 w 1494"/>
                <a:gd name="T85" fmla="*/ 224 h 1575"/>
                <a:gd name="T86" fmla="*/ 821 w 1494"/>
                <a:gd name="T87" fmla="*/ 196 h 1575"/>
                <a:gd name="T88" fmla="*/ 889 w 1494"/>
                <a:gd name="T89" fmla="*/ 166 h 1575"/>
                <a:gd name="T90" fmla="*/ 954 w 1494"/>
                <a:gd name="T91" fmla="*/ 135 h 1575"/>
                <a:gd name="T92" fmla="*/ 984 w 1494"/>
                <a:gd name="T93" fmla="*/ 120 h 1575"/>
                <a:gd name="T94" fmla="*/ 1014 w 1494"/>
                <a:gd name="T95" fmla="*/ 103 h 1575"/>
                <a:gd name="T96" fmla="*/ 1044 w 1494"/>
                <a:gd name="T97" fmla="*/ 86 h 1575"/>
                <a:gd name="T98" fmla="*/ 1072 w 1494"/>
                <a:gd name="T99" fmla="*/ 70 h 1575"/>
                <a:gd name="T100" fmla="*/ 1100 w 1494"/>
                <a:gd name="T101" fmla="*/ 53 h 1575"/>
                <a:gd name="T102" fmla="*/ 1126 w 1494"/>
                <a:gd name="T103" fmla="*/ 35 h 1575"/>
                <a:gd name="T104" fmla="*/ 1152 w 1494"/>
                <a:gd name="T105" fmla="*/ 18 h 1575"/>
                <a:gd name="T106" fmla="*/ 1177 w 1494"/>
                <a:gd name="T107" fmla="*/ 0 h 1575"/>
                <a:gd name="T108" fmla="*/ 1177 w 1494"/>
                <a:gd name="T109" fmla="*/ 0 h 1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94" h="1575">
                  <a:moveTo>
                    <a:pt x="1177" y="0"/>
                  </a:moveTo>
                  <a:lnTo>
                    <a:pt x="1177" y="0"/>
                  </a:lnTo>
                  <a:lnTo>
                    <a:pt x="1494" y="1089"/>
                  </a:lnTo>
                  <a:lnTo>
                    <a:pt x="1494" y="1089"/>
                  </a:lnTo>
                  <a:lnTo>
                    <a:pt x="1465" y="1111"/>
                  </a:lnTo>
                  <a:lnTo>
                    <a:pt x="1435" y="1131"/>
                  </a:lnTo>
                  <a:lnTo>
                    <a:pt x="1404" y="1151"/>
                  </a:lnTo>
                  <a:lnTo>
                    <a:pt x="1371" y="1171"/>
                  </a:lnTo>
                  <a:lnTo>
                    <a:pt x="1338" y="1191"/>
                  </a:lnTo>
                  <a:lnTo>
                    <a:pt x="1304" y="1211"/>
                  </a:lnTo>
                  <a:lnTo>
                    <a:pt x="1269" y="1230"/>
                  </a:lnTo>
                  <a:lnTo>
                    <a:pt x="1232" y="1248"/>
                  </a:lnTo>
                  <a:lnTo>
                    <a:pt x="1196" y="1267"/>
                  </a:lnTo>
                  <a:lnTo>
                    <a:pt x="1157" y="1285"/>
                  </a:lnTo>
                  <a:lnTo>
                    <a:pt x="1118" y="1302"/>
                  </a:lnTo>
                  <a:lnTo>
                    <a:pt x="1078" y="1320"/>
                  </a:lnTo>
                  <a:lnTo>
                    <a:pt x="1038" y="1337"/>
                  </a:lnTo>
                  <a:lnTo>
                    <a:pt x="995" y="1353"/>
                  </a:lnTo>
                  <a:lnTo>
                    <a:pt x="954" y="1369"/>
                  </a:lnTo>
                  <a:lnTo>
                    <a:pt x="910" y="1385"/>
                  </a:lnTo>
                  <a:lnTo>
                    <a:pt x="865" y="1400"/>
                  </a:lnTo>
                  <a:lnTo>
                    <a:pt x="820" y="1415"/>
                  </a:lnTo>
                  <a:lnTo>
                    <a:pt x="775" y="1430"/>
                  </a:lnTo>
                  <a:lnTo>
                    <a:pt x="728" y="1444"/>
                  </a:lnTo>
                  <a:lnTo>
                    <a:pt x="681" y="1458"/>
                  </a:lnTo>
                  <a:lnTo>
                    <a:pt x="632" y="1470"/>
                  </a:lnTo>
                  <a:lnTo>
                    <a:pt x="535" y="1495"/>
                  </a:lnTo>
                  <a:lnTo>
                    <a:pt x="433" y="1518"/>
                  </a:lnTo>
                  <a:lnTo>
                    <a:pt x="330" y="1539"/>
                  </a:lnTo>
                  <a:lnTo>
                    <a:pt x="223" y="1559"/>
                  </a:lnTo>
                  <a:lnTo>
                    <a:pt x="115" y="1575"/>
                  </a:lnTo>
                  <a:lnTo>
                    <a:pt x="115" y="1575"/>
                  </a:lnTo>
                  <a:lnTo>
                    <a:pt x="0" y="413"/>
                  </a:lnTo>
                  <a:lnTo>
                    <a:pt x="0" y="413"/>
                  </a:lnTo>
                  <a:lnTo>
                    <a:pt x="93" y="398"/>
                  </a:lnTo>
                  <a:lnTo>
                    <a:pt x="183" y="381"/>
                  </a:lnTo>
                  <a:lnTo>
                    <a:pt x="272" y="364"/>
                  </a:lnTo>
                  <a:lnTo>
                    <a:pt x="358" y="345"/>
                  </a:lnTo>
                  <a:lnTo>
                    <a:pt x="441" y="323"/>
                  </a:lnTo>
                  <a:lnTo>
                    <a:pt x="522" y="301"/>
                  </a:lnTo>
                  <a:lnTo>
                    <a:pt x="601" y="276"/>
                  </a:lnTo>
                  <a:lnTo>
                    <a:pt x="677" y="251"/>
                  </a:lnTo>
                  <a:lnTo>
                    <a:pt x="751" y="224"/>
                  </a:lnTo>
                  <a:lnTo>
                    <a:pt x="821" y="196"/>
                  </a:lnTo>
                  <a:lnTo>
                    <a:pt x="889" y="166"/>
                  </a:lnTo>
                  <a:lnTo>
                    <a:pt x="954" y="135"/>
                  </a:lnTo>
                  <a:lnTo>
                    <a:pt x="984" y="120"/>
                  </a:lnTo>
                  <a:lnTo>
                    <a:pt x="1014" y="103"/>
                  </a:lnTo>
                  <a:lnTo>
                    <a:pt x="1044" y="86"/>
                  </a:lnTo>
                  <a:lnTo>
                    <a:pt x="1072" y="70"/>
                  </a:lnTo>
                  <a:lnTo>
                    <a:pt x="1100" y="53"/>
                  </a:lnTo>
                  <a:lnTo>
                    <a:pt x="1126" y="35"/>
                  </a:lnTo>
                  <a:lnTo>
                    <a:pt x="1152" y="18"/>
                  </a:lnTo>
                  <a:lnTo>
                    <a:pt x="1177" y="0"/>
                  </a:lnTo>
                  <a:lnTo>
                    <a:pt x="1177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3" name="Freeform 32"/>
            <p:cNvSpPr>
              <a:spLocks/>
            </p:cNvSpPr>
            <p:nvPr/>
          </p:nvSpPr>
          <p:spPr bwMode="auto">
            <a:xfrm flipH="1">
              <a:off x="5353643" y="2974414"/>
              <a:ext cx="239957" cy="223156"/>
            </a:xfrm>
            <a:custGeom>
              <a:avLst/>
              <a:gdLst>
                <a:gd name="T0" fmla="*/ 0 w 1297"/>
                <a:gd name="T1" fmla="*/ 327 h 1560"/>
                <a:gd name="T2" fmla="*/ 0 w 1297"/>
                <a:gd name="T3" fmla="*/ 327 h 1560"/>
                <a:gd name="T4" fmla="*/ 74 w 1297"/>
                <a:gd name="T5" fmla="*/ 316 h 1560"/>
                <a:gd name="T6" fmla="*/ 147 w 1297"/>
                <a:gd name="T7" fmla="*/ 303 h 1560"/>
                <a:gd name="T8" fmla="*/ 219 w 1297"/>
                <a:gd name="T9" fmla="*/ 288 h 1560"/>
                <a:gd name="T10" fmla="*/ 290 w 1297"/>
                <a:gd name="T11" fmla="*/ 273 h 1560"/>
                <a:gd name="T12" fmla="*/ 357 w 1297"/>
                <a:gd name="T13" fmla="*/ 256 h 1560"/>
                <a:gd name="T14" fmla="*/ 424 w 1297"/>
                <a:gd name="T15" fmla="*/ 238 h 1560"/>
                <a:gd name="T16" fmla="*/ 488 w 1297"/>
                <a:gd name="T17" fmla="*/ 220 h 1560"/>
                <a:gd name="T18" fmla="*/ 550 w 1297"/>
                <a:gd name="T19" fmla="*/ 199 h 1560"/>
                <a:gd name="T20" fmla="*/ 610 w 1297"/>
                <a:gd name="T21" fmla="*/ 178 h 1560"/>
                <a:gd name="T22" fmla="*/ 668 w 1297"/>
                <a:gd name="T23" fmla="*/ 155 h 1560"/>
                <a:gd name="T24" fmla="*/ 723 w 1297"/>
                <a:gd name="T25" fmla="*/ 132 h 1560"/>
                <a:gd name="T26" fmla="*/ 776 w 1297"/>
                <a:gd name="T27" fmla="*/ 107 h 1560"/>
                <a:gd name="T28" fmla="*/ 827 w 1297"/>
                <a:gd name="T29" fmla="*/ 82 h 1560"/>
                <a:gd name="T30" fmla="*/ 875 w 1297"/>
                <a:gd name="T31" fmla="*/ 55 h 1560"/>
                <a:gd name="T32" fmla="*/ 921 w 1297"/>
                <a:gd name="T33" fmla="*/ 28 h 1560"/>
                <a:gd name="T34" fmla="*/ 963 w 1297"/>
                <a:gd name="T35" fmla="*/ 0 h 1560"/>
                <a:gd name="T36" fmla="*/ 963 w 1297"/>
                <a:gd name="T37" fmla="*/ 0 h 1560"/>
                <a:gd name="T38" fmla="*/ 1297 w 1297"/>
                <a:gd name="T39" fmla="*/ 1147 h 1560"/>
                <a:gd name="T40" fmla="*/ 1297 w 1297"/>
                <a:gd name="T41" fmla="*/ 1147 h 1560"/>
                <a:gd name="T42" fmla="*/ 1272 w 1297"/>
                <a:gd name="T43" fmla="*/ 1165 h 1560"/>
                <a:gd name="T44" fmla="*/ 1246 w 1297"/>
                <a:gd name="T45" fmla="*/ 1182 h 1560"/>
                <a:gd name="T46" fmla="*/ 1220 w 1297"/>
                <a:gd name="T47" fmla="*/ 1200 h 1560"/>
                <a:gd name="T48" fmla="*/ 1192 w 1297"/>
                <a:gd name="T49" fmla="*/ 1217 h 1560"/>
                <a:gd name="T50" fmla="*/ 1164 w 1297"/>
                <a:gd name="T51" fmla="*/ 1233 h 1560"/>
                <a:gd name="T52" fmla="*/ 1134 w 1297"/>
                <a:gd name="T53" fmla="*/ 1250 h 1560"/>
                <a:gd name="T54" fmla="*/ 1104 w 1297"/>
                <a:gd name="T55" fmla="*/ 1267 h 1560"/>
                <a:gd name="T56" fmla="*/ 1074 w 1297"/>
                <a:gd name="T57" fmla="*/ 1282 h 1560"/>
                <a:gd name="T58" fmla="*/ 1009 w 1297"/>
                <a:gd name="T59" fmla="*/ 1313 h 1560"/>
                <a:gd name="T60" fmla="*/ 941 w 1297"/>
                <a:gd name="T61" fmla="*/ 1343 h 1560"/>
                <a:gd name="T62" fmla="*/ 871 w 1297"/>
                <a:gd name="T63" fmla="*/ 1371 h 1560"/>
                <a:gd name="T64" fmla="*/ 797 w 1297"/>
                <a:gd name="T65" fmla="*/ 1398 h 1560"/>
                <a:gd name="T66" fmla="*/ 721 w 1297"/>
                <a:gd name="T67" fmla="*/ 1423 h 1560"/>
                <a:gd name="T68" fmla="*/ 642 w 1297"/>
                <a:gd name="T69" fmla="*/ 1448 h 1560"/>
                <a:gd name="T70" fmla="*/ 561 w 1297"/>
                <a:gd name="T71" fmla="*/ 1470 h 1560"/>
                <a:gd name="T72" fmla="*/ 478 w 1297"/>
                <a:gd name="T73" fmla="*/ 1492 h 1560"/>
                <a:gd name="T74" fmla="*/ 392 w 1297"/>
                <a:gd name="T75" fmla="*/ 1511 h 1560"/>
                <a:gd name="T76" fmla="*/ 303 w 1297"/>
                <a:gd name="T77" fmla="*/ 1528 h 1560"/>
                <a:gd name="T78" fmla="*/ 213 w 1297"/>
                <a:gd name="T79" fmla="*/ 1545 h 1560"/>
                <a:gd name="T80" fmla="*/ 120 w 1297"/>
                <a:gd name="T81" fmla="*/ 1560 h 1560"/>
                <a:gd name="T82" fmla="*/ 120 w 1297"/>
                <a:gd name="T83" fmla="*/ 1560 h 1560"/>
                <a:gd name="T84" fmla="*/ 0 w 1297"/>
                <a:gd name="T85" fmla="*/ 327 h 1560"/>
                <a:gd name="T86" fmla="*/ 0 w 1297"/>
                <a:gd name="T87" fmla="*/ 327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97" h="1560">
                  <a:moveTo>
                    <a:pt x="0" y="327"/>
                  </a:moveTo>
                  <a:lnTo>
                    <a:pt x="0" y="327"/>
                  </a:lnTo>
                  <a:lnTo>
                    <a:pt x="74" y="316"/>
                  </a:lnTo>
                  <a:lnTo>
                    <a:pt x="147" y="303"/>
                  </a:lnTo>
                  <a:lnTo>
                    <a:pt x="219" y="288"/>
                  </a:lnTo>
                  <a:lnTo>
                    <a:pt x="290" y="273"/>
                  </a:lnTo>
                  <a:lnTo>
                    <a:pt x="357" y="256"/>
                  </a:lnTo>
                  <a:lnTo>
                    <a:pt x="424" y="238"/>
                  </a:lnTo>
                  <a:lnTo>
                    <a:pt x="488" y="220"/>
                  </a:lnTo>
                  <a:lnTo>
                    <a:pt x="550" y="199"/>
                  </a:lnTo>
                  <a:lnTo>
                    <a:pt x="610" y="178"/>
                  </a:lnTo>
                  <a:lnTo>
                    <a:pt x="668" y="155"/>
                  </a:lnTo>
                  <a:lnTo>
                    <a:pt x="723" y="132"/>
                  </a:lnTo>
                  <a:lnTo>
                    <a:pt x="776" y="107"/>
                  </a:lnTo>
                  <a:lnTo>
                    <a:pt x="827" y="82"/>
                  </a:lnTo>
                  <a:lnTo>
                    <a:pt x="875" y="55"/>
                  </a:lnTo>
                  <a:lnTo>
                    <a:pt x="921" y="28"/>
                  </a:lnTo>
                  <a:lnTo>
                    <a:pt x="963" y="0"/>
                  </a:lnTo>
                  <a:lnTo>
                    <a:pt x="963" y="0"/>
                  </a:lnTo>
                  <a:lnTo>
                    <a:pt x="1297" y="1147"/>
                  </a:lnTo>
                  <a:lnTo>
                    <a:pt x="1297" y="1147"/>
                  </a:lnTo>
                  <a:lnTo>
                    <a:pt x="1272" y="1165"/>
                  </a:lnTo>
                  <a:lnTo>
                    <a:pt x="1246" y="1182"/>
                  </a:lnTo>
                  <a:lnTo>
                    <a:pt x="1220" y="1200"/>
                  </a:lnTo>
                  <a:lnTo>
                    <a:pt x="1192" y="1217"/>
                  </a:lnTo>
                  <a:lnTo>
                    <a:pt x="1164" y="1233"/>
                  </a:lnTo>
                  <a:lnTo>
                    <a:pt x="1134" y="1250"/>
                  </a:lnTo>
                  <a:lnTo>
                    <a:pt x="1104" y="1267"/>
                  </a:lnTo>
                  <a:lnTo>
                    <a:pt x="1074" y="1282"/>
                  </a:lnTo>
                  <a:lnTo>
                    <a:pt x="1009" y="1313"/>
                  </a:lnTo>
                  <a:lnTo>
                    <a:pt x="941" y="1343"/>
                  </a:lnTo>
                  <a:lnTo>
                    <a:pt x="871" y="1371"/>
                  </a:lnTo>
                  <a:lnTo>
                    <a:pt x="797" y="1398"/>
                  </a:lnTo>
                  <a:lnTo>
                    <a:pt x="721" y="1423"/>
                  </a:lnTo>
                  <a:lnTo>
                    <a:pt x="642" y="1448"/>
                  </a:lnTo>
                  <a:lnTo>
                    <a:pt x="561" y="1470"/>
                  </a:lnTo>
                  <a:lnTo>
                    <a:pt x="478" y="1492"/>
                  </a:lnTo>
                  <a:lnTo>
                    <a:pt x="392" y="1511"/>
                  </a:lnTo>
                  <a:lnTo>
                    <a:pt x="303" y="1528"/>
                  </a:lnTo>
                  <a:lnTo>
                    <a:pt x="213" y="1545"/>
                  </a:lnTo>
                  <a:lnTo>
                    <a:pt x="120" y="1560"/>
                  </a:lnTo>
                  <a:lnTo>
                    <a:pt x="120" y="1560"/>
                  </a:lnTo>
                  <a:lnTo>
                    <a:pt x="0" y="327"/>
                  </a:lnTo>
                  <a:lnTo>
                    <a:pt x="0" y="327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4" name="Freeform 33"/>
            <p:cNvSpPr>
              <a:spLocks/>
            </p:cNvSpPr>
            <p:nvPr/>
          </p:nvSpPr>
          <p:spPr bwMode="auto">
            <a:xfrm flipH="1">
              <a:off x="5473621" y="2655804"/>
              <a:ext cx="162551" cy="199938"/>
            </a:xfrm>
            <a:custGeom>
              <a:avLst/>
              <a:gdLst>
                <a:gd name="T0" fmla="*/ 0 w 885"/>
                <a:gd name="T1" fmla="*/ 148 h 1393"/>
                <a:gd name="T2" fmla="*/ 0 w 885"/>
                <a:gd name="T3" fmla="*/ 148 h 1393"/>
                <a:gd name="T4" fmla="*/ 40 w 885"/>
                <a:gd name="T5" fmla="*/ 143 h 1393"/>
                <a:gd name="T6" fmla="*/ 80 w 885"/>
                <a:gd name="T7" fmla="*/ 137 h 1393"/>
                <a:gd name="T8" fmla="*/ 118 w 885"/>
                <a:gd name="T9" fmla="*/ 131 h 1393"/>
                <a:gd name="T10" fmla="*/ 157 w 885"/>
                <a:gd name="T11" fmla="*/ 123 h 1393"/>
                <a:gd name="T12" fmla="*/ 194 w 885"/>
                <a:gd name="T13" fmla="*/ 116 h 1393"/>
                <a:gd name="T14" fmla="*/ 231 w 885"/>
                <a:gd name="T15" fmla="*/ 108 h 1393"/>
                <a:gd name="T16" fmla="*/ 267 w 885"/>
                <a:gd name="T17" fmla="*/ 99 h 1393"/>
                <a:gd name="T18" fmla="*/ 302 w 885"/>
                <a:gd name="T19" fmla="*/ 90 h 1393"/>
                <a:gd name="T20" fmla="*/ 337 w 885"/>
                <a:gd name="T21" fmla="*/ 81 h 1393"/>
                <a:gd name="T22" fmla="*/ 371 w 885"/>
                <a:gd name="T23" fmla="*/ 70 h 1393"/>
                <a:gd name="T24" fmla="*/ 404 w 885"/>
                <a:gd name="T25" fmla="*/ 60 h 1393"/>
                <a:gd name="T26" fmla="*/ 435 w 885"/>
                <a:gd name="T27" fmla="*/ 49 h 1393"/>
                <a:gd name="T28" fmla="*/ 466 w 885"/>
                <a:gd name="T29" fmla="*/ 38 h 1393"/>
                <a:gd name="T30" fmla="*/ 497 w 885"/>
                <a:gd name="T31" fmla="*/ 25 h 1393"/>
                <a:gd name="T32" fmla="*/ 526 w 885"/>
                <a:gd name="T33" fmla="*/ 13 h 1393"/>
                <a:gd name="T34" fmla="*/ 554 w 885"/>
                <a:gd name="T35" fmla="*/ 0 h 1393"/>
                <a:gd name="T36" fmla="*/ 554 w 885"/>
                <a:gd name="T37" fmla="*/ 0 h 1393"/>
                <a:gd name="T38" fmla="*/ 885 w 885"/>
                <a:gd name="T39" fmla="*/ 1141 h 1393"/>
                <a:gd name="T40" fmla="*/ 885 w 885"/>
                <a:gd name="T41" fmla="*/ 1141 h 1393"/>
                <a:gd name="T42" fmla="*/ 851 w 885"/>
                <a:gd name="T43" fmla="*/ 1163 h 1393"/>
                <a:gd name="T44" fmla="*/ 814 w 885"/>
                <a:gd name="T45" fmla="*/ 1184 h 1393"/>
                <a:gd name="T46" fmla="*/ 775 w 885"/>
                <a:gd name="T47" fmla="*/ 1204 h 1393"/>
                <a:gd name="T48" fmla="*/ 735 w 885"/>
                <a:gd name="T49" fmla="*/ 1224 h 1393"/>
                <a:gd name="T50" fmla="*/ 692 w 885"/>
                <a:gd name="T51" fmla="*/ 1242 h 1393"/>
                <a:gd name="T52" fmla="*/ 648 w 885"/>
                <a:gd name="T53" fmla="*/ 1261 h 1393"/>
                <a:gd name="T54" fmla="*/ 603 w 885"/>
                <a:gd name="T55" fmla="*/ 1278 h 1393"/>
                <a:gd name="T56" fmla="*/ 555 w 885"/>
                <a:gd name="T57" fmla="*/ 1294 h 1393"/>
                <a:gd name="T58" fmla="*/ 506 w 885"/>
                <a:gd name="T59" fmla="*/ 1310 h 1393"/>
                <a:gd name="T60" fmla="*/ 455 w 885"/>
                <a:gd name="T61" fmla="*/ 1325 h 1393"/>
                <a:gd name="T62" fmla="*/ 403 w 885"/>
                <a:gd name="T63" fmla="*/ 1338 h 1393"/>
                <a:gd name="T64" fmla="*/ 349 w 885"/>
                <a:gd name="T65" fmla="*/ 1352 h 1393"/>
                <a:gd name="T66" fmla="*/ 294 w 885"/>
                <a:gd name="T67" fmla="*/ 1363 h 1393"/>
                <a:gd name="T68" fmla="*/ 238 w 885"/>
                <a:gd name="T69" fmla="*/ 1374 h 1393"/>
                <a:gd name="T70" fmla="*/ 180 w 885"/>
                <a:gd name="T71" fmla="*/ 1384 h 1393"/>
                <a:gd name="T72" fmla="*/ 122 w 885"/>
                <a:gd name="T73" fmla="*/ 1393 h 1393"/>
                <a:gd name="T74" fmla="*/ 122 w 885"/>
                <a:gd name="T75" fmla="*/ 1393 h 1393"/>
                <a:gd name="T76" fmla="*/ 0 w 885"/>
                <a:gd name="T77" fmla="*/ 148 h 1393"/>
                <a:gd name="T78" fmla="*/ 0 w 885"/>
                <a:gd name="T79" fmla="*/ 148 h 1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85" h="1393">
                  <a:moveTo>
                    <a:pt x="0" y="148"/>
                  </a:moveTo>
                  <a:lnTo>
                    <a:pt x="0" y="148"/>
                  </a:lnTo>
                  <a:lnTo>
                    <a:pt x="40" y="143"/>
                  </a:lnTo>
                  <a:lnTo>
                    <a:pt x="80" y="137"/>
                  </a:lnTo>
                  <a:lnTo>
                    <a:pt x="118" y="131"/>
                  </a:lnTo>
                  <a:lnTo>
                    <a:pt x="157" y="123"/>
                  </a:lnTo>
                  <a:lnTo>
                    <a:pt x="194" y="116"/>
                  </a:lnTo>
                  <a:lnTo>
                    <a:pt x="231" y="108"/>
                  </a:lnTo>
                  <a:lnTo>
                    <a:pt x="267" y="99"/>
                  </a:lnTo>
                  <a:lnTo>
                    <a:pt x="302" y="90"/>
                  </a:lnTo>
                  <a:lnTo>
                    <a:pt x="337" y="81"/>
                  </a:lnTo>
                  <a:lnTo>
                    <a:pt x="371" y="70"/>
                  </a:lnTo>
                  <a:lnTo>
                    <a:pt x="404" y="60"/>
                  </a:lnTo>
                  <a:lnTo>
                    <a:pt x="435" y="49"/>
                  </a:lnTo>
                  <a:lnTo>
                    <a:pt x="466" y="38"/>
                  </a:lnTo>
                  <a:lnTo>
                    <a:pt x="497" y="25"/>
                  </a:lnTo>
                  <a:lnTo>
                    <a:pt x="526" y="13"/>
                  </a:lnTo>
                  <a:lnTo>
                    <a:pt x="554" y="0"/>
                  </a:lnTo>
                  <a:lnTo>
                    <a:pt x="554" y="0"/>
                  </a:lnTo>
                  <a:lnTo>
                    <a:pt x="885" y="1141"/>
                  </a:lnTo>
                  <a:lnTo>
                    <a:pt x="885" y="1141"/>
                  </a:lnTo>
                  <a:lnTo>
                    <a:pt x="851" y="1163"/>
                  </a:lnTo>
                  <a:lnTo>
                    <a:pt x="814" y="1184"/>
                  </a:lnTo>
                  <a:lnTo>
                    <a:pt x="775" y="1204"/>
                  </a:lnTo>
                  <a:lnTo>
                    <a:pt x="735" y="1224"/>
                  </a:lnTo>
                  <a:lnTo>
                    <a:pt x="692" y="1242"/>
                  </a:lnTo>
                  <a:lnTo>
                    <a:pt x="648" y="1261"/>
                  </a:lnTo>
                  <a:lnTo>
                    <a:pt x="603" y="1278"/>
                  </a:lnTo>
                  <a:lnTo>
                    <a:pt x="555" y="1294"/>
                  </a:lnTo>
                  <a:lnTo>
                    <a:pt x="506" y="1310"/>
                  </a:lnTo>
                  <a:lnTo>
                    <a:pt x="455" y="1325"/>
                  </a:lnTo>
                  <a:lnTo>
                    <a:pt x="403" y="1338"/>
                  </a:lnTo>
                  <a:lnTo>
                    <a:pt x="349" y="1352"/>
                  </a:lnTo>
                  <a:lnTo>
                    <a:pt x="294" y="1363"/>
                  </a:lnTo>
                  <a:lnTo>
                    <a:pt x="238" y="1374"/>
                  </a:lnTo>
                  <a:lnTo>
                    <a:pt x="180" y="1384"/>
                  </a:lnTo>
                  <a:lnTo>
                    <a:pt x="122" y="1393"/>
                  </a:lnTo>
                  <a:lnTo>
                    <a:pt x="122" y="1393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5" name="Freeform 34"/>
            <p:cNvSpPr>
              <a:spLocks/>
            </p:cNvSpPr>
            <p:nvPr/>
          </p:nvSpPr>
          <p:spPr bwMode="auto">
            <a:xfrm flipH="1">
              <a:off x="6086414" y="3486511"/>
              <a:ext cx="20641" cy="6450"/>
            </a:xfrm>
            <a:custGeom>
              <a:avLst/>
              <a:gdLst>
                <a:gd name="T0" fmla="*/ 1 w 108"/>
                <a:gd name="T1" fmla="*/ 1 h 48"/>
                <a:gd name="T2" fmla="*/ 2 w 108"/>
                <a:gd name="T3" fmla="*/ 0 h 48"/>
                <a:gd name="T4" fmla="*/ 2 w 108"/>
                <a:gd name="T5" fmla="*/ 0 h 48"/>
                <a:gd name="T6" fmla="*/ 54 w 108"/>
                <a:gd name="T7" fmla="*/ 22 h 48"/>
                <a:gd name="T8" fmla="*/ 108 w 108"/>
                <a:gd name="T9" fmla="*/ 44 h 48"/>
                <a:gd name="T10" fmla="*/ 106 w 108"/>
                <a:gd name="T11" fmla="*/ 48 h 48"/>
                <a:gd name="T12" fmla="*/ 106 w 108"/>
                <a:gd name="T13" fmla="*/ 48 h 48"/>
                <a:gd name="T14" fmla="*/ 54 w 108"/>
                <a:gd name="T15" fmla="*/ 26 h 48"/>
                <a:gd name="T16" fmla="*/ 0 w 108"/>
                <a:gd name="T17" fmla="*/ 3 h 48"/>
                <a:gd name="T18" fmla="*/ 2 w 108"/>
                <a:gd name="T19" fmla="*/ 0 h 48"/>
                <a:gd name="T20" fmla="*/ 1 w 108"/>
                <a:gd name="T21" fmla="*/ 1 h 48"/>
                <a:gd name="T22" fmla="*/ 2 w 108"/>
                <a:gd name="T23" fmla="*/ 0 h 48"/>
                <a:gd name="T24" fmla="*/ 2 w 108"/>
                <a:gd name="T25" fmla="*/ 0 h 48"/>
                <a:gd name="T26" fmla="*/ 55 w 108"/>
                <a:gd name="T27" fmla="*/ 23 h 48"/>
                <a:gd name="T28" fmla="*/ 107 w 108"/>
                <a:gd name="T29" fmla="*/ 44 h 48"/>
                <a:gd name="T30" fmla="*/ 107 w 108"/>
                <a:gd name="T31" fmla="*/ 46 h 48"/>
                <a:gd name="T32" fmla="*/ 106 w 108"/>
                <a:gd name="T33" fmla="*/ 47 h 48"/>
                <a:gd name="T34" fmla="*/ 106 w 108"/>
                <a:gd name="T35" fmla="*/ 47 h 48"/>
                <a:gd name="T36" fmla="*/ 53 w 108"/>
                <a:gd name="T37" fmla="*/ 25 h 48"/>
                <a:gd name="T38" fmla="*/ 0 w 108"/>
                <a:gd name="T39" fmla="*/ 3 h 48"/>
                <a:gd name="T40" fmla="*/ 1 w 108"/>
                <a:gd name="T41" fmla="*/ 1 h 48"/>
                <a:gd name="T42" fmla="*/ 2 w 108"/>
                <a:gd name="T43" fmla="*/ 0 h 48"/>
                <a:gd name="T44" fmla="*/ 1 w 108"/>
                <a:gd name="T45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48">
                  <a:moveTo>
                    <a:pt x="1" y="1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54" y="22"/>
                  </a:lnTo>
                  <a:lnTo>
                    <a:pt x="108" y="44"/>
                  </a:lnTo>
                  <a:lnTo>
                    <a:pt x="106" y="48"/>
                  </a:lnTo>
                  <a:lnTo>
                    <a:pt x="106" y="48"/>
                  </a:lnTo>
                  <a:lnTo>
                    <a:pt x="54" y="26"/>
                  </a:lnTo>
                  <a:lnTo>
                    <a:pt x="0" y="3"/>
                  </a:lnTo>
                  <a:lnTo>
                    <a:pt x="2" y="0"/>
                  </a:lnTo>
                  <a:lnTo>
                    <a:pt x="1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55" y="23"/>
                  </a:lnTo>
                  <a:lnTo>
                    <a:pt x="107" y="44"/>
                  </a:lnTo>
                  <a:lnTo>
                    <a:pt x="107" y="46"/>
                  </a:lnTo>
                  <a:lnTo>
                    <a:pt x="106" y="47"/>
                  </a:lnTo>
                  <a:lnTo>
                    <a:pt x="106" y="47"/>
                  </a:lnTo>
                  <a:lnTo>
                    <a:pt x="53" y="25"/>
                  </a:lnTo>
                  <a:lnTo>
                    <a:pt x="0" y="3"/>
                  </a:lnTo>
                  <a:lnTo>
                    <a:pt x="1" y="1"/>
                  </a:lnTo>
                  <a:lnTo>
                    <a:pt x="2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6" name="Freeform 35"/>
            <p:cNvSpPr>
              <a:spLocks/>
            </p:cNvSpPr>
            <p:nvPr/>
          </p:nvSpPr>
          <p:spPr bwMode="auto">
            <a:xfrm flipH="1">
              <a:off x="6159949" y="3464583"/>
              <a:ext cx="1290" cy="0"/>
            </a:xfrm>
            <a:custGeom>
              <a:avLst/>
              <a:gdLst>
                <a:gd name="T0" fmla="*/ 1 w 3"/>
                <a:gd name="T1" fmla="*/ 2 h 5"/>
                <a:gd name="T2" fmla="*/ 0 w 3"/>
                <a:gd name="T3" fmla="*/ 2 h 5"/>
                <a:gd name="T4" fmla="*/ 0 w 3"/>
                <a:gd name="T5" fmla="*/ 2 h 5"/>
                <a:gd name="T6" fmla="*/ 0 w 3"/>
                <a:gd name="T7" fmla="*/ 0 h 5"/>
                <a:gd name="T8" fmla="*/ 3 w 3"/>
                <a:gd name="T9" fmla="*/ 1 h 5"/>
                <a:gd name="T10" fmla="*/ 1 w 3"/>
                <a:gd name="T11" fmla="*/ 5 h 5"/>
                <a:gd name="T12" fmla="*/ 1 w 3"/>
                <a:gd name="T13" fmla="*/ 5 h 5"/>
                <a:gd name="T14" fmla="*/ 0 w 3"/>
                <a:gd name="T15" fmla="*/ 5 h 5"/>
                <a:gd name="T16" fmla="*/ 0 w 3"/>
                <a:gd name="T17" fmla="*/ 2 h 5"/>
                <a:gd name="T18" fmla="*/ 1 w 3"/>
                <a:gd name="T19" fmla="*/ 2 h 5"/>
                <a:gd name="T20" fmla="*/ 2 w 3"/>
                <a:gd name="T21" fmla="*/ 1 h 5"/>
                <a:gd name="T22" fmla="*/ 2 w 3"/>
                <a:gd name="T23" fmla="*/ 1 h 5"/>
                <a:gd name="T24" fmla="*/ 2 w 3"/>
                <a:gd name="T25" fmla="*/ 4 h 5"/>
                <a:gd name="T26" fmla="*/ 1 w 3"/>
                <a:gd name="T27" fmla="*/ 5 h 5"/>
                <a:gd name="T28" fmla="*/ 0 w 3"/>
                <a:gd name="T29" fmla="*/ 5 h 5"/>
                <a:gd name="T30" fmla="*/ 1 w 3"/>
                <a:gd name="T31" fmla="*/ 2 h 5"/>
                <a:gd name="T32" fmla="*/ 3 w 3"/>
                <a:gd name="T33" fmla="*/ 2 h 5"/>
                <a:gd name="T34" fmla="*/ 3 w 3"/>
                <a:gd name="T35" fmla="*/ 2 h 5"/>
                <a:gd name="T36" fmla="*/ 1 w 3"/>
                <a:gd name="T37" fmla="*/ 2 h 5"/>
                <a:gd name="T38" fmla="*/ 2 w 3"/>
                <a:gd name="T39" fmla="*/ 1 h 5"/>
                <a:gd name="T40" fmla="*/ 1 w 3"/>
                <a:gd name="T4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" h="5">
                  <a:moveTo>
                    <a:pt x="1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1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7" name="Freeform 36"/>
            <p:cNvSpPr>
              <a:spLocks/>
            </p:cNvSpPr>
            <p:nvPr/>
          </p:nvSpPr>
          <p:spPr bwMode="auto">
            <a:xfrm flipH="1">
              <a:off x="5572958" y="2381052"/>
              <a:ext cx="252858" cy="127702"/>
            </a:xfrm>
            <a:custGeom>
              <a:avLst/>
              <a:gdLst>
                <a:gd name="T0" fmla="*/ 1214 w 1373"/>
                <a:gd name="T1" fmla="*/ 641 h 892"/>
                <a:gd name="T2" fmla="*/ 1189 w 1373"/>
                <a:gd name="T3" fmla="*/ 554 h 892"/>
                <a:gd name="T4" fmla="*/ 1159 w 1373"/>
                <a:gd name="T5" fmla="*/ 488 h 892"/>
                <a:gd name="T6" fmla="*/ 1119 w 1373"/>
                <a:gd name="T7" fmla="*/ 441 h 892"/>
                <a:gd name="T8" fmla="*/ 1071 w 1373"/>
                <a:gd name="T9" fmla="*/ 414 h 892"/>
                <a:gd name="T10" fmla="*/ 1017 w 1373"/>
                <a:gd name="T11" fmla="*/ 406 h 892"/>
                <a:gd name="T12" fmla="*/ 960 w 1373"/>
                <a:gd name="T13" fmla="*/ 415 h 892"/>
                <a:gd name="T14" fmla="*/ 942 w 1373"/>
                <a:gd name="T15" fmla="*/ 423 h 892"/>
                <a:gd name="T16" fmla="*/ 922 w 1373"/>
                <a:gd name="T17" fmla="*/ 440 h 892"/>
                <a:gd name="T18" fmla="*/ 906 w 1373"/>
                <a:gd name="T19" fmla="*/ 464 h 892"/>
                <a:gd name="T20" fmla="*/ 895 w 1373"/>
                <a:gd name="T21" fmla="*/ 502 h 892"/>
                <a:gd name="T22" fmla="*/ 888 w 1373"/>
                <a:gd name="T23" fmla="*/ 573 h 892"/>
                <a:gd name="T24" fmla="*/ 892 w 1373"/>
                <a:gd name="T25" fmla="*/ 650 h 892"/>
                <a:gd name="T26" fmla="*/ 902 w 1373"/>
                <a:gd name="T27" fmla="*/ 751 h 892"/>
                <a:gd name="T28" fmla="*/ 860 w 1373"/>
                <a:gd name="T29" fmla="*/ 884 h 892"/>
                <a:gd name="T30" fmla="*/ 693 w 1373"/>
                <a:gd name="T31" fmla="*/ 892 h 892"/>
                <a:gd name="T32" fmla="*/ 573 w 1373"/>
                <a:gd name="T33" fmla="*/ 888 h 892"/>
                <a:gd name="T34" fmla="*/ 407 w 1373"/>
                <a:gd name="T35" fmla="*/ 867 h 892"/>
                <a:gd name="T36" fmla="*/ 259 w 1373"/>
                <a:gd name="T37" fmla="*/ 831 h 892"/>
                <a:gd name="T38" fmla="*/ 155 w 1373"/>
                <a:gd name="T39" fmla="*/ 790 h 892"/>
                <a:gd name="T40" fmla="*/ 102 w 1373"/>
                <a:gd name="T41" fmla="*/ 762 h 892"/>
                <a:gd name="T42" fmla="*/ 57 w 1373"/>
                <a:gd name="T43" fmla="*/ 731 h 892"/>
                <a:gd name="T44" fmla="*/ 20 w 1373"/>
                <a:gd name="T45" fmla="*/ 697 h 892"/>
                <a:gd name="T46" fmla="*/ 0 w 1373"/>
                <a:gd name="T47" fmla="*/ 674 h 892"/>
                <a:gd name="T48" fmla="*/ 91 w 1373"/>
                <a:gd name="T49" fmla="*/ 426 h 892"/>
                <a:gd name="T50" fmla="*/ 112 w 1373"/>
                <a:gd name="T51" fmla="*/ 360 h 892"/>
                <a:gd name="T52" fmla="*/ 142 w 1373"/>
                <a:gd name="T53" fmla="*/ 297 h 892"/>
                <a:gd name="T54" fmla="*/ 180 w 1373"/>
                <a:gd name="T55" fmla="*/ 238 h 892"/>
                <a:gd name="T56" fmla="*/ 227 w 1373"/>
                <a:gd name="T57" fmla="*/ 185 h 892"/>
                <a:gd name="T58" fmla="*/ 280 w 1373"/>
                <a:gd name="T59" fmla="*/ 137 h 892"/>
                <a:gd name="T60" fmla="*/ 339 w 1373"/>
                <a:gd name="T61" fmla="*/ 95 h 892"/>
                <a:gd name="T62" fmla="*/ 405 w 1373"/>
                <a:gd name="T63" fmla="*/ 60 h 892"/>
                <a:gd name="T64" fmla="*/ 476 w 1373"/>
                <a:gd name="T65" fmla="*/ 33 h 892"/>
                <a:gd name="T66" fmla="*/ 550 w 1373"/>
                <a:gd name="T67" fmla="*/ 13 h 892"/>
                <a:gd name="T68" fmla="*/ 628 w 1373"/>
                <a:gd name="T69" fmla="*/ 2 h 892"/>
                <a:gd name="T70" fmla="*/ 682 w 1373"/>
                <a:gd name="T71" fmla="*/ 0 h 892"/>
                <a:gd name="T72" fmla="*/ 757 w 1373"/>
                <a:gd name="T73" fmla="*/ 4 h 892"/>
                <a:gd name="T74" fmla="*/ 830 w 1373"/>
                <a:gd name="T75" fmla="*/ 16 h 892"/>
                <a:gd name="T76" fmla="*/ 899 w 1373"/>
                <a:gd name="T77" fmla="*/ 36 h 892"/>
                <a:gd name="T78" fmla="*/ 964 w 1373"/>
                <a:gd name="T79" fmla="*/ 62 h 892"/>
                <a:gd name="T80" fmla="*/ 1024 w 1373"/>
                <a:gd name="T81" fmla="*/ 95 h 892"/>
                <a:gd name="T82" fmla="*/ 1081 w 1373"/>
                <a:gd name="T83" fmla="*/ 134 h 892"/>
                <a:gd name="T84" fmla="*/ 1131 w 1373"/>
                <a:gd name="T85" fmla="*/ 177 h 892"/>
                <a:gd name="T86" fmla="*/ 1175 w 1373"/>
                <a:gd name="T87" fmla="*/ 227 h 892"/>
                <a:gd name="T88" fmla="*/ 1213 w 1373"/>
                <a:gd name="T89" fmla="*/ 281 h 892"/>
                <a:gd name="T90" fmla="*/ 1244 w 1373"/>
                <a:gd name="T91" fmla="*/ 338 h 892"/>
                <a:gd name="T92" fmla="*/ 1259 w 1373"/>
                <a:gd name="T93" fmla="*/ 378 h 892"/>
                <a:gd name="T94" fmla="*/ 1373 w 1373"/>
                <a:gd name="T95" fmla="*/ 689 h 892"/>
                <a:gd name="T96" fmla="*/ 1335 w 1373"/>
                <a:gd name="T97" fmla="*/ 724 h 892"/>
                <a:gd name="T98" fmla="*/ 1290 w 1373"/>
                <a:gd name="T99" fmla="*/ 758 h 892"/>
                <a:gd name="T100" fmla="*/ 1253 w 1373"/>
                <a:gd name="T101" fmla="*/ 779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73" h="892">
                  <a:moveTo>
                    <a:pt x="1253" y="779"/>
                  </a:moveTo>
                  <a:lnTo>
                    <a:pt x="1253" y="779"/>
                  </a:lnTo>
                  <a:lnTo>
                    <a:pt x="1214" y="641"/>
                  </a:lnTo>
                  <a:lnTo>
                    <a:pt x="1197" y="580"/>
                  </a:lnTo>
                  <a:lnTo>
                    <a:pt x="1197" y="580"/>
                  </a:lnTo>
                  <a:lnTo>
                    <a:pt x="1189" y="554"/>
                  </a:lnTo>
                  <a:lnTo>
                    <a:pt x="1180" y="530"/>
                  </a:lnTo>
                  <a:lnTo>
                    <a:pt x="1170" y="508"/>
                  </a:lnTo>
                  <a:lnTo>
                    <a:pt x="1159" y="488"/>
                  </a:lnTo>
                  <a:lnTo>
                    <a:pt x="1146" y="470"/>
                  </a:lnTo>
                  <a:lnTo>
                    <a:pt x="1133" y="455"/>
                  </a:lnTo>
                  <a:lnTo>
                    <a:pt x="1119" y="441"/>
                  </a:lnTo>
                  <a:lnTo>
                    <a:pt x="1103" y="431"/>
                  </a:lnTo>
                  <a:lnTo>
                    <a:pt x="1088" y="421"/>
                  </a:lnTo>
                  <a:lnTo>
                    <a:pt x="1071" y="414"/>
                  </a:lnTo>
                  <a:lnTo>
                    <a:pt x="1054" y="410"/>
                  </a:lnTo>
                  <a:lnTo>
                    <a:pt x="1036" y="407"/>
                  </a:lnTo>
                  <a:lnTo>
                    <a:pt x="1017" y="406"/>
                  </a:lnTo>
                  <a:lnTo>
                    <a:pt x="998" y="407"/>
                  </a:lnTo>
                  <a:lnTo>
                    <a:pt x="980" y="410"/>
                  </a:lnTo>
                  <a:lnTo>
                    <a:pt x="960" y="415"/>
                  </a:lnTo>
                  <a:lnTo>
                    <a:pt x="960" y="415"/>
                  </a:lnTo>
                  <a:lnTo>
                    <a:pt x="951" y="419"/>
                  </a:lnTo>
                  <a:lnTo>
                    <a:pt x="942" y="423"/>
                  </a:lnTo>
                  <a:lnTo>
                    <a:pt x="935" y="428"/>
                  </a:lnTo>
                  <a:lnTo>
                    <a:pt x="928" y="434"/>
                  </a:lnTo>
                  <a:lnTo>
                    <a:pt x="922" y="440"/>
                  </a:lnTo>
                  <a:lnTo>
                    <a:pt x="916" y="447"/>
                  </a:lnTo>
                  <a:lnTo>
                    <a:pt x="911" y="456"/>
                  </a:lnTo>
                  <a:lnTo>
                    <a:pt x="906" y="464"/>
                  </a:lnTo>
                  <a:lnTo>
                    <a:pt x="903" y="473"/>
                  </a:lnTo>
                  <a:lnTo>
                    <a:pt x="900" y="483"/>
                  </a:lnTo>
                  <a:lnTo>
                    <a:pt x="895" y="502"/>
                  </a:lnTo>
                  <a:lnTo>
                    <a:pt x="890" y="525"/>
                  </a:lnTo>
                  <a:lnTo>
                    <a:pt x="889" y="548"/>
                  </a:lnTo>
                  <a:lnTo>
                    <a:pt x="888" y="573"/>
                  </a:lnTo>
                  <a:lnTo>
                    <a:pt x="889" y="598"/>
                  </a:lnTo>
                  <a:lnTo>
                    <a:pt x="890" y="624"/>
                  </a:lnTo>
                  <a:lnTo>
                    <a:pt x="892" y="650"/>
                  </a:lnTo>
                  <a:lnTo>
                    <a:pt x="898" y="703"/>
                  </a:lnTo>
                  <a:lnTo>
                    <a:pt x="902" y="751"/>
                  </a:lnTo>
                  <a:lnTo>
                    <a:pt x="902" y="751"/>
                  </a:lnTo>
                  <a:lnTo>
                    <a:pt x="913" y="878"/>
                  </a:lnTo>
                  <a:lnTo>
                    <a:pt x="913" y="878"/>
                  </a:lnTo>
                  <a:lnTo>
                    <a:pt x="860" y="884"/>
                  </a:lnTo>
                  <a:lnTo>
                    <a:pt x="805" y="888"/>
                  </a:lnTo>
                  <a:lnTo>
                    <a:pt x="750" y="891"/>
                  </a:lnTo>
                  <a:lnTo>
                    <a:pt x="693" y="892"/>
                  </a:lnTo>
                  <a:lnTo>
                    <a:pt x="693" y="892"/>
                  </a:lnTo>
                  <a:lnTo>
                    <a:pt x="633" y="891"/>
                  </a:lnTo>
                  <a:lnTo>
                    <a:pt x="573" y="888"/>
                  </a:lnTo>
                  <a:lnTo>
                    <a:pt x="516" y="883"/>
                  </a:lnTo>
                  <a:lnTo>
                    <a:pt x="461" y="875"/>
                  </a:lnTo>
                  <a:lnTo>
                    <a:pt x="407" y="867"/>
                  </a:lnTo>
                  <a:lnTo>
                    <a:pt x="356" y="857"/>
                  </a:lnTo>
                  <a:lnTo>
                    <a:pt x="306" y="844"/>
                  </a:lnTo>
                  <a:lnTo>
                    <a:pt x="259" y="831"/>
                  </a:lnTo>
                  <a:lnTo>
                    <a:pt x="216" y="815"/>
                  </a:lnTo>
                  <a:lnTo>
                    <a:pt x="175" y="798"/>
                  </a:lnTo>
                  <a:lnTo>
                    <a:pt x="155" y="790"/>
                  </a:lnTo>
                  <a:lnTo>
                    <a:pt x="137" y="781"/>
                  </a:lnTo>
                  <a:lnTo>
                    <a:pt x="119" y="771"/>
                  </a:lnTo>
                  <a:lnTo>
                    <a:pt x="102" y="762"/>
                  </a:lnTo>
                  <a:lnTo>
                    <a:pt x="87" y="751"/>
                  </a:lnTo>
                  <a:lnTo>
                    <a:pt x="71" y="741"/>
                  </a:lnTo>
                  <a:lnTo>
                    <a:pt x="57" y="731"/>
                  </a:lnTo>
                  <a:lnTo>
                    <a:pt x="44" y="720"/>
                  </a:lnTo>
                  <a:lnTo>
                    <a:pt x="32" y="709"/>
                  </a:lnTo>
                  <a:lnTo>
                    <a:pt x="20" y="697"/>
                  </a:lnTo>
                  <a:lnTo>
                    <a:pt x="10" y="686"/>
                  </a:lnTo>
                  <a:lnTo>
                    <a:pt x="0" y="674"/>
                  </a:lnTo>
                  <a:lnTo>
                    <a:pt x="0" y="674"/>
                  </a:lnTo>
                  <a:lnTo>
                    <a:pt x="57" y="521"/>
                  </a:lnTo>
                  <a:lnTo>
                    <a:pt x="91" y="426"/>
                  </a:lnTo>
                  <a:lnTo>
                    <a:pt x="91" y="426"/>
                  </a:lnTo>
                  <a:lnTo>
                    <a:pt x="97" y="405"/>
                  </a:lnTo>
                  <a:lnTo>
                    <a:pt x="104" y="382"/>
                  </a:lnTo>
                  <a:lnTo>
                    <a:pt x="112" y="360"/>
                  </a:lnTo>
                  <a:lnTo>
                    <a:pt x="121" y="339"/>
                  </a:lnTo>
                  <a:lnTo>
                    <a:pt x="131" y="317"/>
                  </a:lnTo>
                  <a:lnTo>
                    <a:pt x="142" y="297"/>
                  </a:lnTo>
                  <a:lnTo>
                    <a:pt x="154" y="276"/>
                  </a:lnTo>
                  <a:lnTo>
                    <a:pt x="167" y="258"/>
                  </a:lnTo>
                  <a:lnTo>
                    <a:pt x="180" y="238"/>
                  </a:lnTo>
                  <a:lnTo>
                    <a:pt x="195" y="220"/>
                  </a:lnTo>
                  <a:lnTo>
                    <a:pt x="210" y="202"/>
                  </a:lnTo>
                  <a:lnTo>
                    <a:pt x="227" y="185"/>
                  </a:lnTo>
                  <a:lnTo>
                    <a:pt x="244" y="168"/>
                  </a:lnTo>
                  <a:lnTo>
                    <a:pt x="261" y="152"/>
                  </a:lnTo>
                  <a:lnTo>
                    <a:pt x="280" y="137"/>
                  </a:lnTo>
                  <a:lnTo>
                    <a:pt x="300" y="122"/>
                  </a:lnTo>
                  <a:lnTo>
                    <a:pt x="320" y="109"/>
                  </a:lnTo>
                  <a:lnTo>
                    <a:pt x="339" y="95"/>
                  </a:lnTo>
                  <a:lnTo>
                    <a:pt x="361" y="83"/>
                  </a:lnTo>
                  <a:lnTo>
                    <a:pt x="383" y="71"/>
                  </a:lnTo>
                  <a:lnTo>
                    <a:pt x="405" y="60"/>
                  </a:lnTo>
                  <a:lnTo>
                    <a:pt x="428" y="50"/>
                  </a:lnTo>
                  <a:lnTo>
                    <a:pt x="452" y="41"/>
                  </a:lnTo>
                  <a:lnTo>
                    <a:pt x="476" y="33"/>
                  </a:lnTo>
                  <a:lnTo>
                    <a:pt x="499" y="25"/>
                  </a:lnTo>
                  <a:lnTo>
                    <a:pt x="524" y="19"/>
                  </a:lnTo>
                  <a:lnTo>
                    <a:pt x="550" y="13"/>
                  </a:lnTo>
                  <a:lnTo>
                    <a:pt x="575" y="9"/>
                  </a:lnTo>
                  <a:lnTo>
                    <a:pt x="602" y="5"/>
                  </a:lnTo>
                  <a:lnTo>
                    <a:pt x="628" y="2"/>
                  </a:lnTo>
                  <a:lnTo>
                    <a:pt x="655" y="0"/>
                  </a:lnTo>
                  <a:lnTo>
                    <a:pt x="682" y="0"/>
                  </a:lnTo>
                  <a:lnTo>
                    <a:pt x="682" y="0"/>
                  </a:lnTo>
                  <a:lnTo>
                    <a:pt x="707" y="0"/>
                  </a:lnTo>
                  <a:lnTo>
                    <a:pt x="732" y="2"/>
                  </a:lnTo>
                  <a:lnTo>
                    <a:pt x="757" y="4"/>
                  </a:lnTo>
                  <a:lnTo>
                    <a:pt x="782" y="8"/>
                  </a:lnTo>
                  <a:lnTo>
                    <a:pt x="806" y="12"/>
                  </a:lnTo>
                  <a:lnTo>
                    <a:pt x="830" y="16"/>
                  </a:lnTo>
                  <a:lnTo>
                    <a:pt x="853" y="22"/>
                  </a:lnTo>
                  <a:lnTo>
                    <a:pt x="876" y="28"/>
                  </a:lnTo>
                  <a:lnTo>
                    <a:pt x="899" y="36"/>
                  </a:lnTo>
                  <a:lnTo>
                    <a:pt x="920" y="44"/>
                  </a:lnTo>
                  <a:lnTo>
                    <a:pt x="942" y="52"/>
                  </a:lnTo>
                  <a:lnTo>
                    <a:pt x="964" y="62"/>
                  </a:lnTo>
                  <a:lnTo>
                    <a:pt x="985" y="72"/>
                  </a:lnTo>
                  <a:lnTo>
                    <a:pt x="1005" y="84"/>
                  </a:lnTo>
                  <a:lnTo>
                    <a:pt x="1024" y="95"/>
                  </a:lnTo>
                  <a:lnTo>
                    <a:pt x="1044" y="108"/>
                  </a:lnTo>
                  <a:lnTo>
                    <a:pt x="1063" y="120"/>
                  </a:lnTo>
                  <a:lnTo>
                    <a:pt x="1081" y="134"/>
                  </a:lnTo>
                  <a:lnTo>
                    <a:pt x="1098" y="148"/>
                  </a:lnTo>
                  <a:lnTo>
                    <a:pt x="1115" y="163"/>
                  </a:lnTo>
                  <a:lnTo>
                    <a:pt x="1131" y="177"/>
                  </a:lnTo>
                  <a:lnTo>
                    <a:pt x="1146" y="194"/>
                  </a:lnTo>
                  <a:lnTo>
                    <a:pt x="1161" y="210"/>
                  </a:lnTo>
                  <a:lnTo>
                    <a:pt x="1175" y="227"/>
                  </a:lnTo>
                  <a:lnTo>
                    <a:pt x="1189" y="244"/>
                  </a:lnTo>
                  <a:lnTo>
                    <a:pt x="1201" y="263"/>
                  </a:lnTo>
                  <a:lnTo>
                    <a:pt x="1213" y="281"/>
                  </a:lnTo>
                  <a:lnTo>
                    <a:pt x="1224" y="299"/>
                  </a:lnTo>
                  <a:lnTo>
                    <a:pt x="1234" y="319"/>
                  </a:lnTo>
                  <a:lnTo>
                    <a:pt x="1244" y="338"/>
                  </a:lnTo>
                  <a:lnTo>
                    <a:pt x="1252" y="359"/>
                  </a:lnTo>
                  <a:lnTo>
                    <a:pt x="1259" y="378"/>
                  </a:lnTo>
                  <a:lnTo>
                    <a:pt x="1259" y="378"/>
                  </a:lnTo>
                  <a:lnTo>
                    <a:pt x="1302" y="494"/>
                  </a:lnTo>
                  <a:lnTo>
                    <a:pt x="1373" y="689"/>
                  </a:lnTo>
                  <a:lnTo>
                    <a:pt x="1373" y="689"/>
                  </a:lnTo>
                  <a:lnTo>
                    <a:pt x="1361" y="701"/>
                  </a:lnTo>
                  <a:lnTo>
                    <a:pt x="1349" y="713"/>
                  </a:lnTo>
                  <a:lnTo>
                    <a:pt x="1335" y="724"/>
                  </a:lnTo>
                  <a:lnTo>
                    <a:pt x="1321" y="736"/>
                  </a:lnTo>
                  <a:lnTo>
                    <a:pt x="1306" y="747"/>
                  </a:lnTo>
                  <a:lnTo>
                    <a:pt x="1290" y="758"/>
                  </a:lnTo>
                  <a:lnTo>
                    <a:pt x="1272" y="768"/>
                  </a:lnTo>
                  <a:lnTo>
                    <a:pt x="1253" y="779"/>
                  </a:lnTo>
                  <a:lnTo>
                    <a:pt x="1253" y="7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8" name="Freeform 37"/>
            <p:cNvSpPr>
              <a:spLocks/>
            </p:cNvSpPr>
            <p:nvPr/>
          </p:nvSpPr>
          <p:spPr bwMode="auto">
            <a:xfrm flipH="1">
              <a:off x="5594890" y="2439098"/>
              <a:ext cx="67085" cy="68366"/>
            </a:xfrm>
            <a:custGeom>
              <a:avLst/>
              <a:gdLst>
                <a:gd name="T0" fmla="*/ 72 w 365"/>
                <a:gd name="T1" fmla="*/ 9 h 472"/>
                <a:gd name="T2" fmla="*/ 72 w 365"/>
                <a:gd name="T3" fmla="*/ 9 h 472"/>
                <a:gd name="T4" fmla="*/ 92 w 365"/>
                <a:gd name="T5" fmla="*/ 4 h 472"/>
                <a:gd name="T6" fmla="*/ 110 w 365"/>
                <a:gd name="T7" fmla="*/ 1 h 472"/>
                <a:gd name="T8" fmla="*/ 129 w 365"/>
                <a:gd name="T9" fmla="*/ 0 h 472"/>
                <a:gd name="T10" fmla="*/ 148 w 365"/>
                <a:gd name="T11" fmla="*/ 1 h 472"/>
                <a:gd name="T12" fmla="*/ 166 w 365"/>
                <a:gd name="T13" fmla="*/ 4 h 472"/>
                <a:gd name="T14" fmla="*/ 183 w 365"/>
                <a:gd name="T15" fmla="*/ 8 h 472"/>
                <a:gd name="T16" fmla="*/ 200 w 365"/>
                <a:gd name="T17" fmla="*/ 15 h 472"/>
                <a:gd name="T18" fmla="*/ 215 w 365"/>
                <a:gd name="T19" fmla="*/ 25 h 472"/>
                <a:gd name="T20" fmla="*/ 231 w 365"/>
                <a:gd name="T21" fmla="*/ 35 h 472"/>
                <a:gd name="T22" fmla="*/ 245 w 365"/>
                <a:gd name="T23" fmla="*/ 49 h 472"/>
                <a:gd name="T24" fmla="*/ 258 w 365"/>
                <a:gd name="T25" fmla="*/ 64 h 472"/>
                <a:gd name="T26" fmla="*/ 271 w 365"/>
                <a:gd name="T27" fmla="*/ 82 h 472"/>
                <a:gd name="T28" fmla="*/ 282 w 365"/>
                <a:gd name="T29" fmla="*/ 102 h 472"/>
                <a:gd name="T30" fmla="*/ 292 w 365"/>
                <a:gd name="T31" fmla="*/ 124 h 472"/>
                <a:gd name="T32" fmla="*/ 301 w 365"/>
                <a:gd name="T33" fmla="*/ 148 h 472"/>
                <a:gd name="T34" fmla="*/ 309 w 365"/>
                <a:gd name="T35" fmla="*/ 174 h 472"/>
                <a:gd name="T36" fmla="*/ 309 w 365"/>
                <a:gd name="T37" fmla="*/ 174 h 472"/>
                <a:gd name="T38" fmla="*/ 326 w 365"/>
                <a:gd name="T39" fmla="*/ 235 h 472"/>
                <a:gd name="T40" fmla="*/ 365 w 365"/>
                <a:gd name="T41" fmla="*/ 373 h 472"/>
                <a:gd name="T42" fmla="*/ 365 w 365"/>
                <a:gd name="T43" fmla="*/ 373 h 472"/>
                <a:gd name="T44" fmla="*/ 331 w 365"/>
                <a:gd name="T45" fmla="*/ 389 h 472"/>
                <a:gd name="T46" fmla="*/ 293 w 365"/>
                <a:gd name="T47" fmla="*/ 405 h 472"/>
                <a:gd name="T48" fmla="*/ 254 w 365"/>
                <a:gd name="T49" fmla="*/ 418 h 472"/>
                <a:gd name="T50" fmla="*/ 212 w 365"/>
                <a:gd name="T51" fmla="*/ 432 h 472"/>
                <a:gd name="T52" fmla="*/ 169 w 365"/>
                <a:gd name="T53" fmla="*/ 444 h 472"/>
                <a:gd name="T54" fmla="*/ 123 w 365"/>
                <a:gd name="T55" fmla="*/ 455 h 472"/>
                <a:gd name="T56" fmla="*/ 74 w 365"/>
                <a:gd name="T57" fmla="*/ 463 h 472"/>
                <a:gd name="T58" fmla="*/ 25 w 365"/>
                <a:gd name="T59" fmla="*/ 472 h 472"/>
                <a:gd name="T60" fmla="*/ 25 w 365"/>
                <a:gd name="T61" fmla="*/ 472 h 472"/>
                <a:gd name="T62" fmla="*/ 14 w 365"/>
                <a:gd name="T63" fmla="*/ 345 h 472"/>
                <a:gd name="T64" fmla="*/ 14 w 365"/>
                <a:gd name="T65" fmla="*/ 345 h 472"/>
                <a:gd name="T66" fmla="*/ 10 w 365"/>
                <a:gd name="T67" fmla="*/ 297 h 472"/>
                <a:gd name="T68" fmla="*/ 4 w 365"/>
                <a:gd name="T69" fmla="*/ 244 h 472"/>
                <a:gd name="T70" fmla="*/ 2 w 365"/>
                <a:gd name="T71" fmla="*/ 218 h 472"/>
                <a:gd name="T72" fmla="*/ 1 w 365"/>
                <a:gd name="T73" fmla="*/ 192 h 472"/>
                <a:gd name="T74" fmla="*/ 0 w 365"/>
                <a:gd name="T75" fmla="*/ 167 h 472"/>
                <a:gd name="T76" fmla="*/ 1 w 365"/>
                <a:gd name="T77" fmla="*/ 142 h 472"/>
                <a:gd name="T78" fmla="*/ 2 w 365"/>
                <a:gd name="T79" fmla="*/ 119 h 472"/>
                <a:gd name="T80" fmla="*/ 7 w 365"/>
                <a:gd name="T81" fmla="*/ 96 h 472"/>
                <a:gd name="T82" fmla="*/ 12 w 365"/>
                <a:gd name="T83" fmla="*/ 77 h 472"/>
                <a:gd name="T84" fmla="*/ 15 w 365"/>
                <a:gd name="T85" fmla="*/ 67 h 472"/>
                <a:gd name="T86" fmla="*/ 18 w 365"/>
                <a:gd name="T87" fmla="*/ 58 h 472"/>
                <a:gd name="T88" fmla="*/ 23 w 365"/>
                <a:gd name="T89" fmla="*/ 50 h 472"/>
                <a:gd name="T90" fmla="*/ 28 w 365"/>
                <a:gd name="T91" fmla="*/ 41 h 472"/>
                <a:gd name="T92" fmla="*/ 34 w 365"/>
                <a:gd name="T93" fmla="*/ 34 h 472"/>
                <a:gd name="T94" fmla="*/ 40 w 365"/>
                <a:gd name="T95" fmla="*/ 28 h 472"/>
                <a:gd name="T96" fmla="*/ 47 w 365"/>
                <a:gd name="T97" fmla="*/ 22 h 472"/>
                <a:gd name="T98" fmla="*/ 54 w 365"/>
                <a:gd name="T99" fmla="*/ 17 h 472"/>
                <a:gd name="T100" fmla="*/ 63 w 365"/>
                <a:gd name="T101" fmla="*/ 13 h 472"/>
                <a:gd name="T102" fmla="*/ 72 w 365"/>
                <a:gd name="T103" fmla="*/ 9 h 472"/>
                <a:gd name="T104" fmla="*/ 72 w 365"/>
                <a:gd name="T105" fmla="*/ 9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65" h="472">
                  <a:moveTo>
                    <a:pt x="72" y="9"/>
                  </a:moveTo>
                  <a:lnTo>
                    <a:pt x="72" y="9"/>
                  </a:lnTo>
                  <a:lnTo>
                    <a:pt x="92" y="4"/>
                  </a:lnTo>
                  <a:lnTo>
                    <a:pt x="110" y="1"/>
                  </a:lnTo>
                  <a:lnTo>
                    <a:pt x="129" y="0"/>
                  </a:lnTo>
                  <a:lnTo>
                    <a:pt x="148" y="1"/>
                  </a:lnTo>
                  <a:lnTo>
                    <a:pt x="166" y="4"/>
                  </a:lnTo>
                  <a:lnTo>
                    <a:pt x="183" y="8"/>
                  </a:lnTo>
                  <a:lnTo>
                    <a:pt x="200" y="15"/>
                  </a:lnTo>
                  <a:lnTo>
                    <a:pt x="215" y="25"/>
                  </a:lnTo>
                  <a:lnTo>
                    <a:pt x="231" y="35"/>
                  </a:lnTo>
                  <a:lnTo>
                    <a:pt x="245" y="49"/>
                  </a:lnTo>
                  <a:lnTo>
                    <a:pt x="258" y="64"/>
                  </a:lnTo>
                  <a:lnTo>
                    <a:pt x="271" y="82"/>
                  </a:lnTo>
                  <a:lnTo>
                    <a:pt x="282" y="102"/>
                  </a:lnTo>
                  <a:lnTo>
                    <a:pt x="292" y="124"/>
                  </a:lnTo>
                  <a:lnTo>
                    <a:pt x="301" y="148"/>
                  </a:lnTo>
                  <a:lnTo>
                    <a:pt x="309" y="174"/>
                  </a:lnTo>
                  <a:lnTo>
                    <a:pt x="309" y="174"/>
                  </a:lnTo>
                  <a:lnTo>
                    <a:pt x="326" y="235"/>
                  </a:lnTo>
                  <a:lnTo>
                    <a:pt x="365" y="373"/>
                  </a:lnTo>
                  <a:lnTo>
                    <a:pt x="365" y="373"/>
                  </a:lnTo>
                  <a:lnTo>
                    <a:pt x="331" y="389"/>
                  </a:lnTo>
                  <a:lnTo>
                    <a:pt x="293" y="405"/>
                  </a:lnTo>
                  <a:lnTo>
                    <a:pt x="254" y="418"/>
                  </a:lnTo>
                  <a:lnTo>
                    <a:pt x="212" y="432"/>
                  </a:lnTo>
                  <a:lnTo>
                    <a:pt x="169" y="444"/>
                  </a:lnTo>
                  <a:lnTo>
                    <a:pt x="123" y="455"/>
                  </a:lnTo>
                  <a:lnTo>
                    <a:pt x="74" y="463"/>
                  </a:lnTo>
                  <a:lnTo>
                    <a:pt x="25" y="472"/>
                  </a:lnTo>
                  <a:lnTo>
                    <a:pt x="25" y="472"/>
                  </a:lnTo>
                  <a:lnTo>
                    <a:pt x="14" y="345"/>
                  </a:lnTo>
                  <a:lnTo>
                    <a:pt x="14" y="345"/>
                  </a:lnTo>
                  <a:lnTo>
                    <a:pt x="10" y="297"/>
                  </a:lnTo>
                  <a:lnTo>
                    <a:pt x="4" y="244"/>
                  </a:lnTo>
                  <a:lnTo>
                    <a:pt x="2" y="218"/>
                  </a:lnTo>
                  <a:lnTo>
                    <a:pt x="1" y="192"/>
                  </a:lnTo>
                  <a:lnTo>
                    <a:pt x="0" y="167"/>
                  </a:lnTo>
                  <a:lnTo>
                    <a:pt x="1" y="142"/>
                  </a:lnTo>
                  <a:lnTo>
                    <a:pt x="2" y="119"/>
                  </a:lnTo>
                  <a:lnTo>
                    <a:pt x="7" y="96"/>
                  </a:lnTo>
                  <a:lnTo>
                    <a:pt x="12" y="77"/>
                  </a:lnTo>
                  <a:lnTo>
                    <a:pt x="15" y="67"/>
                  </a:lnTo>
                  <a:lnTo>
                    <a:pt x="18" y="58"/>
                  </a:lnTo>
                  <a:lnTo>
                    <a:pt x="23" y="50"/>
                  </a:lnTo>
                  <a:lnTo>
                    <a:pt x="28" y="41"/>
                  </a:lnTo>
                  <a:lnTo>
                    <a:pt x="34" y="34"/>
                  </a:lnTo>
                  <a:lnTo>
                    <a:pt x="40" y="28"/>
                  </a:lnTo>
                  <a:lnTo>
                    <a:pt x="47" y="22"/>
                  </a:lnTo>
                  <a:lnTo>
                    <a:pt x="54" y="17"/>
                  </a:lnTo>
                  <a:lnTo>
                    <a:pt x="63" y="13"/>
                  </a:lnTo>
                  <a:lnTo>
                    <a:pt x="72" y="9"/>
                  </a:lnTo>
                  <a:lnTo>
                    <a:pt x="72" y="9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19" name="Freeform 38"/>
            <p:cNvSpPr>
              <a:spLocks noEditPoints="1"/>
            </p:cNvSpPr>
            <p:nvPr/>
          </p:nvSpPr>
          <p:spPr bwMode="auto">
            <a:xfrm flipH="1">
              <a:off x="5233665" y="2439098"/>
              <a:ext cx="927575" cy="1099009"/>
            </a:xfrm>
            <a:custGeom>
              <a:avLst/>
              <a:gdLst>
                <a:gd name="T0" fmla="*/ 1268 w 5032"/>
                <a:gd name="T1" fmla="*/ 3887 h 7662"/>
                <a:gd name="T2" fmla="*/ 1106 w 5032"/>
                <a:gd name="T3" fmla="*/ 3812 h 7662"/>
                <a:gd name="T4" fmla="*/ 757 w 5032"/>
                <a:gd name="T5" fmla="*/ 4963 h 7662"/>
                <a:gd name="T6" fmla="*/ 970 w 5032"/>
                <a:gd name="T7" fmla="*/ 5069 h 7662"/>
                <a:gd name="T8" fmla="*/ 399 w 5032"/>
                <a:gd name="T9" fmla="*/ 7353 h 7662"/>
                <a:gd name="T10" fmla="*/ 293 w 5032"/>
                <a:gd name="T11" fmla="*/ 7308 h 7662"/>
                <a:gd name="T12" fmla="*/ 138 w 5032"/>
                <a:gd name="T13" fmla="*/ 7230 h 7662"/>
                <a:gd name="T14" fmla="*/ 0 w 5032"/>
                <a:gd name="T15" fmla="*/ 7151 h 7662"/>
                <a:gd name="T16" fmla="*/ 412 w 5032"/>
                <a:gd name="T17" fmla="*/ 6037 h 7662"/>
                <a:gd name="T18" fmla="*/ 565 w 5032"/>
                <a:gd name="T19" fmla="*/ 6123 h 7662"/>
                <a:gd name="T20" fmla="*/ 692 w 5032"/>
                <a:gd name="T21" fmla="*/ 6184 h 7662"/>
                <a:gd name="T22" fmla="*/ 3432 w 5032"/>
                <a:gd name="T23" fmla="*/ 7662 h 7662"/>
                <a:gd name="T24" fmla="*/ 3775 w 5032"/>
                <a:gd name="T25" fmla="*/ 7604 h 7662"/>
                <a:gd name="T26" fmla="*/ 4129 w 5032"/>
                <a:gd name="T27" fmla="*/ 7515 h 7662"/>
                <a:gd name="T28" fmla="*/ 4160 w 5032"/>
                <a:gd name="T29" fmla="*/ 7506 h 7662"/>
                <a:gd name="T30" fmla="*/ 4187 w 5032"/>
                <a:gd name="T31" fmla="*/ 7498 h 7662"/>
                <a:gd name="T32" fmla="*/ 4386 w 5032"/>
                <a:gd name="T33" fmla="*/ 7431 h 7662"/>
                <a:gd name="T34" fmla="*/ 4597 w 5032"/>
                <a:gd name="T35" fmla="*/ 7348 h 7662"/>
                <a:gd name="T36" fmla="*/ 4814 w 5032"/>
                <a:gd name="T37" fmla="*/ 7249 h 7662"/>
                <a:gd name="T38" fmla="*/ 5032 w 5032"/>
                <a:gd name="T39" fmla="*/ 7133 h 7662"/>
                <a:gd name="T40" fmla="*/ 4693 w 5032"/>
                <a:gd name="T41" fmla="*/ 5968 h 7662"/>
                <a:gd name="T42" fmla="*/ 4570 w 5032"/>
                <a:gd name="T43" fmla="*/ 6050 h 7662"/>
                <a:gd name="T44" fmla="*/ 4431 w 5032"/>
                <a:gd name="T45" fmla="*/ 6127 h 7662"/>
                <a:gd name="T46" fmla="*/ 4277 w 5032"/>
                <a:gd name="T47" fmla="*/ 6199 h 7662"/>
                <a:gd name="T48" fmla="*/ 4109 w 5032"/>
                <a:gd name="T49" fmla="*/ 6264 h 7662"/>
                <a:gd name="T50" fmla="*/ 3927 w 5032"/>
                <a:gd name="T51" fmla="*/ 6323 h 7662"/>
                <a:gd name="T52" fmla="*/ 3632 w 5032"/>
                <a:gd name="T53" fmla="*/ 6397 h 7662"/>
                <a:gd name="T54" fmla="*/ 3314 w 5032"/>
                <a:gd name="T55" fmla="*/ 6454 h 7662"/>
                <a:gd name="T56" fmla="*/ 3226 w 5032"/>
                <a:gd name="T57" fmla="*/ 4035 h 7662"/>
                <a:gd name="T58" fmla="*/ 3503 w 5032"/>
                <a:gd name="T59" fmla="*/ 3970 h 7662"/>
                <a:gd name="T60" fmla="*/ 3747 w 5032"/>
                <a:gd name="T61" fmla="*/ 3887 h 7662"/>
                <a:gd name="T62" fmla="*/ 3954 w 5032"/>
                <a:gd name="T63" fmla="*/ 3787 h 7662"/>
                <a:gd name="T64" fmla="*/ 4376 w 5032"/>
                <a:gd name="T65" fmla="*/ 4879 h 7662"/>
                <a:gd name="T66" fmla="*/ 4299 w 5032"/>
                <a:gd name="T67" fmla="*/ 4932 h 7662"/>
                <a:gd name="T68" fmla="*/ 4183 w 5032"/>
                <a:gd name="T69" fmla="*/ 4999 h 7662"/>
                <a:gd name="T70" fmla="*/ 3950 w 5032"/>
                <a:gd name="T71" fmla="*/ 5103 h 7662"/>
                <a:gd name="T72" fmla="*/ 3640 w 5032"/>
                <a:gd name="T73" fmla="*/ 5202 h 7662"/>
                <a:gd name="T74" fmla="*/ 3292 w 5032"/>
                <a:gd name="T75" fmla="*/ 5277 h 7662"/>
                <a:gd name="T76" fmla="*/ 3079 w 5032"/>
                <a:gd name="T77" fmla="*/ 4059 h 7662"/>
                <a:gd name="T78" fmla="*/ 2923 w 5032"/>
                <a:gd name="T79" fmla="*/ 1646 h 7662"/>
                <a:gd name="T80" fmla="*/ 3074 w 5032"/>
                <a:gd name="T81" fmla="*/ 1617 h 7662"/>
                <a:gd name="T82" fmla="*/ 3214 w 5032"/>
                <a:gd name="T83" fmla="*/ 1579 h 7662"/>
                <a:gd name="T84" fmla="*/ 3340 w 5032"/>
                <a:gd name="T85" fmla="*/ 1534 h 7662"/>
                <a:gd name="T86" fmla="*/ 3728 w 5032"/>
                <a:gd name="T87" fmla="*/ 2650 h 7662"/>
                <a:gd name="T88" fmla="*/ 3618 w 5032"/>
                <a:gd name="T89" fmla="*/ 2713 h 7662"/>
                <a:gd name="T90" fmla="*/ 3446 w 5032"/>
                <a:gd name="T91" fmla="*/ 2787 h 7662"/>
                <a:gd name="T92" fmla="*/ 3246 w 5032"/>
                <a:gd name="T93" fmla="*/ 2847 h 7662"/>
                <a:gd name="T94" fmla="*/ 3023 w 5032"/>
                <a:gd name="T95" fmla="*/ 2893 h 7662"/>
                <a:gd name="T96" fmla="*/ 2843 w 5032"/>
                <a:gd name="T97" fmla="*/ 1657 h 7662"/>
                <a:gd name="T98" fmla="*/ 2813 w 5032"/>
                <a:gd name="T99" fmla="*/ 1 h 7662"/>
                <a:gd name="T100" fmla="*/ 2886 w 5032"/>
                <a:gd name="T101" fmla="*/ 8 h 7662"/>
                <a:gd name="T102" fmla="*/ 2948 w 5032"/>
                <a:gd name="T103" fmla="*/ 49 h 7662"/>
                <a:gd name="T104" fmla="*/ 2995 w 5032"/>
                <a:gd name="T105" fmla="*/ 124 h 7662"/>
                <a:gd name="T106" fmla="*/ 3029 w 5032"/>
                <a:gd name="T107" fmla="*/ 235 h 7662"/>
                <a:gd name="T108" fmla="*/ 2996 w 5032"/>
                <a:gd name="T109" fmla="*/ 405 h 7662"/>
                <a:gd name="T110" fmla="*/ 2826 w 5032"/>
                <a:gd name="T111" fmla="*/ 455 h 7662"/>
                <a:gd name="T112" fmla="*/ 2717 w 5032"/>
                <a:gd name="T113" fmla="*/ 345 h 7662"/>
                <a:gd name="T114" fmla="*/ 2705 w 5032"/>
                <a:gd name="T115" fmla="*/ 218 h 7662"/>
                <a:gd name="T116" fmla="*/ 2705 w 5032"/>
                <a:gd name="T117" fmla="*/ 119 h 7662"/>
                <a:gd name="T118" fmla="*/ 2721 w 5032"/>
                <a:gd name="T119" fmla="*/ 58 h 7662"/>
                <a:gd name="T120" fmla="*/ 2743 w 5032"/>
                <a:gd name="T121" fmla="*/ 28 h 7662"/>
                <a:gd name="T122" fmla="*/ 2775 w 5032"/>
                <a:gd name="T123" fmla="*/ 9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32" h="7662">
                  <a:moveTo>
                    <a:pt x="970" y="5069"/>
                  </a:moveTo>
                  <a:lnTo>
                    <a:pt x="970" y="5069"/>
                  </a:lnTo>
                  <a:lnTo>
                    <a:pt x="1268" y="3887"/>
                  </a:lnTo>
                  <a:lnTo>
                    <a:pt x="1268" y="3887"/>
                  </a:lnTo>
                  <a:lnTo>
                    <a:pt x="1225" y="3869"/>
                  </a:lnTo>
                  <a:lnTo>
                    <a:pt x="1184" y="3851"/>
                  </a:lnTo>
                  <a:lnTo>
                    <a:pt x="1145" y="3832"/>
                  </a:lnTo>
                  <a:lnTo>
                    <a:pt x="1106" y="3812"/>
                  </a:lnTo>
                  <a:lnTo>
                    <a:pt x="1106" y="3812"/>
                  </a:lnTo>
                  <a:lnTo>
                    <a:pt x="730" y="4947"/>
                  </a:lnTo>
                  <a:lnTo>
                    <a:pt x="730" y="4947"/>
                  </a:lnTo>
                  <a:lnTo>
                    <a:pt x="757" y="4963"/>
                  </a:lnTo>
                  <a:lnTo>
                    <a:pt x="785" y="4979"/>
                  </a:lnTo>
                  <a:lnTo>
                    <a:pt x="844" y="5010"/>
                  </a:lnTo>
                  <a:lnTo>
                    <a:pt x="906" y="5041"/>
                  </a:lnTo>
                  <a:lnTo>
                    <a:pt x="970" y="5069"/>
                  </a:lnTo>
                  <a:lnTo>
                    <a:pt x="970" y="5069"/>
                  </a:lnTo>
                  <a:close/>
                  <a:moveTo>
                    <a:pt x="692" y="6184"/>
                  </a:moveTo>
                  <a:lnTo>
                    <a:pt x="692" y="6184"/>
                  </a:lnTo>
                  <a:lnTo>
                    <a:pt x="399" y="7353"/>
                  </a:lnTo>
                  <a:lnTo>
                    <a:pt x="399" y="7353"/>
                  </a:lnTo>
                  <a:lnTo>
                    <a:pt x="399" y="7353"/>
                  </a:lnTo>
                  <a:lnTo>
                    <a:pt x="345" y="7331"/>
                  </a:lnTo>
                  <a:lnTo>
                    <a:pt x="293" y="7308"/>
                  </a:lnTo>
                  <a:lnTo>
                    <a:pt x="293" y="7308"/>
                  </a:lnTo>
                  <a:lnTo>
                    <a:pt x="239" y="7282"/>
                  </a:lnTo>
                  <a:lnTo>
                    <a:pt x="186" y="7256"/>
                  </a:lnTo>
                  <a:lnTo>
                    <a:pt x="138" y="7230"/>
                  </a:lnTo>
                  <a:lnTo>
                    <a:pt x="95" y="7206"/>
                  </a:lnTo>
                  <a:lnTo>
                    <a:pt x="28" y="7168"/>
                  </a:lnTo>
                  <a:lnTo>
                    <a:pt x="1" y="7153"/>
                  </a:lnTo>
                  <a:lnTo>
                    <a:pt x="0" y="7151"/>
                  </a:lnTo>
                  <a:lnTo>
                    <a:pt x="0" y="7151"/>
                  </a:lnTo>
                  <a:lnTo>
                    <a:pt x="377" y="6014"/>
                  </a:lnTo>
                  <a:lnTo>
                    <a:pt x="377" y="6014"/>
                  </a:lnTo>
                  <a:lnTo>
                    <a:pt x="412" y="6037"/>
                  </a:lnTo>
                  <a:lnTo>
                    <a:pt x="448" y="6060"/>
                  </a:lnTo>
                  <a:lnTo>
                    <a:pt x="486" y="6081"/>
                  </a:lnTo>
                  <a:lnTo>
                    <a:pt x="524" y="6102"/>
                  </a:lnTo>
                  <a:lnTo>
                    <a:pt x="565" y="6123"/>
                  </a:lnTo>
                  <a:lnTo>
                    <a:pt x="605" y="6144"/>
                  </a:lnTo>
                  <a:lnTo>
                    <a:pt x="648" y="6164"/>
                  </a:lnTo>
                  <a:lnTo>
                    <a:pt x="692" y="6184"/>
                  </a:lnTo>
                  <a:lnTo>
                    <a:pt x="692" y="6184"/>
                  </a:lnTo>
                  <a:close/>
                  <a:moveTo>
                    <a:pt x="3314" y="6454"/>
                  </a:moveTo>
                  <a:lnTo>
                    <a:pt x="3314" y="6454"/>
                  </a:lnTo>
                  <a:lnTo>
                    <a:pt x="3432" y="7662"/>
                  </a:lnTo>
                  <a:lnTo>
                    <a:pt x="3432" y="7662"/>
                  </a:lnTo>
                  <a:lnTo>
                    <a:pt x="3516" y="7650"/>
                  </a:lnTo>
                  <a:lnTo>
                    <a:pt x="3602" y="7636"/>
                  </a:lnTo>
                  <a:lnTo>
                    <a:pt x="3688" y="7620"/>
                  </a:lnTo>
                  <a:lnTo>
                    <a:pt x="3775" y="7604"/>
                  </a:lnTo>
                  <a:lnTo>
                    <a:pt x="3864" y="7584"/>
                  </a:lnTo>
                  <a:lnTo>
                    <a:pt x="3952" y="7563"/>
                  </a:lnTo>
                  <a:lnTo>
                    <a:pt x="4040" y="7540"/>
                  </a:lnTo>
                  <a:lnTo>
                    <a:pt x="4129" y="7515"/>
                  </a:lnTo>
                  <a:lnTo>
                    <a:pt x="4129" y="7515"/>
                  </a:lnTo>
                  <a:lnTo>
                    <a:pt x="4144" y="7511"/>
                  </a:lnTo>
                  <a:lnTo>
                    <a:pt x="4144" y="7511"/>
                  </a:lnTo>
                  <a:lnTo>
                    <a:pt x="4160" y="7506"/>
                  </a:lnTo>
                  <a:lnTo>
                    <a:pt x="4160" y="7506"/>
                  </a:lnTo>
                  <a:lnTo>
                    <a:pt x="4182" y="7500"/>
                  </a:lnTo>
                  <a:lnTo>
                    <a:pt x="4182" y="7500"/>
                  </a:lnTo>
                  <a:lnTo>
                    <a:pt x="4187" y="7498"/>
                  </a:lnTo>
                  <a:lnTo>
                    <a:pt x="4187" y="7498"/>
                  </a:lnTo>
                  <a:lnTo>
                    <a:pt x="4285" y="7466"/>
                  </a:lnTo>
                  <a:lnTo>
                    <a:pt x="4336" y="7449"/>
                  </a:lnTo>
                  <a:lnTo>
                    <a:pt x="4386" y="7431"/>
                  </a:lnTo>
                  <a:lnTo>
                    <a:pt x="4438" y="7412"/>
                  </a:lnTo>
                  <a:lnTo>
                    <a:pt x="4490" y="7392"/>
                  </a:lnTo>
                  <a:lnTo>
                    <a:pt x="4543" y="7371"/>
                  </a:lnTo>
                  <a:lnTo>
                    <a:pt x="4597" y="7348"/>
                  </a:lnTo>
                  <a:lnTo>
                    <a:pt x="4651" y="7325"/>
                  </a:lnTo>
                  <a:lnTo>
                    <a:pt x="4705" y="7302"/>
                  </a:lnTo>
                  <a:lnTo>
                    <a:pt x="4759" y="7277"/>
                  </a:lnTo>
                  <a:lnTo>
                    <a:pt x="4814" y="7249"/>
                  </a:lnTo>
                  <a:lnTo>
                    <a:pt x="4868" y="7222"/>
                  </a:lnTo>
                  <a:lnTo>
                    <a:pt x="4923" y="7194"/>
                  </a:lnTo>
                  <a:lnTo>
                    <a:pt x="4978" y="7164"/>
                  </a:lnTo>
                  <a:lnTo>
                    <a:pt x="5032" y="7133"/>
                  </a:lnTo>
                  <a:lnTo>
                    <a:pt x="5032" y="7133"/>
                  </a:lnTo>
                  <a:lnTo>
                    <a:pt x="5032" y="7133"/>
                  </a:lnTo>
                  <a:lnTo>
                    <a:pt x="4693" y="5968"/>
                  </a:lnTo>
                  <a:lnTo>
                    <a:pt x="4693" y="5968"/>
                  </a:lnTo>
                  <a:lnTo>
                    <a:pt x="4664" y="5990"/>
                  </a:lnTo>
                  <a:lnTo>
                    <a:pt x="4634" y="6010"/>
                  </a:lnTo>
                  <a:lnTo>
                    <a:pt x="4603" y="6030"/>
                  </a:lnTo>
                  <a:lnTo>
                    <a:pt x="4570" y="6050"/>
                  </a:lnTo>
                  <a:lnTo>
                    <a:pt x="4537" y="6070"/>
                  </a:lnTo>
                  <a:lnTo>
                    <a:pt x="4503" y="6090"/>
                  </a:lnTo>
                  <a:lnTo>
                    <a:pt x="4468" y="6109"/>
                  </a:lnTo>
                  <a:lnTo>
                    <a:pt x="4431" y="6127"/>
                  </a:lnTo>
                  <a:lnTo>
                    <a:pt x="4395" y="6146"/>
                  </a:lnTo>
                  <a:lnTo>
                    <a:pt x="4356" y="6164"/>
                  </a:lnTo>
                  <a:lnTo>
                    <a:pt x="4317" y="6181"/>
                  </a:lnTo>
                  <a:lnTo>
                    <a:pt x="4277" y="6199"/>
                  </a:lnTo>
                  <a:lnTo>
                    <a:pt x="4237" y="6216"/>
                  </a:lnTo>
                  <a:lnTo>
                    <a:pt x="4194" y="6232"/>
                  </a:lnTo>
                  <a:lnTo>
                    <a:pt x="4153" y="6248"/>
                  </a:lnTo>
                  <a:lnTo>
                    <a:pt x="4109" y="6264"/>
                  </a:lnTo>
                  <a:lnTo>
                    <a:pt x="4064" y="6279"/>
                  </a:lnTo>
                  <a:lnTo>
                    <a:pt x="4019" y="6294"/>
                  </a:lnTo>
                  <a:lnTo>
                    <a:pt x="3974" y="6309"/>
                  </a:lnTo>
                  <a:lnTo>
                    <a:pt x="3927" y="6323"/>
                  </a:lnTo>
                  <a:lnTo>
                    <a:pt x="3880" y="6337"/>
                  </a:lnTo>
                  <a:lnTo>
                    <a:pt x="3831" y="6349"/>
                  </a:lnTo>
                  <a:lnTo>
                    <a:pt x="3734" y="6374"/>
                  </a:lnTo>
                  <a:lnTo>
                    <a:pt x="3632" y="6397"/>
                  </a:lnTo>
                  <a:lnTo>
                    <a:pt x="3529" y="6418"/>
                  </a:lnTo>
                  <a:lnTo>
                    <a:pt x="3422" y="6438"/>
                  </a:lnTo>
                  <a:lnTo>
                    <a:pt x="3314" y="6454"/>
                  </a:lnTo>
                  <a:lnTo>
                    <a:pt x="3314" y="6454"/>
                  </a:lnTo>
                  <a:close/>
                  <a:moveTo>
                    <a:pt x="3079" y="4059"/>
                  </a:moveTo>
                  <a:lnTo>
                    <a:pt x="3079" y="4059"/>
                  </a:lnTo>
                  <a:lnTo>
                    <a:pt x="3153" y="4048"/>
                  </a:lnTo>
                  <a:lnTo>
                    <a:pt x="3226" y="4035"/>
                  </a:lnTo>
                  <a:lnTo>
                    <a:pt x="3298" y="4020"/>
                  </a:lnTo>
                  <a:lnTo>
                    <a:pt x="3369" y="4005"/>
                  </a:lnTo>
                  <a:lnTo>
                    <a:pt x="3436" y="3988"/>
                  </a:lnTo>
                  <a:lnTo>
                    <a:pt x="3503" y="3970"/>
                  </a:lnTo>
                  <a:lnTo>
                    <a:pt x="3567" y="3952"/>
                  </a:lnTo>
                  <a:lnTo>
                    <a:pt x="3629" y="3931"/>
                  </a:lnTo>
                  <a:lnTo>
                    <a:pt x="3689" y="3910"/>
                  </a:lnTo>
                  <a:lnTo>
                    <a:pt x="3747" y="3887"/>
                  </a:lnTo>
                  <a:lnTo>
                    <a:pt x="3802" y="3864"/>
                  </a:lnTo>
                  <a:lnTo>
                    <a:pt x="3855" y="3839"/>
                  </a:lnTo>
                  <a:lnTo>
                    <a:pt x="3906" y="3814"/>
                  </a:lnTo>
                  <a:lnTo>
                    <a:pt x="3954" y="3787"/>
                  </a:lnTo>
                  <a:lnTo>
                    <a:pt x="4000" y="3760"/>
                  </a:lnTo>
                  <a:lnTo>
                    <a:pt x="4042" y="3732"/>
                  </a:lnTo>
                  <a:lnTo>
                    <a:pt x="4042" y="3732"/>
                  </a:lnTo>
                  <a:lnTo>
                    <a:pt x="4376" y="4879"/>
                  </a:lnTo>
                  <a:lnTo>
                    <a:pt x="4376" y="4879"/>
                  </a:lnTo>
                  <a:lnTo>
                    <a:pt x="4351" y="4897"/>
                  </a:lnTo>
                  <a:lnTo>
                    <a:pt x="4325" y="4914"/>
                  </a:lnTo>
                  <a:lnTo>
                    <a:pt x="4299" y="4932"/>
                  </a:lnTo>
                  <a:lnTo>
                    <a:pt x="4271" y="4949"/>
                  </a:lnTo>
                  <a:lnTo>
                    <a:pt x="4243" y="4965"/>
                  </a:lnTo>
                  <a:lnTo>
                    <a:pt x="4213" y="4982"/>
                  </a:lnTo>
                  <a:lnTo>
                    <a:pt x="4183" y="4999"/>
                  </a:lnTo>
                  <a:lnTo>
                    <a:pt x="4153" y="5014"/>
                  </a:lnTo>
                  <a:lnTo>
                    <a:pt x="4088" y="5045"/>
                  </a:lnTo>
                  <a:lnTo>
                    <a:pt x="4020" y="5075"/>
                  </a:lnTo>
                  <a:lnTo>
                    <a:pt x="3950" y="5103"/>
                  </a:lnTo>
                  <a:lnTo>
                    <a:pt x="3876" y="5130"/>
                  </a:lnTo>
                  <a:lnTo>
                    <a:pt x="3800" y="5155"/>
                  </a:lnTo>
                  <a:lnTo>
                    <a:pt x="3721" y="5180"/>
                  </a:lnTo>
                  <a:lnTo>
                    <a:pt x="3640" y="5202"/>
                  </a:lnTo>
                  <a:lnTo>
                    <a:pt x="3557" y="5224"/>
                  </a:lnTo>
                  <a:lnTo>
                    <a:pt x="3471" y="5243"/>
                  </a:lnTo>
                  <a:lnTo>
                    <a:pt x="3382" y="5260"/>
                  </a:lnTo>
                  <a:lnTo>
                    <a:pt x="3292" y="5277"/>
                  </a:lnTo>
                  <a:lnTo>
                    <a:pt x="3199" y="5292"/>
                  </a:lnTo>
                  <a:lnTo>
                    <a:pt x="3199" y="5292"/>
                  </a:lnTo>
                  <a:lnTo>
                    <a:pt x="3079" y="4059"/>
                  </a:lnTo>
                  <a:lnTo>
                    <a:pt x="3079" y="4059"/>
                  </a:lnTo>
                  <a:close/>
                  <a:moveTo>
                    <a:pt x="2843" y="1657"/>
                  </a:moveTo>
                  <a:lnTo>
                    <a:pt x="2843" y="1657"/>
                  </a:lnTo>
                  <a:lnTo>
                    <a:pt x="2883" y="1652"/>
                  </a:lnTo>
                  <a:lnTo>
                    <a:pt x="2923" y="1646"/>
                  </a:lnTo>
                  <a:lnTo>
                    <a:pt x="2961" y="1640"/>
                  </a:lnTo>
                  <a:lnTo>
                    <a:pt x="3000" y="1632"/>
                  </a:lnTo>
                  <a:lnTo>
                    <a:pt x="3037" y="1625"/>
                  </a:lnTo>
                  <a:lnTo>
                    <a:pt x="3074" y="1617"/>
                  </a:lnTo>
                  <a:lnTo>
                    <a:pt x="3110" y="1608"/>
                  </a:lnTo>
                  <a:lnTo>
                    <a:pt x="3145" y="1599"/>
                  </a:lnTo>
                  <a:lnTo>
                    <a:pt x="3180" y="1590"/>
                  </a:lnTo>
                  <a:lnTo>
                    <a:pt x="3214" y="1579"/>
                  </a:lnTo>
                  <a:lnTo>
                    <a:pt x="3247" y="1569"/>
                  </a:lnTo>
                  <a:lnTo>
                    <a:pt x="3278" y="1558"/>
                  </a:lnTo>
                  <a:lnTo>
                    <a:pt x="3309" y="1547"/>
                  </a:lnTo>
                  <a:lnTo>
                    <a:pt x="3340" y="1534"/>
                  </a:lnTo>
                  <a:lnTo>
                    <a:pt x="3369" y="1522"/>
                  </a:lnTo>
                  <a:lnTo>
                    <a:pt x="3397" y="1509"/>
                  </a:lnTo>
                  <a:lnTo>
                    <a:pt x="3397" y="1509"/>
                  </a:lnTo>
                  <a:lnTo>
                    <a:pt x="3728" y="2650"/>
                  </a:lnTo>
                  <a:lnTo>
                    <a:pt x="3728" y="2650"/>
                  </a:lnTo>
                  <a:lnTo>
                    <a:pt x="3694" y="2672"/>
                  </a:lnTo>
                  <a:lnTo>
                    <a:pt x="3657" y="2693"/>
                  </a:lnTo>
                  <a:lnTo>
                    <a:pt x="3618" y="2713"/>
                  </a:lnTo>
                  <a:lnTo>
                    <a:pt x="3578" y="2733"/>
                  </a:lnTo>
                  <a:lnTo>
                    <a:pt x="3535" y="2751"/>
                  </a:lnTo>
                  <a:lnTo>
                    <a:pt x="3491" y="2770"/>
                  </a:lnTo>
                  <a:lnTo>
                    <a:pt x="3446" y="2787"/>
                  </a:lnTo>
                  <a:lnTo>
                    <a:pt x="3398" y="2803"/>
                  </a:lnTo>
                  <a:lnTo>
                    <a:pt x="3349" y="2819"/>
                  </a:lnTo>
                  <a:lnTo>
                    <a:pt x="3298" y="2834"/>
                  </a:lnTo>
                  <a:lnTo>
                    <a:pt x="3246" y="2847"/>
                  </a:lnTo>
                  <a:lnTo>
                    <a:pt x="3192" y="2861"/>
                  </a:lnTo>
                  <a:lnTo>
                    <a:pt x="3137" y="2872"/>
                  </a:lnTo>
                  <a:lnTo>
                    <a:pt x="3081" y="2883"/>
                  </a:lnTo>
                  <a:lnTo>
                    <a:pt x="3023" y="2893"/>
                  </a:lnTo>
                  <a:lnTo>
                    <a:pt x="2965" y="2902"/>
                  </a:lnTo>
                  <a:lnTo>
                    <a:pt x="2965" y="2902"/>
                  </a:lnTo>
                  <a:lnTo>
                    <a:pt x="2843" y="1657"/>
                  </a:lnTo>
                  <a:lnTo>
                    <a:pt x="2843" y="1657"/>
                  </a:lnTo>
                  <a:close/>
                  <a:moveTo>
                    <a:pt x="2775" y="9"/>
                  </a:moveTo>
                  <a:lnTo>
                    <a:pt x="2775" y="9"/>
                  </a:lnTo>
                  <a:lnTo>
                    <a:pt x="2795" y="4"/>
                  </a:lnTo>
                  <a:lnTo>
                    <a:pt x="2813" y="1"/>
                  </a:lnTo>
                  <a:lnTo>
                    <a:pt x="2832" y="0"/>
                  </a:lnTo>
                  <a:lnTo>
                    <a:pt x="2851" y="1"/>
                  </a:lnTo>
                  <a:lnTo>
                    <a:pt x="2869" y="4"/>
                  </a:lnTo>
                  <a:lnTo>
                    <a:pt x="2886" y="8"/>
                  </a:lnTo>
                  <a:lnTo>
                    <a:pt x="2903" y="15"/>
                  </a:lnTo>
                  <a:lnTo>
                    <a:pt x="2918" y="25"/>
                  </a:lnTo>
                  <a:lnTo>
                    <a:pt x="2934" y="35"/>
                  </a:lnTo>
                  <a:lnTo>
                    <a:pt x="2948" y="49"/>
                  </a:lnTo>
                  <a:lnTo>
                    <a:pt x="2961" y="64"/>
                  </a:lnTo>
                  <a:lnTo>
                    <a:pt x="2974" y="82"/>
                  </a:lnTo>
                  <a:lnTo>
                    <a:pt x="2985" y="102"/>
                  </a:lnTo>
                  <a:lnTo>
                    <a:pt x="2995" y="124"/>
                  </a:lnTo>
                  <a:lnTo>
                    <a:pt x="3004" y="148"/>
                  </a:lnTo>
                  <a:lnTo>
                    <a:pt x="3012" y="174"/>
                  </a:lnTo>
                  <a:lnTo>
                    <a:pt x="3012" y="174"/>
                  </a:lnTo>
                  <a:lnTo>
                    <a:pt x="3029" y="235"/>
                  </a:lnTo>
                  <a:lnTo>
                    <a:pt x="3068" y="373"/>
                  </a:lnTo>
                  <a:lnTo>
                    <a:pt x="3068" y="373"/>
                  </a:lnTo>
                  <a:lnTo>
                    <a:pt x="3034" y="389"/>
                  </a:lnTo>
                  <a:lnTo>
                    <a:pt x="2996" y="405"/>
                  </a:lnTo>
                  <a:lnTo>
                    <a:pt x="2957" y="418"/>
                  </a:lnTo>
                  <a:lnTo>
                    <a:pt x="2915" y="432"/>
                  </a:lnTo>
                  <a:lnTo>
                    <a:pt x="2872" y="444"/>
                  </a:lnTo>
                  <a:lnTo>
                    <a:pt x="2826" y="455"/>
                  </a:lnTo>
                  <a:lnTo>
                    <a:pt x="2777" y="463"/>
                  </a:lnTo>
                  <a:lnTo>
                    <a:pt x="2728" y="472"/>
                  </a:lnTo>
                  <a:lnTo>
                    <a:pt x="2728" y="472"/>
                  </a:lnTo>
                  <a:lnTo>
                    <a:pt x="2717" y="345"/>
                  </a:lnTo>
                  <a:lnTo>
                    <a:pt x="2717" y="345"/>
                  </a:lnTo>
                  <a:lnTo>
                    <a:pt x="2713" y="297"/>
                  </a:lnTo>
                  <a:lnTo>
                    <a:pt x="2707" y="244"/>
                  </a:lnTo>
                  <a:lnTo>
                    <a:pt x="2705" y="218"/>
                  </a:lnTo>
                  <a:lnTo>
                    <a:pt x="2704" y="192"/>
                  </a:lnTo>
                  <a:lnTo>
                    <a:pt x="2703" y="167"/>
                  </a:lnTo>
                  <a:lnTo>
                    <a:pt x="2704" y="142"/>
                  </a:lnTo>
                  <a:lnTo>
                    <a:pt x="2705" y="119"/>
                  </a:lnTo>
                  <a:lnTo>
                    <a:pt x="2710" y="96"/>
                  </a:lnTo>
                  <a:lnTo>
                    <a:pt x="2715" y="77"/>
                  </a:lnTo>
                  <a:lnTo>
                    <a:pt x="2718" y="67"/>
                  </a:lnTo>
                  <a:lnTo>
                    <a:pt x="2721" y="58"/>
                  </a:lnTo>
                  <a:lnTo>
                    <a:pt x="2726" y="50"/>
                  </a:lnTo>
                  <a:lnTo>
                    <a:pt x="2731" y="41"/>
                  </a:lnTo>
                  <a:lnTo>
                    <a:pt x="2737" y="34"/>
                  </a:lnTo>
                  <a:lnTo>
                    <a:pt x="2743" y="28"/>
                  </a:lnTo>
                  <a:lnTo>
                    <a:pt x="2750" y="22"/>
                  </a:lnTo>
                  <a:lnTo>
                    <a:pt x="2757" y="17"/>
                  </a:lnTo>
                  <a:lnTo>
                    <a:pt x="2766" y="13"/>
                  </a:lnTo>
                  <a:lnTo>
                    <a:pt x="2775" y="9"/>
                  </a:lnTo>
                  <a:lnTo>
                    <a:pt x="2775" y="9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0" name="Freeform 39"/>
            <p:cNvSpPr>
              <a:spLocks/>
            </p:cNvSpPr>
            <p:nvPr/>
          </p:nvSpPr>
          <p:spPr bwMode="auto">
            <a:xfrm flipH="1">
              <a:off x="5534256" y="2493275"/>
              <a:ext cx="123849" cy="183168"/>
            </a:xfrm>
            <a:custGeom>
              <a:avLst/>
              <a:gdLst>
                <a:gd name="T0" fmla="*/ 340 w 669"/>
                <a:gd name="T1" fmla="*/ 0 h 1284"/>
                <a:gd name="T2" fmla="*/ 340 w 669"/>
                <a:gd name="T3" fmla="*/ 0 h 1284"/>
                <a:gd name="T4" fmla="*/ 669 w 669"/>
                <a:gd name="T5" fmla="*/ 1136 h 1284"/>
                <a:gd name="T6" fmla="*/ 669 w 669"/>
                <a:gd name="T7" fmla="*/ 1136 h 1284"/>
                <a:gd name="T8" fmla="*/ 641 w 669"/>
                <a:gd name="T9" fmla="*/ 1149 h 1284"/>
                <a:gd name="T10" fmla="*/ 612 w 669"/>
                <a:gd name="T11" fmla="*/ 1161 h 1284"/>
                <a:gd name="T12" fmla="*/ 581 w 669"/>
                <a:gd name="T13" fmla="*/ 1174 h 1284"/>
                <a:gd name="T14" fmla="*/ 550 w 669"/>
                <a:gd name="T15" fmla="*/ 1185 h 1284"/>
                <a:gd name="T16" fmla="*/ 519 w 669"/>
                <a:gd name="T17" fmla="*/ 1196 h 1284"/>
                <a:gd name="T18" fmla="*/ 486 w 669"/>
                <a:gd name="T19" fmla="*/ 1206 h 1284"/>
                <a:gd name="T20" fmla="*/ 452 w 669"/>
                <a:gd name="T21" fmla="*/ 1217 h 1284"/>
                <a:gd name="T22" fmla="*/ 417 w 669"/>
                <a:gd name="T23" fmla="*/ 1226 h 1284"/>
                <a:gd name="T24" fmla="*/ 382 w 669"/>
                <a:gd name="T25" fmla="*/ 1235 h 1284"/>
                <a:gd name="T26" fmla="*/ 346 w 669"/>
                <a:gd name="T27" fmla="*/ 1244 h 1284"/>
                <a:gd name="T28" fmla="*/ 309 w 669"/>
                <a:gd name="T29" fmla="*/ 1252 h 1284"/>
                <a:gd name="T30" fmla="*/ 272 w 669"/>
                <a:gd name="T31" fmla="*/ 1259 h 1284"/>
                <a:gd name="T32" fmla="*/ 233 w 669"/>
                <a:gd name="T33" fmla="*/ 1267 h 1284"/>
                <a:gd name="T34" fmla="*/ 195 w 669"/>
                <a:gd name="T35" fmla="*/ 1273 h 1284"/>
                <a:gd name="T36" fmla="*/ 155 w 669"/>
                <a:gd name="T37" fmla="*/ 1279 h 1284"/>
                <a:gd name="T38" fmla="*/ 115 w 669"/>
                <a:gd name="T39" fmla="*/ 1284 h 1284"/>
                <a:gd name="T40" fmla="*/ 115 w 669"/>
                <a:gd name="T41" fmla="*/ 1284 h 1284"/>
                <a:gd name="T42" fmla="*/ 0 w 669"/>
                <a:gd name="T43" fmla="*/ 99 h 1284"/>
                <a:gd name="T44" fmla="*/ 0 w 669"/>
                <a:gd name="T45" fmla="*/ 99 h 1284"/>
                <a:gd name="T46" fmla="*/ 49 w 669"/>
                <a:gd name="T47" fmla="*/ 90 h 1284"/>
                <a:gd name="T48" fmla="*/ 98 w 669"/>
                <a:gd name="T49" fmla="*/ 82 h 1284"/>
                <a:gd name="T50" fmla="*/ 144 w 669"/>
                <a:gd name="T51" fmla="*/ 71 h 1284"/>
                <a:gd name="T52" fmla="*/ 187 w 669"/>
                <a:gd name="T53" fmla="*/ 59 h 1284"/>
                <a:gd name="T54" fmla="*/ 229 w 669"/>
                <a:gd name="T55" fmla="*/ 45 h 1284"/>
                <a:gd name="T56" fmla="*/ 268 w 669"/>
                <a:gd name="T57" fmla="*/ 32 h 1284"/>
                <a:gd name="T58" fmla="*/ 306 w 669"/>
                <a:gd name="T59" fmla="*/ 16 h 1284"/>
                <a:gd name="T60" fmla="*/ 340 w 669"/>
                <a:gd name="T61" fmla="*/ 0 h 1284"/>
                <a:gd name="T62" fmla="*/ 340 w 669"/>
                <a:gd name="T63" fmla="*/ 0 h 1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69" h="1284">
                  <a:moveTo>
                    <a:pt x="340" y="0"/>
                  </a:moveTo>
                  <a:lnTo>
                    <a:pt x="340" y="0"/>
                  </a:lnTo>
                  <a:lnTo>
                    <a:pt x="669" y="1136"/>
                  </a:lnTo>
                  <a:lnTo>
                    <a:pt x="669" y="1136"/>
                  </a:lnTo>
                  <a:lnTo>
                    <a:pt x="641" y="1149"/>
                  </a:lnTo>
                  <a:lnTo>
                    <a:pt x="612" y="1161"/>
                  </a:lnTo>
                  <a:lnTo>
                    <a:pt x="581" y="1174"/>
                  </a:lnTo>
                  <a:lnTo>
                    <a:pt x="550" y="1185"/>
                  </a:lnTo>
                  <a:lnTo>
                    <a:pt x="519" y="1196"/>
                  </a:lnTo>
                  <a:lnTo>
                    <a:pt x="486" y="1206"/>
                  </a:lnTo>
                  <a:lnTo>
                    <a:pt x="452" y="1217"/>
                  </a:lnTo>
                  <a:lnTo>
                    <a:pt x="417" y="1226"/>
                  </a:lnTo>
                  <a:lnTo>
                    <a:pt x="382" y="1235"/>
                  </a:lnTo>
                  <a:lnTo>
                    <a:pt x="346" y="1244"/>
                  </a:lnTo>
                  <a:lnTo>
                    <a:pt x="309" y="1252"/>
                  </a:lnTo>
                  <a:lnTo>
                    <a:pt x="272" y="1259"/>
                  </a:lnTo>
                  <a:lnTo>
                    <a:pt x="233" y="1267"/>
                  </a:lnTo>
                  <a:lnTo>
                    <a:pt x="195" y="1273"/>
                  </a:lnTo>
                  <a:lnTo>
                    <a:pt x="155" y="1279"/>
                  </a:lnTo>
                  <a:lnTo>
                    <a:pt x="115" y="1284"/>
                  </a:lnTo>
                  <a:lnTo>
                    <a:pt x="115" y="1284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49" y="90"/>
                  </a:lnTo>
                  <a:lnTo>
                    <a:pt x="98" y="82"/>
                  </a:lnTo>
                  <a:lnTo>
                    <a:pt x="144" y="71"/>
                  </a:lnTo>
                  <a:lnTo>
                    <a:pt x="187" y="59"/>
                  </a:lnTo>
                  <a:lnTo>
                    <a:pt x="229" y="45"/>
                  </a:lnTo>
                  <a:lnTo>
                    <a:pt x="268" y="32"/>
                  </a:lnTo>
                  <a:lnTo>
                    <a:pt x="306" y="16"/>
                  </a:lnTo>
                  <a:lnTo>
                    <a:pt x="340" y="0"/>
                  </a:lnTo>
                  <a:lnTo>
                    <a:pt x="34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1" name="Freeform 40"/>
            <p:cNvSpPr>
              <a:spLocks noEditPoints="1"/>
            </p:cNvSpPr>
            <p:nvPr/>
          </p:nvSpPr>
          <p:spPr bwMode="auto">
            <a:xfrm flipH="1">
              <a:off x="5295589" y="2493275"/>
              <a:ext cx="795986" cy="870694"/>
            </a:xfrm>
            <a:custGeom>
              <a:avLst/>
              <a:gdLst>
                <a:gd name="T0" fmla="*/ 807 w 4316"/>
                <a:gd name="T1" fmla="*/ 3478 h 6081"/>
                <a:gd name="T2" fmla="*/ 969 w 4316"/>
                <a:gd name="T3" fmla="*/ 3203 h 6081"/>
                <a:gd name="T4" fmla="*/ 1020 w 4316"/>
                <a:gd name="T5" fmla="*/ 3001 h 6081"/>
                <a:gd name="T6" fmla="*/ 1028 w 4316"/>
                <a:gd name="T7" fmla="*/ 2934 h 6081"/>
                <a:gd name="T8" fmla="*/ 1023 w 4316"/>
                <a:gd name="T9" fmla="*/ 2888 h 6081"/>
                <a:gd name="T10" fmla="*/ 1005 w 4316"/>
                <a:gd name="T11" fmla="*/ 2865 h 6081"/>
                <a:gd name="T12" fmla="*/ 980 w 4316"/>
                <a:gd name="T13" fmla="*/ 2862 h 6081"/>
                <a:gd name="T14" fmla="*/ 951 w 4316"/>
                <a:gd name="T15" fmla="*/ 2878 h 6081"/>
                <a:gd name="T16" fmla="*/ 920 w 4316"/>
                <a:gd name="T17" fmla="*/ 2914 h 6081"/>
                <a:gd name="T18" fmla="*/ 891 w 4316"/>
                <a:gd name="T19" fmla="*/ 2967 h 6081"/>
                <a:gd name="T20" fmla="*/ 828 w 4316"/>
                <a:gd name="T21" fmla="*/ 3143 h 6081"/>
                <a:gd name="T22" fmla="*/ 593 w 4316"/>
                <a:gd name="T23" fmla="*/ 4696 h 6081"/>
                <a:gd name="T24" fmla="*/ 228 w 4316"/>
                <a:gd name="T25" fmla="*/ 5771 h 6081"/>
                <a:gd name="T26" fmla="*/ 71 w 4316"/>
                <a:gd name="T27" fmla="*/ 5687 h 6081"/>
                <a:gd name="T28" fmla="*/ 353 w 4316"/>
                <a:gd name="T29" fmla="*/ 4574 h 6081"/>
                <a:gd name="T30" fmla="*/ 467 w 4316"/>
                <a:gd name="T31" fmla="*/ 4637 h 6081"/>
                <a:gd name="T32" fmla="*/ 2702 w 4316"/>
                <a:gd name="T33" fmla="*/ 3686 h 6081"/>
                <a:gd name="T34" fmla="*/ 2921 w 4316"/>
                <a:gd name="T35" fmla="*/ 3647 h 6081"/>
                <a:gd name="T36" fmla="*/ 3190 w 4316"/>
                <a:gd name="T37" fmla="*/ 3579 h 6081"/>
                <a:gd name="T38" fmla="*/ 3425 w 4316"/>
                <a:gd name="T39" fmla="*/ 3491 h 6081"/>
                <a:gd name="T40" fmla="*/ 3623 w 4316"/>
                <a:gd name="T41" fmla="*/ 3387 h 6081"/>
                <a:gd name="T42" fmla="*/ 3351 w 4316"/>
                <a:gd name="T43" fmla="*/ 2277 h 6081"/>
                <a:gd name="T44" fmla="*/ 3201 w 4316"/>
                <a:gd name="T45" fmla="*/ 2360 h 6081"/>
                <a:gd name="T46" fmla="*/ 3021 w 4316"/>
                <a:gd name="T47" fmla="*/ 2430 h 6081"/>
                <a:gd name="T48" fmla="*/ 2815 w 4316"/>
                <a:gd name="T49" fmla="*/ 2488 h 6081"/>
                <a:gd name="T50" fmla="*/ 2588 w 4316"/>
                <a:gd name="T51" fmla="*/ 2529 h 6081"/>
                <a:gd name="T52" fmla="*/ 3999 w 4316"/>
                <a:gd name="T53" fmla="*/ 4506 h 6081"/>
                <a:gd name="T54" fmla="*/ 4287 w 4316"/>
                <a:gd name="T55" fmla="*/ 5617 h 6081"/>
                <a:gd name="T56" fmla="*/ 4160 w 4316"/>
                <a:gd name="T57" fmla="*/ 5697 h 6081"/>
                <a:gd name="T58" fmla="*/ 4018 w 4316"/>
                <a:gd name="T59" fmla="*/ 5773 h 6081"/>
                <a:gd name="T60" fmla="*/ 3860 w 4316"/>
                <a:gd name="T61" fmla="*/ 5843 h 6081"/>
                <a:gd name="T62" fmla="*/ 3687 w 4316"/>
                <a:gd name="T63" fmla="*/ 5906 h 6081"/>
                <a:gd name="T64" fmla="*/ 3503 w 4316"/>
                <a:gd name="T65" fmla="*/ 5964 h 6081"/>
                <a:gd name="T66" fmla="*/ 3152 w 4316"/>
                <a:gd name="T67" fmla="*/ 6045 h 6081"/>
                <a:gd name="T68" fmla="*/ 2822 w 4316"/>
                <a:gd name="T69" fmla="*/ 4919 h 6081"/>
                <a:gd name="T70" fmla="*/ 3094 w 4316"/>
                <a:gd name="T71" fmla="*/ 4870 h 6081"/>
                <a:gd name="T72" fmla="*/ 3423 w 4316"/>
                <a:gd name="T73" fmla="*/ 4782 h 6081"/>
                <a:gd name="T74" fmla="*/ 3711 w 4316"/>
                <a:gd name="T75" fmla="*/ 4672 h 6081"/>
                <a:gd name="T76" fmla="*/ 3866 w 4316"/>
                <a:gd name="T77" fmla="*/ 4592 h 6081"/>
                <a:gd name="T78" fmla="*/ 3974 w 4316"/>
                <a:gd name="T79" fmla="*/ 4524 h 6081"/>
                <a:gd name="T80" fmla="*/ 2691 w 4316"/>
                <a:gd name="T81" fmla="*/ 0 h 6081"/>
                <a:gd name="T82" fmla="*/ 2963 w 4316"/>
                <a:gd name="T83" fmla="*/ 1161 h 6081"/>
                <a:gd name="T84" fmla="*/ 2837 w 4316"/>
                <a:gd name="T85" fmla="*/ 1206 h 6081"/>
                <a:gd name="T86" fmla="*/ 2697 w 4316"/>
                <a:gd name="T87" fmla="*/ 1244 h 6081"/>
                <a:gd name="T88" fmla="*/ 2546 w 4316"/>
                <a:gd name="T89" fmla="*/ 1273 h 6081"/>
                <a:gd name="T90" fmla="*/ 2351 w 4316"/>
                <a:gd name="T91" fmla="*/ 99 h 6081"/>
                <a:gd name="T92" fmla="*/ 2495 w 4316"/>
                <a:gd name="T93" fmla="*/ 71 h 6081"/>
                <a:gd name="T94" fmla="*/ 2657 w 4316"/>
                <a:gd name="T95" fmla="*/ 16 h 6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316" h="6081">
                  <a:moveTo>
                    <a:pt x="729" y="3439"/>
                  </a:moveTo>
                  <a:lnTo>
                    <a:pt x="729" y="3439"/>
                  </a:lnTo>
                  <a:lnTo>
                    <a:pt x="768" y="3459"/>
                  </a:lnTo>
                  <a:lnTo>
                    <a:pt x="807" y="3478"/>
                  </a:lnTo>
                  <a:lnTo>
                    <a:pt x="848" y="3496"/>
                  </a:lnTo>
                  <a:lnTo>
                    <a:pt x="891" y="3514"/>
                  </a:lnTo>
                  <a:lnTo>
                    <a:pt x="891" y="3514"/>
                  </a:lnTo>
                  <a:lnTo>
                    <a:pt x="969" y="3203"/>
                  </a:lnTo>
                  <a:lnTo>
                    <a:pt x="1010" y="3044"/>
                  </a:lnTo>
                  <a:lnTo>
                    <a:pt x="1010" y="3044"/>
                  </a:lnTo>
                  <a:lnTo>
                    <a:pt x="1015" y="3022"/>
                  </a:lnTo>
                  <a:lnTo>
                    <a:pt x="1020" y="3001"/>
                  </a:lnTo>
                  <a:lnTo>
                    <a:pt x="1024" y="2982"/>
                  </a:lnTo>
                  <a:lnTo>
                    <a:pt x="1026" y="2964"/>
                  </a:lnTo>
                  <a:lnTo>
                    <a:pt x="1028" y="2948"/>
                  </a:lnTo>
                  <a:lnTo>
                    <a:pt x="1028" y="2934"/>
                  </a:lnTo>
                  <a:lnTo>
                    <a:pt x="1028" y="2920"/>
                  </a:lnTo>
                  <a:lnTo>
                    <a:pt x="1027" y="2908"/>
                  </a:lnTo>
                  <a:lnTo>
                    <a:pt x="1025" y="2897"/>
                  </a:lnTo>
                  <a:lnTo>
                    <a:pt x="1023" y="2888"/>
                  </a:lnTo>
                  <a:lnTo>
                    <a:pt x="1018" y="2881"/>
                  </a:lnTo>
                  <a:lnTo>
                    <a:pt x="1015" y="2874"/>
                  </a:lnTo>
                  <a:lnTo>
                    <a:pt x="1010" y="2869"/>
                  </a:lnTo>
                  <a:lnTo>
                    <a:pt x="1005" y="2865"/>
                  </a:lnTo>
                  <a:lnTo>
                    <a:pt x="1000" y="2862"/>
                  </a:lnTo>
                  <a:lnTo>
                    <a:pt x="993" y="2861"/>
                  </a:lnTo>
                  <a:lnTo>
                    <a:pt x="987" y="2861"/>
                  </a:lnTo>
                  <a:lnTo>
                    <a:pt x="980" y="2862"/>
                  </a:lnTo>
                  <a:lnTo>
                    <a:pt x="974" y="2864"/>
                  </a:lnTo>
                  <a:lnTo>
                    <a:pt x="966" y="2868"/>
                  </a:lnTo>
                  <a:lnTo>
                    <a:pt x="958" y="2873"/>
                  </a:lnTo>
                  <a:lnTo>
                    <a:pt x="951" y="2878"/>
                  </a:lnTo>
                  <a:lnTo>
                    <a:pt x="944" y="2886"/>
                  </a:lnTo>
                  <a:lnTo>
                    <a:pt x="935" y="2894"/>
                  </a:lnTo>
                  <a:lnTo>
                    <a:pt x="928" y="2903"/>
                  </a:lnTo>
                  <a:lnTo>
                    <a:pt x="920" y="2914"/>
                  </a:lnTo>
                  <a:lnTo>
                    <a:pt x="912" y="2925"/>
                  </a:lnTo>
                  <a:lnTo>
                    <a:pt x="905" y="2938"/>
                  </a:lnTo>
                  <a:lnTo>
                    <a:pt x="898" y="2952"/>
                  </a:lnTo>
                  <a:lnTo>
                    <a:pt x="891" y="2967"/>
                  </a:lnTo>
                  <a:lnTo>
                    <a:pt x="883" y="2983"/>
                  </a:lnTo>
                  <a:lnTo>
                    <a:pt x="877" y="2999"/>
                  </a:lnTo>
                  <a:lnTo>
                    <a:pt x="877" y="2999"/>
                  </a:lnTo>
                  <a:lnTo>
                    <a:pt x="828" y="3143"/>
                  </a:lnTo>
                  <a:lnTo>
                    <a:pt x="729" y="3439"/>
                  </a:lnTo>
                  <a:lnTo>
                    <a:pt x="729" y="3439"/>
                  </a:lnTo>
                  <a:close/>
                  <a:moveTo>
                    <a:pt x="593" y="4696"/>
                  </a:moveTo>
                  <a:lnTo>
                    <a:pt x="593" y="4696"/>
                  </a:lnTo>
                  <a:lnTo>
                    <a:pt x="315" y="5811"/>
                  </a:lnTo>
                  <a:lnTo>
                    <a:pt x="315" y="5811"/>
                  </a:lnTo>
                  <a:lnTo>
                    <a:pt x="271" y="5791"/>
                  </a:lnTo>
                  <a:lnTo>
                    <a:pt x="228" y="5771"/>
                  </a:lnTo>
                  <a:lnTo>
                    <a:pt x="188" y="5750"/>
                  </a:lnTo>
                  <a:lnTo>
                    <a:pt x="147" y="5729"/>
                  </a:lnTo>
                  <a:lnTo>
                    <a:pt x="109" y="5708"/>
                  </a:lnTo>
                  <a:lnTo>
                    <a:pt x="71" y="5687"/>
                  </a:lnTo>
                  <a:lnTo>
                    <a:pt x="35" y="5664"/>
                  </a:lnTo>
                  <a:lnTo>
                    <a:pt x="0" y="5641"/>
                  </a:lnTo>
                  <a:lnTo>
                    <a:pt x="0" y="5641"/>
                  </a:lnTo>
                  <a:lnTo>
                    <a:pt x="353" y="4574"/>
                  </a:lnTo>
                  <a:lnTo>
                    <a:pt x="353" y="4574"/>
                  </a:lnTo>
                  <a:lnTo>
                    <a:pt x="380" y="4590"/>
                  </a:lnTo>
                  <a:lnTo>
                    <a:pt x="408" y="4606"/>
                  </a:lnTo>
                  <a:lnTo>
                    <a:pt x="467" y="4637"/>
                  </a:lnTo>
                  <a:lnTo>
                    <a:pt x="529" y="4668"/>
                  </a:lnTo>
                  <a:lnTo>
                    <a:pt x="593" y="4696"/>
                  </a:lnTo>
                  <a:lnTo>
                    <a:pt x="593" y="4696"/>
                  </a:lnTo>
                  <a:close/>
                  <a:moveTo>
                    <a:pt x="2702" y="3686"/>
                  </a:moveTo>
                  <a:lnTo>
                    <a:pt x="2702" y="3686"/>
                  </a:lnTo>
                  <a:lnTo>
                    <a:pt x="2776" y="3675"/>
                  </a:lnTo>
                  <a:lnTo>
                    <a:pt x="2849" y="3662"/>
                  </a:lnTo>
                  <a:lnTo>
                    <a:pt x="2921" y="3647"/>
                  </a:lnTo>
                  <a:lnTo>
                    <a:pt x="2992" y="3632"/>
                  </a:lnTo>
                  <a:lnTo>
                    <a:pt x="3059" y="3615"/>
                  </a:lnTo>
                  <a:lnTo>
                    <a:pt x="3126" y="3597"/>
                  </a:lnTo>
                  <a:lnTo>
                    <a:pt x="3190" y="3579"/>
                  </a:lnTo>
                  <a:lnTo>
                    <a:pt x="3252" y="3558"/>
                  </a:lnTo>
                  <a:lnTo>
                    <a:pt x="3312" y="3537"/>
                  </a:lnTo>
                  <a:lnTo>
                    <a:pt x="3370" y="3514"/>
                  </a:lnTo>
                  <a:lnTo>
                    <a:pt x="3425" y="3491"/>
                  </a:lnTo>
                  <a:lnTo>
                    <a:pt x="3478" y="3466"/>
                  </a:lnTo>
                  <a:lnTo>
                    <a:pt x="3529" y="3441"/>
                  </a:lnTo>
                  <a:lnTo>
                    <a:pt x="3577" y="3414"/>
                  </a:lnTo>
                  <a:lnTo>
                    <a:pt x="3623" y="3387"/>
                  </a:lnTo>
                  <a:lnTo>
                    <a:pt x="3665" y="3359"/>
                  </a:lnTo>
                  <a:lnTo>
                    <a:pt x="3665" y="3359"/>
                  </a:lnTo>
                  <a:lnTo>
                    <a:pt x="3351" y="2277"/>
                  </a:lnTo>
                  <a:lnTo>
                    <a:pt x="3351" y="2277"/>
                  </a:lnTo>
                  <a:lnTo>
                    <a:pt x="3317" y="2299"/>
                  </a:lnTo>
                  <a:lnTo>
                    <a:pt x="3280" y="2320"/>
                  </a:lnTo>
                  <a:lnTo>
                    <a:pt x="3241" y="2340"/>
                  </a:lnTo>
                  <a:lnTo>
                    <a:pt x="3201" y="2360"/>
                  </a:lnTo>
                  <a:lnTo>
                    <a:pt x="3158" y="2378"/>
                  </a:lnTo>
                  <a:lnTo>
                    <a:pt x="3114" y="2397"/>
                  </a:lnTo>
                  <a:lnTo>
                    <a:pt x="3069" y="2414"/>
                  </a:lnTo>
                  <a:lnTo>
                    <a:pt x="3021" y="2430"/>
                  </a:lnTo>
                  <a:lnTo>
                    <a:pt x="2972" y="2446"/>
                  </a:lnTo>
                  <a:lnTo>
                    <a:pt x="2921" y="2461"/>
                  </a:lnTo>
                  <a:lnTo>
                    <a:pt x="2869" y="2474"/>
                  </a:lnTo>
                  <a:lnTo>
                    <a:pt x="2815" y="2488"/>
                  </a:lnTo>
                  <a:lnTo>
                    <a:pt x="2760" y="2499"/>
                  </a:lnTo>
                  <a:lnTo>
                    <a:pt x="2704" y="2510"/>
                  </a:lnTo>
                  <a:lnTo>
                    <a:pt x="2646" y="2520"/>
                  </a:lnTo>
                  <a:lnTo>
                    <a:pt x="2588" y="2529"/>
                  </a:lnTo>
                  <a:lnTo>
                    <a:pt x="2588" y="2529"/>
                  </a:lnTo>
                  <a:lnTo>
                    <a:pt x="2702" y="3686"/>
                  </a:lnTo>
                  <a:lnTo>
                    <a:pt x="2702" y="3686"/>
                  </a:lnTo>
                  <a:close/>
                  <a:moveTo>
                    <a:pt x="3999" y="4506"/>
                  </a:moveTo>
                  <a:lnTo>
                    <a:pt x="3999" y="4506"/>
                  </a:lnTo>
                  <a:lnTo>
                    <a:pt x="4316" y="5595"/>
                  </a:lnTo>
                  <a:lnTo>
                    <a:pt x="4316" y="5595"/>
                  </a:lnTo>
                  <a:lnTo>
                    <a:pt x="4287" y="5617"/>
                  </a:lnTo>
                  <a:lnTo>
                    <a:pt x="4257" y="5637"/>
                  </a:lnTo>
                  <a:lnTo>
                    <a:pt x="4226" y="5657"/>
                  </a:lnTo>
                  <a:lnTo>
                    <a:pt x="4193" y="5677"/>
                  </a:lnTo>
                  <a:lnTo>
                    <a:pt x="4160" y="5697"/>
                  </a:lnTo>
                  <a:lnTo>
                    <a:pt x="4126" y="5717"/>
                  </a:lnTo>
                  <a:lnTo>
                    <a:pt x="4091" y="5736"/>
                  </a:lnTo>
                  <a:lnTo>
                    <a:pt x="4054" y="5754"/>
                  </a:lnTo>
                  <a:lnTo>
                    <a:pt x="4018" y="5773"/>
                  </a:lnTo>
                  <a:lnTo>
                    <a:pt x="3979" y="5791"/>
                  </a:lnTo>
                  <a:lnTo>
                    <a:pt x="3940" y="5808"/>
                  </a:lnTo>
                  <a:lnTo>
                    <a:pt x="3900" y="5826"/>
                  </a:lnTo>
                  <a:lnTo>
                    <a:pt x="3860" y="5843"/>
                  </a:lnTo>
                  <a:lnTo>
                    <a:pt x="3817" y="5859"/>
                  </a:lnTo>
                  <a:lnTo>
                    <a:pt x="3776" y="5875"/>
                  </a:lnTo>
                  <a:lnTo>
                    <a:pt x="3732" y="5891"/>
                  </a:lnTo>
                  <a:lnTo>
                    <a:pt x="3687" y="5906"/>
                  </a:lnTo>
                  <a:lnTo>
                    <a:pt x="3642" y="5921"/>
                  </a:lnTo>
                  <a:lnTo>
                    <a:pt x="3597" y="5936"/>
                  </a:lnTo>
                  <a:lnTo>
                    <a:pt x="3550" y="5950"/>
                  </a:lnTo>
                  <a:lnTo>
                    <a:pt x="3503" y="5964"/>
                  </a:lnTo>
                  <a:lnTo>
                    <a:pt x="3454" y="5976"/>
                  </a:lnTo>
                  <a:lnTo>
                    <a:pt x="3357" y="6001"/>
                  </a:lnTo>
                  <a:lnTo>
                    <a:pt x="3255" y="6024"/>
                  </a:lnTo>
                  <a:lnTo>
                    <a:pt x="3152" y="6045"/>
                  </a:lnTo>
                  <a:lnTo>
                    <a:pt x="3045" y="6065"/>
                  </a:lnTo>
                  <a:lnTo>
                    <a:pt x="2937" y="6081"/>
                  </a:lnTo>
                  <a:lnTo>
                    <a:pt x="2937" y="6081"/>
                  </a:lnTo>
                  <a:lnTo>
                    <a:pt x="2822" y="4919"/>
                  </a:lnTo>
                  <a:lnTo>
                    <a:pt x="2822" y="4919"/>
                  </a:lnTo>
                  <a:lnTo>
                    <a:pt x="2915" y="4904"/>
                  </a:lnTo>
                  <a:lnTo>
                    <a:pt x="3005" y="4887"/>
                  </a:lnTo>
                  <a:lnTo>
                    <a:pt x="3094" y="4870"/>
                  </a:lnTo>
                  <a:lnTo>
                    <a:pt x="3180" y="4851"/>
                  </a:lnTo>
                  <a:lnTo>
                    <a:pt x="3263" y="4829"/>
                  </a:lnTo>
                  <a:lnTo>
                    <a:pt x="3344" y="4807"/>
                  </a:lnTo>
                  <a:lnTo>
                    <a:pt x="3423" y="4782"/>
                  </a:lnTo>
                  <a:lnTo>
                    <a:pt x="3499" y="4757"/>
                  </a:lnTo>
                  <a:lnTo>
                    <a:pt x="3573" y="4730"/>
                  </a:lnTo>
                  <a:lnTo>
                    <a:pt x="3643" y="4702"/>
                  </a:lnTo>
                  <a:lnTo>
                    <a:pt x="3711" y="4672"/>
                  </a:lnTo>
                  <a:lnTo>
                    <a:pt x="3776" y="4641"/>
                  </a:lnTo>
                  <a:lnTo>
                    <a:pt x="3806" y="4626"/>
                  </a:lnTo>
                  <a:lnTo>
                    <a:pt x="3836" y="4609"/>
                  </a:lnTo>
                  <a:lnTo>
                    <a:pt x="3866" y="4592"/>
                  </a:lnTo>
                  <a:lnTo>
                    <a:pt x="3894" y="4576"/>
                  </a:lnTo>
                  <a:lnTo>
                    <a:pt x="3922" y="4559"/>
                  </a:lnTo>
                  <a:lnTo>
                    <a:pt x="3948" y="4541"/>
                  </a:lnTo>
                  <a:lnTo>
                    <a:pt x="3974" y="4524"/>
                  </a:lnTo>
                  <a:lnTo>
                    <a:pt x="3999" y="4506"/>
                  </a:lnTo>
                  <a:lnTo>
                    <a:pt x="3999" y="4506"/>
                  </a:lnTo>
                  <a:close/>
                  <a:moveTo>
                    <a:pt x="2691" y="0"/>
                  </a:moveTo>
                  <a:lnTo>
                    <a:pt x="2691" y="0"/>
                  </a:lnTo>
                  <a:lnTo>
                    <a:pt x="3020" y="1136"/>
                  </a:lnTo>
                  <a:lnTo>
                    <a:pt x="3020" y="1136"/>
                  </a:lnTo>
                  <a:lnTo>
                    <a:pt x="2992" y="1149"/>
                  </a:lnTo>
                  <a:lnTo>
                    <a:pt x="2963" y="1161"/>
                  </a:lnTo>
                  <a:lnTo>
                    <a:pt x="2932" y="1174"/>
                  </a:lnTo>
                  <a:lnTo>
                    <a:pt x="2901" y="1185"/>
                  </a:lnTo>
                  <a:lnTo>
                    <a:pt x="2870" y="1196"/>
                  </a:lnTo>
                  <a:lnTo>
                    <a:pt x="2837" y="1206"/>
                  </a:lnTo>
                  <a:lnTo>
                    <a:pt x="2803" y="1217"/>
                  </a:lnTo>
                  <a:lnTo>
                    <a:pt x="2768" y="1226"/>
                  </a:lnTo>
                  <a:lnTo>
                    <a:pt x="2733" y="1235"/>
                  </a:lnTo>
                  <a:lnTo>
                    <a:pt x="2697" y="1244"/>
                  </a:lnTo>
                  <a:lnTo>
                    <a:pt x="2660" y="1252"/>
                  </a:lnTo>
                  <a:lnTo>
                    <a:pt x="2623" y="1259"/>
                  </a:lnTo>
                  <a:lnTo>
                    <a:pt x="2584" y="1267"/>
                  </a:lnTo>
                  <a:lnTo>
                    <a:pt x="2546" y="1273"/>
                  </a:lnTo>
                  <a:lnTo>
                    <a:pt x="2506" y="1279"/>
                  </a:lnTo>
                  <a:lnTo>
                    <a:pt x="2466" y="1284"/>
                  </a:lnTo>
                  <a:lnTo>
                    <a:pt x="2466" y="1284"/>
                  </a:lnTo>
                  <a:lnTo>
                    <a:pt x="2351" y="99"/>
                  </a:lnTo>
                  <a:lnTo>
                    <a:pt x="2351" y="99"/>
                  </a:lnTo>
                  <a:lnTo>
                    <a:pt x="2400" y="90"/>
                  </a:lnTo>
                  <a:lnTo>
                    <a:pt x="2449" y="82"/>
                  </a:lnTo>
                  <a:lnTo>
                    <a:pt x="2495" y="71"/>
                  </a:lnTo>
                  <a:lnTo>
                    <a:pt x="2538" y="59"/>
                  </a:lnTo>
                  <a:lnTo>
                    <a:pt x="2580" y="45"/>
                  </a:lnTo>
                  <a:lnTo>
                    <a:pt x="2619" y="32"/>
                  </a:lnTo>
                  <a:lnTo>
                    <a:pt x="2657" y="16"/>
                  </a:lnTo>
                  <a:lnTo>
                    <a:pt x="2691" y="0"/>
                  </a:lnTo>
                  <a:lnTo>
                    <a:pt x="2691" y="0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2" name="Freeform 41"/>
            <p:cNvSpPr>
              <a:spLocks noEditPoints="1"/>
            </p:cNvSpPr>
            <p:nvPr/>
          </p:nvSpPr>
          <p:spPr bwMode="auto">
            <a:xfrm flipH="1">
              <a:off x="5233665" y="2391372"/>
              <a:ext cx="1331372" cy="1342804"/>
            </a:xfrm>
            <a:custGeom>
              <a:avLst/>
              <a:gdLst>
                <a:gd name="T0" fmla="*/ 4123 w 7222"/>
                <a:gd name="T1" fmla="*/ 8024 h 9367"/>
                <a:gd name="T2" fmla="*/ 3098 w 7222"/>
                <a:gd name="T3" fmla="*/ 7846 h 9367"/>
                <a:gd name="T4" fmla="*/ 2485 w 7222"/>
                <a:gd name="T5" fmla="*/ 7627 h 9367"/>
                <a:gd name="T6" fmla="*/ 1978 w 7222"/>
                <a:gd name="T7" fmla="*/ 7295 h 9367"/>
                <a:gd name="T8" fmla="*/ 1845 w 7222"/>
                <a:gd name="T9" fmla="*/ 7075 h 9367"/>
                <a:gd name="T10" fmla="*/ 1824 w 7222"/>
                <a:gd name="T11" fmla="*/ 6795 h 9367"/>
                <a:gd name="T12" fmla="*/ 82 w 7222"/>
                <a:gd name="T13" fmla="*/ 6993 h 9367"/>
                <a:gd name="T14" fmla="*/ 0 w 7222"/>
                <a:gd name="T15" fmla="*/ 7174 h 9367"/>
                <a:gd name="T16" fmla="*/ 66 w 7222"/>
                <a:gd name="T17" fmla="*/ 7319 h 9367"/>
                <a:gd name="T18" fmla="*/ 4304 w 7222"/>
                <a:gd name="T19" fmla="*/ 9317 h 9367"/>
                <a:gd name="T20" fmla="*/ 2921 w 7222"/>
                <a:gd name="T21" fmla="*/ 5280 h 9367"/>
                <a:gd name="T22" fmla="*/ 2268 w 7222"/>
                <a:gd name="T23" fmla="*/ 6068 h 9367"/>
                <a:gd name="T24" fmla="*/ 2176 w 7222"/>
                <a:gd name="T25" fmla="*/ 5867 h 9367"/>
                <a:gd name="T26" fmla="*/ 2535 w 7222"/>
                <a:gd name="T27" fmla="*/ 4846 h 9367"/>
                <a:gd name="T28" fmla="*/ 2666 w 7222"/>
                <a:gd name="T29" fmla="*/ 5077 h 9367"/>
                <a:gd name="T30" fmla="*/ 2883 w 7222"/>
                <a:gd name="T31" fmla="*/ 6517 h 9367"/>
                <a:gd name="T32" fmla="*/ 3363 w 7222"/>
                <a:gd name="T33" fmla="*/ 6682 h 9367"/>
                <a:gd name="T34" fmla="*/ 3990 w 7222"/>
                <a:gd name="T35" fmla="*/ 6802 h 9367"/>
                <a:gd name="T36" fmla="*/ 4694 w 7222"/>
                <a:gd name="T37" fmla="*/ 6845 h 9367"/>
                <a:gd name="T38" fmla="*/ 5390 w 7222"/>
                <a:gd name="T39" fmla="*/ 5625 h 9367"/>
                <a:gd name="T40" fmla="*/ 4581 w 7222"/>
                <a:gd name="T41" fmla="*/ 5673 h 9367"/>
                <a:gd name="T42" fmla="*/ 3482 w 7222"/>
                <a:gd name="T43" fmla="*/ 5515 h 9367"/>
                <a:gd name="T44" fmla="*/ 7222 w 7222"/>
                <a:gd name="T45" fmla="*/ 5794 h 9367"/>
                <a:gd name="T46" fmla="*/ 6754 w 7222"/>
                <a:gd name="T47" fmla="*/ 5035 h 9367"/>
                <a:gd name="T48" fmla="*/ 6922 w 7222"/>
                <a:gd name="T49" fmla="*/ 6273 h 9367"/>
                <a:gd name="T50" fmla="*/ 7192 w 7222"/>
                <a:gd name="T51" fmla="*/ 5930 h 9367"/>
                <a:gd name="T52" fmla="*/ 4876 w 7222"/>
                <a:gd name="T53" fmla="*/ 3261 h 9367"/>
                <a:gd name="T54" fmla="*/ 5063 w 7222"/>
                <a:gd name="T55" fmla="*/ 4416 h 9367"/>
                <a:gd name="T56" fmla="*/ 4263 w 7222"/>
                <a:gd name="T57" fmla="*/ 4409 h 9367"/>
                <a:gd name="T58" fmla="*/ 3459 w 7222"/>
                <a:gd name="T59" fmla="*/ 4220 h 9367"/>
                <a:gd name="T60" fmla="*/ 3596 w 7222"/>
                <a:gd name="T61" fmla="*/ 3626 h 9367"/>
                <a:gd name="T62" fmla="*/ 3548 w 7222"/>
                <a:gd name="T63" fmla="*/ 3568 h 9367"/>
                <a:gd name="T64" fmla="*/ 3466 w 7222"/>
                <a:gd name="T65" fmla="*/ 3658 h 9367"/>
                <a:gd name="T66" fmla="*/ 3145 w 7222"/>
                <a:gd name="T67" fmla="*/ 4051 h 9367"/>
                <a:gd name="T68" fmla="*/ 2915 w 7222"/>
                <a:gd name="T69" fmla="*/ 3779 h 9367"/>
                <a:gd name="T70" fmla="*/ 3275 w 7222"/>
                <a:gd name="T71" fmla="*/ 2779 h 9367"/>
                <a:gd name="T72" fmla="*/ 3517 w 7222"/>
                <a:gd name="T73" fmla="*/ 3007 h 9367"/>
                <a:gd name="T74" fmla="*/ 4054 w 7222"/>
                <a:gd name="T75" fmla="*/ 3202 h 9367"/>
                <a:gd name="T76" fmla="*/ 4699 w 7222"/>
                <a:gd name="T77" fmla="*/ 3267 h 9367"/>
                <a:gd name="T78" fmla="*/ 6070 w 7222"/>
                <a:gd name="T79" fmla="*/ 2855 h 9367"/>
                <a:gd name="T80" fmla="*/ 6233 w 7222"/>
                <a:gd name="T81" fmla="*/ 4065 h 9367"/>
                <a:gd name="T82" fmla="*/ 6435 w 7222"/>
                <a:gd name="T83" fmla="*/ 3872 h 9367"/>
                <a:gd name="T84" fmla="*/ 5776 w 7222"/>
                <a:gd name="T85" fmla="*/ 1726 h 9367"/>
                <a:gd name="T86" fmla="*/ 5259 w 7222"/>
                <a:gd name="T87" fmla="*/ 706 h 9367"/>
                <a:gd name="T88" fmla="*/ 3609 w 7222"/>
                <a:gd name="T89" fmla="*/ 1714 h 9367"/>
                <a:gd name="T90" fmla="*/ 3850 w 7222"/>
                <a:gd name="T91" fmla="*/ 1861 h 9367"/>
                <a:gd name="T92" fmla="*/ 4232 w 7222"/>
                <a:gd name="T93" fmla="*/ 1971 h 9367"/>
                <a:gd name="T94" fmla="*/ 4699 w 7222"/>
                <a:gd name="T95" fmla="*/ 2011 h 9367"/>
                <a:gd name="T96" fmla="*/ 4919 w 7222"/>
                <a:gd name="T97" fmla="*/ 805 h 9367"/>
                <a:gd name="T98" fmla="*/ 4413 w 7222"/>
                <a:gd name="T99" fmla="*/ 794 h 9367"/>
                <a:gd name="T100" fmla="*/ 4077 w 7222"/>
                <a:gd name="T101" fmla="*/ 668 h 9367"/>
                <a:gd name="T102" fmla="*/ 4301 w 7222"/>
                <a:gd name="T103" fmla="*/ 171 h 9367"/>
                <a:gd name="T104" fmla="*/ 4348 w 7222"/>
                <a:gd name="T105" fmla="*/ 252 h 9367"/>
                <a:gd name="T106" fmla="*/ 4658 w 7222"/>
                <a:gd name="T107" fmla="*/ 341 h 9367"/>
                <a:gd name="T108" fmla="*/ 5006 w 7222"/>
                <a:gd name="T109" fmla="*/ 279 h 9367"/>
                <a:gd name="T110" fmla="*/ 5095 w 7222"/>
                <a:gd name="T111" fmla="*/ 189 h 9367"/>
                <a:gd name="T112" fmla="*/ 5066 w 7222"/>
                <a:gd name="T113" fmla="*/ 104 h 9367"/>
                <a:gd name="T114" fmla="*/ 4817 w 7222"/>
                <a:gd name="T115" fmla="*/ 7 h 9367"/>
                <a:gd name="T116" fmla="*/ 4445 w 7222"/>
                <a:gd name="T117" fmla="*/ 39 h 9367"/>
                <a:gd name="T118" fmla="*/ 4309 w 7222"/>
                <a:gd name="T119" fmla="*/ 137 h 9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222" h="9367">
                  <a:moveTo>
                    <a:pt x="4694" y="9367"/>
                  </a:moveTo>
                  <a:lnTo>
                    <a:pt x="4694" y="8058"/>
                  </a:lnTo>
                  <a:lnTo>
                    <a:pt x="4694" y="8058"/>
                  </a:lnTo>
                  <a:lnTo>
                    <a:pt x="4671" y="8058"/>
                  </a:lnTo>
                  <a:lnTo>
                    <a:pt x="4607" y="8057"/>
                  </a:lnTo>
                  <a:lnTo>
                    <a:pt x="4506" y="8052"/>
                  </a:lnTo>
                  <a:lnTo>
                    <a:pt x="4443" y="8049"/>
                  </a:lnTo>
                  <a:lnTo>
                    <a:pt x="4373" y="8045"/>
                  </a:lnTo>
                  <a:lnTo>
                    <a:pt x="4296" y="8040"/>
                  </a:lnTo>
                  <a:lnTo>
                    <a:pt x="4212" y="8033"/>
                  </a:lnTo>
                  <a:lnTo>
                    <a:pt x="4123" y="8024"/>
                  </a:lnTo>
                  <a:lnTo>
                    <a:pt x="4029" y="8015"/>
                  </a:lnTo>
                  <a:lnTo>
                    <a:pt x="3929" y="8003"/>
                  </a:lnTo>
                  <a:lnTo>
                    <a:pt x="3827" y="7990"/>
                  </a:lnTo>
                  <a:lnTo>
                    <a:pt x="3721" y="7974"/>
                  </a:lnTo>
                  <a:lnTo>
                    <a:pt x="3610" y="7956"/>
                  </a:lnTo>
                  <a:lnTo>
                    <a:pt x="3499" y="7937"/>
                  </a:lnTo>
                  <a:lnTo>
                    <a:pt x="3386" y="7914"/>
                  </a:lnTo>
                  <a:lnTo>
                    <a:pt x="3271" y="7889"/>
                  </a:lnTo>
                  <a:lnTo>
                    <a:pt x="3213" y="7875"/>
                  </a:lnTo>
                  <a:lnTo>
                    <a:pt x="3156" y="7861"/>
                  </a:lnTo>
                  <a:lnTo>
                    <a:pt x="3098" y="7846"/>
                  </a:lnTo>
                  <a:lnTo>
                    <a:pt x="3041" y="7829"/>
                  </a:lnTo>
                  <a:lnTo>
                    <a:pt x="2983" y="7814"/>
                  </a:lnTo>
                  <a:lnTo>
                    <a:pt x="2926" y="7796"/>
                  </a:lnTo>
                  <a:lnTo>
                    <a:pt x="2869" y="7778"/>
                  </a:lnTo>
                  <a:lnTo>
                    <a:pt x="2813" y="7759"/>
                  </a:lnTo>
                  <a:lnTo>
                    <a:pt x="2757" y="7739"/>
                  </a:lnTo>
                  <a:lnTo>
                    <a:pt x="2701" y="7719"/>
                  </a:lnTo>
                  <a:lnTo>
                    <a:pt x="2647" y="7697"/>
                  </a:lnTo>
                  <a:lnTo>
                    <a:pt x="2591" y="7674"/>
                  </a:lnTo>
                  <a:lnTo>
                    <a:pt x="2538" y="7651"/>
                  </a:lnTo>
                  <a:lnTo>
                    <a:pt x="2485" y="7627"/>
                  </a:lnTo>
                  <a:lnTo>
                    <a:pt x="2433" y="7602"/>
                  </a:lnTo>
                  <a:lnTo>
                    <a:pt x="2383" y="7576"/>
                  </a:lnTo>
                  <a:lnTo>
                    <a:pt x="2333" y="7549"/>
                  </a:lnTo>
                  <a:lnTo>
                    <a:pt x="2284" y="7521"/>
                  </a:lnTo>
                  <a:lnTo>
                    <a:pt x="2236" y="7492"/>
                  </a:lnTo>
                  <a:lnTo>
                    <a:pt x="2189" y="7462"/>
                  </a:lnTo>
                  <a:lnTo>
                    <a:pt x="2144" y="7430"/>
                  </a:lnTo>
                  <a:lnTo>
                    <a:pt x="2101" y="7398"/>
                  </a:lnTo>
                  <a:lnTo>
                    <a:pt x="2058" y="7365"/>
                  </a:lnTo>
                  <a:lnTo>
                    <a:pt x="2018" y="7330"/>
                  </a:lnTo>
                  <a:lnTo>
                    <a:pt x="1978" y="7295"/>
                  </a:lnTo>
                  <a:lnTo>
                    <a:pt x="1941" y="7257"/>
                  </a:lnTo>
                  <a:lnTo>
                    <a:pt x="1941" y="7257"/>
                  </a:lnTo>
                  <a:lnTo>
                    <a:pt x="1931" y="7247"/>
                  </a:lnTo>
                  <a:lnTo>
                    <a:pt x="1922" y="7233"/>
                  </a:lnTo>
                  <a:lnTo>
                    <a:pt x="1909" y="7215"/>
                  </a:lnTo>
                  <a:lnTo>
                    <a:pt x="1896" y="7192"/>
                  </a:lnTo>
                  <a:lnTo>
                    <a:pt x="1881" y="7165"/>
                  </a:lnTo>
                  <a:lnTo>
                    <a:pt x="1866" y="7132"/>
                  </a:lnTo>
                  <a:lnTo>
                    <a:pt x="1860" y="7114"/>
                  </a:lnTo>
                  <a:lnTo>
                    <a:pt x="1852" y="7095"/>
                  </a:lnTo>
                  <a:lnTo>
                    <a:pt x="1845" y="7075"/>
                  </a:lnTo>
                  <a:lnTo>
                    <a:pt x="1839" y="7054"/>
                  </a:lnTo>
                  <a:lnTo>
                    <a:pt x="1834" y="7032"/>
                  </a:lnTo>
                  <a:lnTo>
                    <a:pt x="1828" y="7009"/>
                  </a:lnTo>
                  <a:lnTo>
                    <a:pt x="1824" y="6986"/>
                  </a:lnTo>
                  <a:lnTo>
                    <a:pt x="1821" y="6961"/>
                  </a:lnTo>
                  <a:lnTo>
                    <a:pt x="1819" y="6935"/>
                  </a:lnTo>
                  <a:lnTo>
                    <a:pt x="1817" y="6909"/>
                  </a:lnTo>
                  <a:lnTo>
                    <a:pt x="1817" y="6882"/>
                  </a:lnTo>
                  <a:lnTo>
                    <a:pt x="1818" y="6854"/>
                  </a:lnTo>
                  <a:lnTo>
                    <a:pt x="1821" y="6825"/>
                  </a:lnTo>
                  <a:lnTo>
                    <a:pt x="1824" y="6795"/>
                  </a:lnTo>
                  <a:lnTo>
                    <a:pt x="1829" y="6765"/>
                  </a:lnTo>
                  <a:lnTo>
                    <a:pt x="1837" y="6733"/>
                  </a:lnTo>
                  <a:lnTo>
                    <a:pt x="1846" y="6701"/>
                  </a:lnTo>
                  <a:lnTo>
                    <a:pt x="1856" y="6669"/>
                  </a:lnTo>
                  <a:lnTo>
                    <a:pt x="1856" y="6669"/>
                  </a:lnTo>
                  <a:lnTo>
                    <a:pt x="2018" y="6208"/>
                  </a:lnTo>
                  <a:lnTo>
                    <a:pt x="2087" y="6011"/>
                  </a:lnTo>
                  <a:lnTo>
                    <a:pt x="98" y="6976"/>
                  </a:lnTo>
                  <a:lnTo>
                    <a:pt x="98" y="6976"/>
                  </a:lnTo>
                  <a:lnTo>
                    <a:pt x="94" y="6980"/>
                  </a:lnTo>
                  <a:lnTo>
                    <a:pt x="82" y="6993"/>
                  </a:lnTo>
                  <a:lnTo>
                    <a:pt x="64" y="7011"/>
                  </a:lnTo>
                  <a:lnTo>
                    <a:pt x="55" y="7024"/>
                  </a:lnTo>
                  <a:lnTo>
                    <a:pt x="45" y="7037"/>
                  </a:lnTo>
                  <a:lnTo>
                    <a:pt x="36" y="7052"/>
                  </a:lnTo>
                  <a:lnTo>
                    <a:pt x="27" y="7068"/>
                  </a:lnTo>
                  <a:lnTo>
                    <a:pt x="18" y="7085"/>
                  </a:lnTo>
                  <a:lnTo>
                    <a:pt x="11" y="7103"/>
                  </a:lnTo>
                  <a:lnTo>
                    <a:pt x="5" y="7123"/>
                  </a:lnTo>
                  <a:lnTo>
                    <a:pt x="1" y="7143"/>
                  </a:lnTo>
                  <a:lnTo>
                    <a:pt x="0" y="7164"/>
                  </a:lnTo>
                  <a:lnTo>
                    <a:pt x="0" y="7174"/>
                  </a:lnTo>
                  <a:lnTo>
                    <a:pt x="0" y="7184"/>
                  </a:lnTo>
                  <a:lnTo>
                    <a:pt x="0" y="7184"/>
                  </a:lnTo>
                  <a:lnTo>
                    <a:pt x="3" y="7205"/>
                  </a:lnTo>
                  <a:lnTo>
                    <a:pt x="8" y="7225"/>
                  </a:lnTo>
                  <a:lnTo>
                    <a:pt x="14" y="7243"/>
                  </a:lnTo>
                  <a:lnTo>
                    <a:pt x="21" y="7258"/>
                  </a:lnTo>
                  <a:lnTo>
                    <a:pt x="30" y="7274"/>
                  </a:lnTo>
                  <a:lnTo>
                    <a:pt x="38" y="7288"/>
                  </a:lnTo>
                  <a:lnTo>
                    <a:pt x="47" y="7299"/>
                  </a:lnTo>
                  <a:lnTo>
                    <a:pt x="57" y="7309"/>
                  </a:lnTo>
                  <a:lnTo>
                    <a:pt x="66" y="7319"/>
                  </a:lnTo>
                  <a:lnTo>
                    <a:pt x="75" y="7327"/>
                  </a:lnTo>
                  <a:lnTo>
                    <a:pt x="90" y="7339"/>
                  </a:lnTo>
                  <a:lnTo>
                    <a:pt x="102" y="7346"/>
                  </a:lnTo>
                  <a:lnTo>
                    <a:pt x="106" y="7348"/>
                  </a:lnTo>
                  <a:lnTo>
                    <a:pt x="4161" y="9269"/>
                  </a:lnTo>
                  <a:lnTo>
                    <a:pt x="4161" y="9269"/>
                  </a:lnTo>
                  <a:lnTo>
                    <a:pt x="4171" y="9274"/>
                  </a:lnTo>
                  <a:lnTo>
                    <a:pt x="4199" y="9284"/>
                  </a:lnTo>
                  <a:lnTo>
                    <a:pt x="4243" y="9300"/>
                  </a:lnTo>
                  <a:lnTo>
                    <a:pt x="4272" y="9308"/>
                  </a:lnTo>
                  <a:lnTo>
                    <a:pt x="4304" y="9317"/>
                  </a:lnTo>
                  <a:lnTo>
                    <a:pt x="4340" y="9327"/>
                  </a:lnTo>
                  <a:lnTo>
                    <a:pt x="4381" y="9335"/>
                  </a:lnTo>
                  <a:lnTo>
                    <a:pt x="4424" y="9343"/>
                  </a:lnTo>
                  <a:lnTo>
                    <a:pt x="4471" y="9351"/>
                  </a:lnTo>
                  <a:lnTo>
                    <a:pt x="4522" y="9357"/>
                  </a:lnTo>
                  <a:lnTo>
                    <a:pt x="4576" y="9362"/>
                  </a:lnTo>
                  <a:lnTo>
                    <a:pt x="4633" y="9366"/>
                  </a:lnTo>
                  <a:lnTo>
                    <a:pt x="4694" y="9367"/>
                  </a:lnTo>
                  <a:lnTo>
                    <a:pt x="4694" y="9367"/>
                  </a:lnTo>
                  <a:close/>
                  <a:moveTo>
                    <a:pt x="2921" y="5280"/>
                  </a:moveTo>
                  <a:lnTo>
                    <a:pt x="2921" y="5280"/>
                  </a:lnTo>
                  <a:lnTo>
                    <a:pt x="2568" y="6347"/>
                  </a:lnTo>
                  <a:lnTo>
                    <a:pt x="2568" y="6347"/>
                  </a:lnTo>
                  <a:lnTo>
                    <a:pt x="2523" y="6316"/>
                  </a:lnTo>
                  <a:lnTo>
                    <a:pt x="2481" y="6285"/>
                  </a:lnTo>
                  <a:lnTo>
                    <a:pt x="2442" y="6254"/>
                  </a:lnTo>
                  <a:lnTo>
                    <a:pt x="2404" y="6222"/>
                  </a:lnTo>
                  <a:lnTo>
                    <a:pt x="2370" y="6188"/>
                  </a:lnTo>
                  <a:lnTo>
                    <a:pt x="2338" y="6155"/>
                  </a:lnTo>
                  <a:lnTo>
                    <a:pt x="2308" y="6121"/>
                  </a:lnTo>
                  <a:lnTo>
                    <a:pt x="2281" y="6086"/>
                  </a:lnTo>
                  <a:lnTo>
                    <a:pt x="2268" y="6068"/>
                  </a:lnTo>
                  <a:lnTo>
                    <a:pt x="2257" y="6051"/>
                  </a:lnTo>
                  <a:lnTo>
                    <a:pt x="2245" y="6033"/>
                  </a:lnTo>
                  <a:lnTo>
                    <a:pt x="2235" y="6015"/>
                  </a:lnTo>
                  <a:lnTo>
                    <a:pt x="2224" y="5997"/>
                  </a:lnTo>
                  <a:lnTo>
                    <a:pt x="2216" y="5979"/>
                  </a:lnTo>
                  <a:lnTo>
                    <a:pt x="2207" y="5960"/>
                  </a:lnTo>
                  <a:lnTo>
                    <a:pt x="2200" y="5942"/>
                  </a:lnTo>
                  <a:lnTo>
                    <a:pt x="2192" y="5924"/>
                  </a:lnTo>
                  <a:lnTo>
                    <a:pt x="2186" y="5905"/>
                  </a:lnTo>
                  <a:lnTo>
                    <a:pt x="2181" y="5886"/>
                  </a:lnTo>
                  <a:lnTo>
                    <a:pt x="2176" y="5867"/>
                  </a:lnTo>
                  <a:lnTo>
                    <a:pt x="2172" y="5849"/>
                  </a:lnTo>
                  <a:lnTo>
                    <a:pt x="2168" y="5830"/>
                  </a:lnTo>
                  <a:lnTo>
                    <a:pt x="2166" y="5811"/>
                  </a:lnTo>
                  <a:lnTo>
                    <a:pt x="2164" y="5791"/>
                  </a:lnTo>
                  <a:lnTo>
                    <a:pt x="2164" y="5791"/>
                  </a:lnTo>
                  <a:lnTo>
                    <a:pt x="2523" y="4778"/>
                  </a:lnTo>
                  <a:lnTo>
                    <a:pt x="2523" y="4778"/>
                  </a:lnTo>
                  <a:lnTo>
                    <a:pt x="2525" y="4794"/>
                  </a:lnTo>
                  <a:lnTo>
                    <a:pt x="2528" y="4812"/>
                  </a:lnTo>
                  <a:lnTo>
                    <a:pt x="2531" y="4830"/>
                  </a:lnTo>
                  <a:lnTo>
                    <a:pt x="2535" y="4846"/>
                  </a:lnTo>
                  <a:lnTo>
                    <a:pt x="2541" y="4864"/>
                  </a:lnTo>
                  <a:lnTo>
                    <a:pt x="2546" y="4881"/>
                  </a:lnTo>
                  <a:lnTo>
                    <a:pt x="2552" y="4897"/>
                  </a:lnTo>
                  <a:lnTo>
                    <a:pt x="2559" y="4914"/>
                  </a:lnTo>
                  <a:lnTo>
                    <a:pt x="2567" y="4931"/>
                  </a:lnTo>
                  <a:lnTo>
                    <a:pt x="2575" y="4947"/>
                  </a:lnTo>
                  <a:lnTo>
                    <a:pt x="2584" y="4964"/>
                  </a:lnTo>
                  <a:lnTo>
                    <a:pt x="2595" y="4981"/>
                  </a:lnTo>
                  <a:lnTo>
                    <a:pt x="2615" y="5013"/>
                  </a:lnTo>
                  <a:lnTo>
                    <a:pt x="2639" y="5045"/>
                  </a:lnTo>
                  <a:lnTo>
                    <a:pt x="2666" y="5077"/>
                  </a:lnTo>
                  <a:lnTo>
                    <a:pt x="2695" y="5107"/>
                  </a:lnTo>
                  <a:lnTo>
                    <a:pt x="2728" y="5138"/>
                  </a:lnTo>
                  <a:lnTo>
                    <a:pt x="2762" y="5167"/>
                  </a:lnTo>
                  <a:lnTo>
                    <a:pt x="2798" y="5196"/>
                  </a:lnTo>
                  <a:lnTo>
                    <a:pt x="2837" y="5225"/>
                  </a:lnTo>
                  <a:lnTo>
                    <a:pt x="2877" y="5253"/>
                  </a:lnTo>
                  <a:lnTo>
                    <a:pt x="2921" y="5280"/>
                  </a:lnTo>
                  <a:lnTo>
                    <a:pt x="2921" y="5280"/>
                  </a:lnTo>
                  <a:close/>
                  <a:moveTo>
                    <a:pt x="3161" y="5402"/>
                  </a:moveTo>
                  <a:lnTo>
                    <a:pt x="3161" y="5402"/>
                  </a:lnTo>
                  <a:lnTo>
                    <a:pt x="2883" y="6517"/>
                  </a:lnTo>
                  <a:lnTo>
                    <a:pt x="2883" y="6517"/>
                  </a:lnTo>
                  <a:lnTo>
                    <a:pt x="2926" y="6535"/>
                  </a:lnTo>
                  <a:lnTo>
                    <a:pt x="2971" y="6554"/>
                  </a:lnTo>
                  <a:lnTo>
                    <a:pt x="3017" y="6572"/>
                  </a:lnTo>
                  <a:lnTo>
                    <a:pt x="3063" y="6588"/>
                  </a:lnTo>
                  <a:lnTo>
                    <a:pt x="3111" y="6606"/>
                  </a:lnTo>
                  <a:lnTo>
                    <a:pt x="3159" y="6622"/>
                  </a:lnTo>
                  <a:lnTo>
                    <a:pt x="3209" y="6637"/>
                  </a:lnTo>
                  <a:lnTo>
                    <a:pt x="3260" y="6653"/>
                  </a:lnTo>
                  <a:lnTo>
                    <a:pt x="3311" y="6668"/>
                  </a:lnTo>
                  <a:lnTo>
                    <a:pt x="3363" y="6682"/>
                  </a:lnTo>
                  <a:lnTo>
                    <a:pt x="3416" y="6696"/>
                  </a:lnTo>
                  <a:lnTo>
                    <a:pt x="3470" y="6709"/>
                  </a:lnTo>
                  <a:lnTo>
                    <a:pt x="3525" y="6722"/>
                  </a:lnTo>
                  <a:lnTo>
                    <a:pt x="3580" y="6734"/>
                  </a:lnTo>
                  <a:lnTo>
                    <a:pt x="3637" y="6746"/>
                  </a:lnTo>
                  <a:lnTo>
                    <a:pt x="3695" y="6756"/>
                  </a:lnTo>
                  <a:lnTo>
                    <a:pt x="3752" y="6767"/>
                  </a:lnTo>
                  <a:lnTo>
                    <a:pt x="3810" y="6777"/>
                  </a:lnTo>
                  <a:lnTo>
                    <a:pt x="3869" y="6785"/>
                  </a:lnTo>
                  <a:lnTo>
                    <a:pt x="3929" y="6794"/>
                  </a:lnTo>
                  <a:lnTo>
                    <a:pt x="3990" y="6802"/>
                  </a:lnTo>
                  <a:lnTo>
                    <a:pt x="4051" y="6809"/>
                  </a:lnTo>
                  <a:lnTo>
                    <a:pt x="4114" y="6816"/>
                  </a:lnTo>
                  <a:lnTo>
                    <a:pt x="4176" y="6822"/>
                  </a:lnTo>
                  <a:lnTo>
                    <a:pt x="4238" y="6827"/>
                  </a:lnTo>
                  <a:lnTo>
                    <a:pt x="4302" y="6831"/>
                  </a:lnTo>
                  <a:lnTo>
                    <a:pt x="4366" y="6835"/>
                  </a:lnTo>
                  <a:lnTo>
                    <a:pt x="4431" y="6838"/>
                  </a:lnTo>
                  <a:lnTo>
                    <a:pt x="4495" y="6842"/>
                  </a:lnTo>
                  <a:lnTo>
                    <a:pt x="4561" y="6843"/>
                  </a:lnTo>
                  <a:lnTo>
                    <a:pt x="4627" y="6844"/>
                  </a:lnTo>
                  <a:lnTo>
                    <a:pt x="4694" y="6845"/>
                  </a:lnTo>
                  <a:lnTo>
                    <a:pt x="4694" y="6845"/>
                  </a:lnTo>
                  <a:lnTo>
                    <a:pt x="4799" y="6844"/>
                  </a:lnTo>
                  <a:lnTo>
                    <a:pt x="4904" y="6841"/>
                  </a:lnTo>
                  <a:lnTo>
                    <a:pt x="5008" y="6836"/>
                  </a:lnTo>
                  <a:lnTo>
                    <a:pt x="5109" y="6830"/>
                  </a:lnTo>
                  <a:lnTo>
                    <a:pt x="5210" y="6822"/>
                  </a:lnTo>
                  <a:lnTo>
                    <a:pt x="5310" y="6812"/>
                  </a:lnTo>
                  <a:lnTo>
                    <a:pt x="5408" y="6801"/>
                  </a:lnTo>
                  <a:lnTo>
                    <a:pt x="5505" y="6787"/>
                  </a:lnTo>
                  <a:lnTo>
                    <a:pt x="5505" y="6787"/>
                  </a:lnTo>
                  <a:lnTo>
                    <a:pt x="5390" y="5625"/>
                  </a:lnTo>
                  <a:lnTo>
                    <a:pt x="5390" y="5625"/>
                  </a:lnTo>
                  <a:lnTo>
                    <a:pt x="5307" y="5636"/>
                  </a:lnTo>
                  <a:lnTo>
                    <a:pt x="5223" y="5645"/>
                  </a:lnTo>
                  <a:lnTo>
                    <a:pt x="5138" y="5654"/>
                  </a:lnTo>
                  <a:lnTo>
                    <a:pt x="5051" y="5661"/>
                  </a:lnTo>
                  <a:lnTo>
                    <a:pt x="4963" y="5666"/>
                  </a:lnTo>
                  <a:lnTo>
                    <a:pt x="4875" y="5670"/>
                  </a:lnTo>
                  <a:lnTo>
                    <a:pt x="4784" y="5673"/>
                  </a:lnTo>
                  <a:lnTo>
                    <a:pt x="4694" y="5674"/>
                  </a:lnTo>
                  <a:lnTo>
                    <a:pt x="4694" y="5674"/>
                  </a:lnTo>
                  <a:lnTo>
                    <a:pt x="4581" y="5673"/>
                  </a:lnTo>
                  <a:lnTo>
                    <a:pt x="4472" y="5668"/>
                  </a:lnTo>
                  <a:lnTo>
                    <a:pt x="4364" y="5663"/>
                  </a:lnTo>
                  <a:lnTo>
                    <a:pt x="4257" y="5655"/>
                  </a:lnTo>
                  <a:lnTo>
                    <a:pt x="4152" y="5644"/>
                  </a:lnTo>
                  <a:lnTo>
                    <a:pt x="4049" y="5632"/>
                  </a:lnTo>
                  <a:lnTo>
                    <a:pt x="3949" y="5617"/>
                  </a:lnTo>
                  <a:lnTo>
                    <a:pt x="3850" y="5601"/>
                  </a:lnTo>
                  <a:lnTo>
                    <a:pt x="3755" y="5582"/>
                  </a:lnTo>
                  <a:lnTo>
                    <a:pt x="3661" y="5562"/>
                  </a:lnTo>
                  <a:lnTo>
                    <a:pt x="3571" y="5539"/>
                  </a:lnTo>
                  <a:lnTo>
                    <a:pt x="3482" y="5515"/>
                  </a:lnTo>
                  <a:lnTo>
                    <a:pt x="3440" y="5503"/>
                  </a:lnTo>
                  <a:lnTo>
                    <a:pt x="3397" y="5489"/>
                  </a:lnTo>
                  <a:lnTo>
                    <a:pt x="3356" y="5476"/>
                  </a:lnTo>
                  <a:lnTo>
                    <a:pt x="3315" y="5462"/>
                  </a:lnTo>
                  <a:lnTo>
                    <a:pt x="3276" y="5447"/>
                  </a:lnTo>
                  <a:lnTo>
                    <a:pt x="3237" y="5433"/>
                  </a:lnTo>
                  <a:lnTo>
                    <a:pt x="3199" y="5417"/>
                  </a:lnTo>
                  <a:lnTo>
                    <a:pt x="3161" y="5402"/>
                  </a:lnTo>
                  <a:lnTo>
                    <a:pt x="3161" y="5402"/>
                  </a:lnTo>
                  <a:close/>
                  <a:moveTo>
                    <a:pt x="7222" y="5794"/>
                  </a:moveTo>
                  <a:lnTo>
                    <a:pt x="7222" y="5794"/>
                  </a:lnTo>
                  <a:lnTo>
                    <a:pt x="6863" y="4782"/>
                  </a:lnTo>
                  <a:lnTo>
                    <a:pt x="6863" y="4782"/>
                  </a:lnTo>
                  <a:lnTo>
                    <a:pt x="6859" y="4811"/>
                  </a:lnTo>
                  <a:lnTo>
                    <a:pt x="6853" y="4840"/>
                  </a:lnTo>
                  <a:lnTo>
                    <a:pt x="6845" y="4869"/>
                  </a:lnTo>
                  <a:lnTo>
                    <a:pt x="6834" y="4897"/>
                  </a:lnTo>
                  <a:lnTo>
                    <a:pt x="6822" y="4925"/>
                  </a:lnTo>
                  <a:lnTo>
                    <a:pt x="6808" y="4954"/>
                  </a:lnTo>
                  <a:lnTo>
                    <a:pt x="6792" y="4981"/>
                  </a:lnTo>
                  <a:lnTo>
                    <a:pt x="6774" y="5008"/>
                  </a:lnTo>
                  <a:lnTo>
                    <a:pt x="6754" y="5035"/>
                  </a:lnTo>
                  <a:lnTo>
                    <a:pt x="6733" y="5061"/>
                  </a:lnTo>
                  <a:lnTo>
                    <a:pt x="6709" y="5087"/>
                  </a:lnTo>
                  <a:lnTo>
                    <a:pt x="6685" y="5113"/>
                  </a:lnTo>
                  <a:lnTo>
                    <a:pt x="6657" y="5138"/>
                  </a:lnTo>
                  <a:lnTo>
                    <a:pt x="6629" y="5163"/>
                  </a:lnTo>
                  <a:lnTo>
                    <a:pt x="6599" y="5188"/>
                  </a:lnTo>
                  <a:lnTo>
                    <a:pt x="6567" y="5212"/>
                  </a:lnTo>
                  <a:lnTo>
                    <a:pt x="6567" y="5212"/>
                  </a:lnTo>
                  <a:lnTo>
                    <a:pt x="6884" y="6301"/>
                  </a:lnTo>
                  <a:lnTo>
                    <a:pt x="6884" y="6301"/>
                  </a:lnTo>
                  <a:lnTo>
                    <a:pt x="6922" y="6273"/>
                  </a:lnTo>
                  <a:lnTo>
                    <a:pt x="6956" y="6244"/>
                  </a:lnTo>
                  <a:lnTo>
                    <a:pt x="6989" y="6214"/>
                  </a:lnTo>
                  <a:lnTo>
                    <a:pt x="7020" y="6184"/>
                  </a:lnTo>
                  <a:lnTo>
                    <a:pt x="7049" y="6154"/>
                  </a:lnTo>
                  <a:lnTo>
                    <a:pt x="7076" y="6124"/>
                  </a:lnTo>
                  <a:lnTo>
                    <a:pt x="7101" y="6092"/>
                  </a:lnTo>
                  <a:lnTo>
                    <a:pt x="7123" y="6060"/>
                  </a:lnTo>
                  <a:lnTo>
                    <a:pt x="7144" y="6029"/>
                  </a:lnTo>
                  <a:lnTo>
                    <a:pt x="7162" y="5996"/>
                  </a:lnTo>
                  <a:lnTo>
                    <a:pt x="7178" y="5963"/>
                  </a:lnTo>
                  <a:lnTo>
                    <a:pt x="7192" y="5930"/>
                  </a:lnTo>
                  <a:lnTo>
                    <a:pt x="7202" y="5897"/>
                  </a:lnTo>
                  <a:lnTo>
                    <a:pt x="7212" y="5862"/>
                  </a:lnTo>
                  <a:lnTo>
                    <a:pt x="7218" y="5829"/>
                  </a:lnTo>
                  <a:lnTo>
                    <a:pt x="7220" y="5811"/>
                  </a:lnTo>
                  <a:lnTo>
                    <a:pt x="7222" y="5794"/>
                  </a:lnTo>
                  <a:lnTo>
                    <a:pt x="7222" y="5794"/>
                  </a:lnTo>
                  <a:close/>
                  <a:moveTo>
                    <a:pt x="4699" y="3267"/>
                  </a:moveTo>
                  <a:lnTo>
                    <a:pt x="4699" y="3267"/>
                  </a:lnTo>
                  <a:lnTo>
                    <a:pt x="4758" y="3266"/>
                  </a:lnTo>
                  <a:lnTo>
                    <a:pt x="4817" y="3265"/>
                  </a:lnTo>
                  <a:lnTo>
                    <a:pt x="4876" y="3261"/>
                  </a:lnTo>
                  <a:lnTo>
                    <a:pt x="4933" y="3258"/>
                  </a:lnTo>
                  <a:lnTo>
                    <a:pt x="4990" y="3254"/>
                  </a:lnTo>
                  <a:lnTo>
                    <a:pt x="5046" y="3248"/>
                  </a:lnTo>
                  <a:lnTo>
                    <a:pt x="5101" y="3242"/>
                  </a:lnTo>
                  <a:lnTo>
                    <a:pt x="5156" y="3235"/>
                  </a:lnTo>
                  <a:lnTo>
                    <a:pt x="5156" y="3235"/>
                  </a:lnTo>
                  <a:lnTo>
                    <a:pt x="5270" y="4392"/>
                  </a:lnTo>
                  <a:lnTo>
                    <a:pt x="5270" y="4392"/>
                  </a:lnTo>
                  <a:lnTo>
                    <a:pt x="5201" y="4401"/>
                  </a:lnTo>
                  <a:lnTo>
                    <a:pt x="5132" y="4410"/>
                  </a:lnTo>
                  <a:lnTo>
                    <a:pt x="5063" y="4416"/>
                  </a:lnTo>
                  <a:lnTo>
                    <a:pt x="4992" y="4421"/>
                  </a:lnTo>
                  <a:lnTo>
                    <a:pt x="4919" y="4426"/>
                  </a:lnTo>
                  <a:lnTo>
                    <a:pt x="4846" y="4430"/>
                  </a:lnTo>
                  <a:lnTo>
                    <a:pt x="4773" y="4432"/>
                  </a:lnTo>
                  <a:lnTo>
                    <a:pt x="4699" y="4432"/>
                  </a:lnTo>
                  <a:lnTo>
                    <a:pt x="4699" y="4432"/>
                  </a:lnTo>
                  <a:lnTo>
                    <a:pt x="4609" y="4431"/>
                  </a:lnTo>
                  <a:lnTo>
                    <a:pt x="4521" y="4428"/>
                  </a:lnTo>
                  <a:lnTo>
                    <a:pt x="4434" y="4423"/>
                  </a:lnTo>
                  <a:lnTo>
                    <a:pt x="4347" y="4417"/>
                  </a:lnTo>
                  <a:lnTo>
                    <a:pt x="4263" y="4409"/>
                  </a:lnTo>
                  <a:lnTo>
                    <a:pt x="4180" y="4399"/>
                  </a:lnTo>
                  <a:lnTo>
                    <a:pt x="4099" y="4388"/>
                  </a:lnTo>
                  <a:lnTo>
                    <a:pt x="4020" y="4375"/>
                  </a:lnTo>
                  <a:lnTo>
                    <a:pt x="3942" y="4361"/>
                  </a:lnTo>
                  <a:lnTo>
                    <a:pt x="3866" y="4345"/>
                  </a:lnTo>
                  <a:lnTo>
                    <a:pt x="3792" y="4327"/>
                  </a:lnTo>
                  <a:lnTo>
                    <a:pt x="3722" y="4309"/>
                  </a:lnTo>
                  <a:lnTo>
                    <a:pt x="3652" y="4288"/>
                  </a:lnTo>
                  <a:lnTo>
                    <a:pt x="3584" y="4267"/>
                  </a:lnTo>
                  <a:lnTo>
                    <a:pt x="3520" y="4244"/>
                  </a:lnTo>
                  <a:lnTo>
                    <a:pt x="3459" y="4220"/>
                  </a:lnTo>
                  <a:lnTo>
                    <a:pt x="3459" y="4220"/>
                  </a:lnTo>
                  <a:lnTo>
                    <a:pt x="3537" y="3909"/>
                  </a:lnTo>
                  <a:lnTo>
                    <a:pt x="3578" y="3750"/>
                  </a:lnTo>
                  <a:lnTo>
                    <a:pt x="3578" y="3750"/>
                  </a:lnTo>
                  <a:lnTo>
                    <a:pt x="3583" y="3728"/>
                  </a:lnTo>
                  <a:lnTo>
                    <a:pt x="3588" y="3707"/>
                  </a:lnTo>
                  <a:lnTo>
                    <a:pt x="3592" y="3688"/>
                  </a:lnTo>
                  <a:lnTo>
                    <a:pt x="3594" y="3670"/>
                  </a:lnTo>
                  <a:lnTo>
                    <a:pt x="3596" y="3654"/>
                  </a:lnTo>
                  <a:lnTo>
                    <a:pt x="3596" y="3640"/>
                  </a:lnTo>
                  <a:lnTo>
                    <a:pt x="3596" y="3626"/>
                  </a:lnTo>
                  <a:lnTo>
                    <a:pt x="3595" y="3614"/>
                  </a:lnTo>
                  <a:lnTo>
                    <a:pt x="3593" y="3603"/>
                  </a:lnTo>
                  <a:lnTo>
                    <a:pt x="3591" y="3594"/>
                  </a:lnTo>
                  <a:lnTo>
                    <a:pt x="3586" y="3587"/>
                  </a:lnTo>
                  <a:lnTo>
                    <a:pt x="3583" y="3580"/>
                  </a:lnTo>
                  <a:lnTo>
                    <a:pt x="3578" y="3575"/>
                  </a:lnTo>
                  <a:lnTo>
                    <a:pt x="3573" y="3571"/>
                  </a:lnTo>
                  <a:lnTo>
                    <a:pt x="3568" y="3568"/>
                  </a:lnTo>
                  <a:lnTo>
                    <a:pt x="3561" y="3567"/>
                  </a:lnTo>
                  <a:lnTo>
                    <a:pt x="3555" y="3567"/>
                  </a:lnTo>
                  <a:lnTo>
                    <a:pt x="3548" y="3568"/>
                  </a:lnTo>
                  <a:lnTo>
                    <a:pt x="3542" y="3570"/>
                  </a:lnTo>
                  <a:lnTo>
                    <a:pt x="3534" y="3574"/>
                  </a:lnTo>
                  <a:lnTo>
                    <a:pt x="3526" y="3579"/>
                  </a:lnTo>
                  <a:lnTo>
                    <a:pt x="3519" y="3584"/>
                  </a:lnTo>
                  <a:lnTo>
                    <a:pt x="3512" y="3592"/>
                  </a:lnTo>
                  <a:lnTo>
                    <a:pt x="3503" y="3600"/>
                  </a:lnTo>
                  <a:lnTo>
                    <a:pt x="3496" y="3609"/>
                  </a:lnTo>
                  <a:lnTo>
                    <a:pt x="3488" y="3620"/>
                  </a:lnTo>
                  <a:lnTo>
                    <a:pt x="3480" y="3631"/>
                  </a:lnTo>
                  <a:lnTo>
                    <a:pt x="3473" y="3644"/>
                  </a:lnTo>
                  <a:lnTo>
                    <a:pt x="3466" y="3658"/>
                  </a:lnTo>
                  <a:lnTo>
                    <a:pt x="3459" y="3673"/>
                  </a:lnTo>
                  <a:lnTo>
                    <a:pt x="3451" y="3689"/>
                  </a:lnTo>
                  <a:lnTo>
                    <a:pt x="3445" y="3705"/>
                  </a:lnTo>
                  <a:lnTo>
                    <a:pt x="3445" y="3705"/>
                  </a:lnTo>
                  <a:lnTo>
                    <a:pt x="3396" y="3849"/>
                  </a:lnTo>
                  <a:lnTo>
                    <a:pt x="3297" y="4145"/>
                  </a:lnTo>
                  <a:lnTo>
                    <a:pt x="3297" y="4145"/>
                  </a:lnTo>
                  <a:lnTo>
                    <a:pt x="3256" y="4123"/>
                  </a:lnTo>
                  <a:lnTo>
                    <a:pt x="3217" y="4100"/>
                  </a:lnTo>
                  <a:lnTo>
                    <a:pt x="3180" y="4076"/>
                  </a:lnTo>
                  <a:lnTo>
                    <a:pt x="3145" y="4051"/>
                  </a:lnTo>
                  <a:lnTo>
                    <a:pt x="3111" y="4027"/>
                  </a:lnTo>
                  <a:lnTo>
                    <a:pt x="3080" y="4001"/>
                  </a:lnTo>
                  <a:lnTo>
                    <a:pt x="3052" y="3975"/>
                  </a:lnTo>
                  <a:lnTo>
                    <a:pt x="3025" y="3948"/>
                  </a:lnTo>
                  <a:lnTo>
                    <a:pt x="3000" y="3921"/>
                  </a:lnTo>
                  <a:lnTo>
                    <a:pt x="2978" y="3894"/>
                  </a:lnTo>
                  <a:lnTo>
                    <a:pt x="2958" y="3866"/>
                  </a:lnTo>
                  <a:lnTo>
                    <a:pt x="2942" y="3838"/>
                  </a:lnTo>
                  <a:lnTo>
                    <a:pt x="2926" y="3809"/>
                  </a:lnTo>
                  <a:lnTo>
                    <a:pt x="2920" y="3794"/>
                  </a:lnTo>
                  <a:lnTo>
                    <a:pt x="2915" y="3779"/>
                  </a:lnTo>
                  <a:lnTo>
                    <a:pt x="2910" y="3765"/>
                  </a:lnTo>
                  <a:lnTo>
                    <a:pt x="2904" y="3749"/>
                  </a:lnTo>
                  <a:lnTo>
                    <a:pt x="2900" y="3735"/>
                  </a:lnTo>
                  <a:lnTo>
                    <a:pt x="2897" y="3720"/>
                  </a:lnTo>
                  <a:lnTo>
                    <a:pt x="2897" y="3720"/>
                  </a:lnTo>
                  <a:lnTo>
                    <a:pt x="3251" y="2722"/>
                  </a:lnTo>
                  <a:lnTo>
                    <a:pt x="3251" y="2722"/>
                  </a:lnTo>
                  <a:lnTo>
                    <a:pt x="3256" y="2736"/>
                  </a:lnTo>
                  <a:lnTo>
                    <a:pt x="3261" y="2751"/>
                  </a:lnTo>
                  <a:lnTo>
                    <a:pt x="3267" y="2764"/>
                  </a:lnTo>
                  <a:lnTo>
                    <a:pt x="3275" y="2779"/>
                  </a:lnTo>
                  <a:lnTo>
                    <a:pt x="3283" y="2793"/>
                  </a:lnTo>
                  <a:lnTo>
                    <a:pt x="3291" y="2806"/>
                  </a:lnTo>
                  <a:lnTo>
                    <a:pt x="3301" y="2821"/>
                  </a:lnTo>
                  <a:lnTo>
                    <a:pt x="3310" y="2834"/>
                  </a:lnTo>
                  <a:lnTo>
                    <a:pt x="3332" y="2860"/>
                  </a:lnTo>
                  <a:lnTo>
                    <a:pt x="3357" y="2886"/>
                  </a:lnTo>
                  <a:lnTo>
                    <a:pt x="3384" y="2912"/>
                  </a:lnTo>
                  <a:lnTo>
                    <a:pt x="3413" y="2936"/>
                  </a:lnTo>
                  <a:lnTo>
                    <a:pt x="3445" y="2961"/>
                  </a:lnTo>
                  <a:lnTo>
                    <a:pt x="3479" y="2984"/>
                  </a:lnTo>
                  <a:lnTo>
                    <a:pt x="3517" y="3007"/>
                  </a:lnTo>
                  <a:lnTo>
                    <a:pt x="3555" y="3029"/>
                  </a:lnTo>
                  <a:lnTo>
                    <a:pt x="3597" y="3051"/>
                  </a:lnTo>
                  <a:lnTo>
                    <a:pt x="3640" y="3071"/>
                  </a:lnTo>
                  <a:lnTo>
                    <a:pt x="3685" y="3091"/>
                  </a:lnTo>
                  <a:lnTo>
                    <a:pt x="3733" y="3109"/>
                  </a:lnTo>
                  <a:lnTo>
                    <a:pt x="3782" y="3127"/>
                  </a:lnTo>
                  <a:lnTo>
                    <a:pt x="3833" y="3144"/>
                  </a:lnTo>
                  <a:lnTo>
                    <a:pt x="3886" y="3160"/>
                  </a:lnTo>
                  <a:lnTo>
                    <a:pt x="3940" y="3175"/>
                  </a:lnTo>
                  <a:lnTo>
                    <a:pt x="3996" y="3190"/>
                  </a:lnTo>
                  <a:lnTo>
                    <a:pt x="4054" y="3202"/>
                  </a:lnTo>
                  <a:lnTo>
                    <a:pt x="4112" y="3214"/>
                  </a:lnTo>
                  <a:lnTo>
                    <a:pt x="4174" y="3225"/>
                  </a:lnTo>
                  <a:lnTo>
                    <a:pt x="4235" y="3234"/>
                  </a:lnTo>
                  <a:lnTo>
                    <a:pt x="4299" y="3243"/>
                  </a:lnTo>
                  <a:lnTo>
                    <a:pt x="4362" y="3250"/>
                  </a:lnTo>
                  <a:lnTo>
                    <a:pt x="4427" y="3255"/>
                  </a:lnTo>
                  <a:lnTo>
                    <a:pt x="4494" y="3260"/>
                  </a:lnTo>
                  <a:lnTo>
                    <a:pt x="4562" y="3264"/>
                  </a:lnTo>
                  <a:lnTo>
                    <a:pt x="4629" y="3266"/>
                  </a:lnTo>
                  <a:lnTo>
                    <a:pt x="4699" y="3267"/>
                  </a:lnTo>
                  <a:lnTo>
                    <a:pt x="4699" y="3267"/>
                  </a:lnTo>
                  <a:close/>
                  <a:moveTo>
                    <a:pt x="6494" y="3744"/>
                  </a:moveTo>
                  <a:lnTo>
                    <a:pt x="6494" y="3744"/>
                  </a:lnTo>
                  <a:lnTo>
                    <a:pt x="6139" y="2744"/>
                  </a:lnTo>
                  <a:lnTo>
                    <a:pt x="6139" y="2744"/>
                  </a:lnTo>
                  <a:lnTo>
                    <a:pt x="6131" y="2760"/>
                  </a:lnTo>
                  <a:lnTo>
                    <a:pt x="6124" y="2776"/>
                  </a:lnTo>
                  <a:lnTo>
                    <a:pt x="6115" y="2793"/>
                  </a:lnTo>
                  <a:lnTo>
                    <a:pt x="6105" y="2808"/>
                  </a:lnTo>
                  <a:lnTo>
                    <a:pt x="6095" y="2824"/>
                  </a:lnTo>
                  <a:lnTo>
                    <a:pt x="6083" y="2839"/>
                  </a:lnTo>
                  <a:lnTo>
                    <a:pt x="6070" y="2855"/>
                  </a:lnTo>
                  <a:lnTo>
                    <a:pt x="6057" y="2870"/>
                  </a:lnTo>
                  <a:lnTo>
                    <a:pt x="6043" y="2884"/>
                  </a:lnTo>
                  <a:lnTo>
                    <a:pt x="6027" y="2900"/>
                  </a:lnTo>
                  <a:lnTo>
                    <a:pt x="6012" y="2913"/>
                  </a:lnTo>
                  <a:lnTo>
                    <a:pt x="5995" y="2928"/>
                  </a:lnTo>
                  <a:lnTo>
                    <a:pt x="5978" y="2943"/>
                  </a:lnTo>
                  <a:lnTo>
                    <a:pt x="5959" y="2956"/>
                  </a:lnTo>
                  <a:lnTo>
                    <a:pt x="5939" y="2970"/>
                  </a:lnTo>
                  <a:lnTo>
                    <a:pt x="5919" y="2983"/>
                  </a:lnTo>
                  <a:lnTo>
                    <a:pt x="5919" y="2983"/>
                  </a:lnTo>
                  <a:lnTo>
                    <a:pt x="6233" y="4065"/>
                  </a:lnTo>
                  <a:lnTo>
                    <a:pt x="6233" y="4065"/>
                  </a:lnTo>
                  <a:lnTo>
                    <a:pt x="6259" y="4047"/>
                  </a:lnTo>
                  <a:lnTo>
                    <a:pt x="6283" y="4028"/>
                  </a:lnTo>
                  <a:lnTo>
                    <a:pt x="6306" y="4010"/>
                  </a:lnTo>
                  <a:lnTo>
                    <a:pt x="6328" y="3991"/>
                  </a:lnTo>
                  <a:lnTo>
                    <a:pt x="6349" y="3972"/>
                  </a:lnTo>
                  <a:lnTo>
                    <a:pt x="6368" y="3952"/>
                  </a:lnTo>
                  <a:lnTo>
                    <a:pt x="6387" y="3932"/>
                  </a:lnTo>
                  <a:lnTo>
                    <a:pt x="6404" y="3913"/>
                  </a:lnTo>
                  <a:lnTo>
                    <a:pt x="6420" y="3893"/>
                  </a:lnTo>
                  <a:lnTo>
                    <a:pt x="6435" y="3872"/>
                  </a:lnTo>
                  <a:lnTo>
                    <a:pt x="6447" y="3851"/>
                  </a:lnTo>
                  <a:lnTo>
                    <a:pt x="6460" y="3830"/>
                  </a:lnTo>
                  <a:lnTo>
                    <a:pt x="6470" y="3809"/>
                  </a:lnTo>
                  <a:lnTo>
                    <a:pt x="6480" y="3788"/>
                  </a:lnTo>
                  <a:lnTo>
                    <a:pt x="6488" y="3766"/>
                  </a:lnTo>
                  <a:lnTo>
                    <a:pt x="6494" y="3744"/>
                  </a:lnTo>
                  <a:lnTo>
                    <a:pt x="6494" y="3744"/>
                  </a:lnTo>
                  <a:close/>
                  <a:moveTo>
                    <a:pt x="5379" y="616"/>
                  </a:moveTo>
                  <a:lnTo>
                    <a:pt x="5379" y="616"/>
                  </a:lnTo>
                  <a:lnTo>
                    <a:pt x="5551" y="1095"/>
                  </a:lnTo>
                  <a:lnTo>
                    <a:pt x="5776" y="1726"/>
                  </a:lnTo>
                  <a:lnTo>
                    <a:pt x="5776" y="1726"/>
                  </a:lnTo>
                  <a:lnTo>
                    <a:pt x="5756" y="1741"/>
                  </a:lnTo>
                  <a:lnTo>
                    <a:pt x="5736" y="1757"/>
                  </a:lnTo>
                  <a:lnTo>
                    <a:pt x="5715" y="1771"/>
                  </a:lnTo>
                  <a:lnTo>
                    <a:pt x="5691" y="1787"/>
                  </a:lnTo>
                  <a:lnTo>
                    <a:pt x="5667" y="1801"/>
                  </a:lnTo>
                  <a:lnTo>
                    <a:pt x="5642" y="1815"/>
                  </a:lnTo>
                  <a:lnTo>
                    <a:pt x="5616" y="1829"/>
                  </a:lnTo>
                  <a:lnTo>
                    <a:pt x="5588" y="1842"/>
                  </a:lnTo>
                  <a:lnTo>
                    <a:pt x="5588" y="1842"/>
                  </a:lnTo>
                  <a:lnTo>
                    <a:pt x="5259" y="706"/>
                  </a:lnTo>
                  <a:lnTo>
                    <a:pt x="5259" y="706"/>
                  </a:lnTo>
                  <a:lnTo>
                    <a:pt x="5278" y="695"/>
                  </a:lnTo>
                  <a:lnTo>
                    <a:pt x="5296" y="685"/>
                  </a:lnTo>
                  <a:lnTo>
                    <a:pt x="5312" y="674"/>
                  </a:lnTo>
                  <a:lnTo>
                    <a:pt x="5327" y="663"/>
                  </a:lnTo>
                  <a:lnTo>
                    <a:pt x="5341" y="651"/>
                  </a:lnTo>
                  <a:lnTo>
                    <a:pt x="5355" y="640"/>
                  </a:lnTo>
                  <a:lnTo>
                    <a:pt x="5367" y="628"/>
                  </a:lnTo>
                  <a:lnTo>
                    <a:pt x="5379" y="616"/>
                  </a:lnTo>
                  <a:lnTo>
                    <a:pt x="5379" y="616"/>
                  </a:lnTo>
                  <a:close/>
                  <a:moveTo>
                    <a:pt x="3609" y="1714"/>
                  </a:moveTo>
                  <a:lnTo>
                    <a:pt x="3609" y="1714"/>
                  </a:lnTo>
                  <a:lnTo>
                    <a:pt x="3628" y="1731"/>
                  </a:lnTo>
                  <a:lnTo>
                    <a:pt x="3648" y="1746"/>
                  </a:lnTo>
                  <a:lnTo>
                    <a:pt x="3669" y="1762"/>
                  </a:lnTo>
                  <a:lnTo>
                    <a:pt x="3691" y="1778"/>
                  </a:lnTo>
                  <a:lnTo>
                    <a:pt x="3715" y="1792"/>
                  </a:lnTo>
                  <a:lnTo>
                    <a:pt x="3740" y="1807"/>
                  </a:lnTo>
                  <a:lnTo>
                    <a:pt x="3766" y="1820"/>
                  </a:lnTo>
                  <a:lnTo>
                    <a:pt x="3793" y="1834"/>
                  </a:lnTo>
                  <a:lnTo>
                    <a:pt x="3821" y="1848"/>
                  </a:lnTo>
                  <a:lnTo>
                    <a:pt x="3850" y="1861"/>
                  </a:lnTo>
                  <a:lnTo>
                    <a:pt x="3881" y="1874"/>
                  </a:lnTo>
                  <a:lnTo>
                    <a:pt x="3912" y="1885"/>
                  </a:lnTo>
                  <a:lnTo>
                    <a:pt x="3944" y="1897"/>
                  </a:lnTo>
                  <a:lnTo>
                    <a:pt x="3977" y="1908"/>
                  </a:lnTo>
                  <a:lnTo>
                    <a:pt x="4011" y="1918"/>
                  </a:lnTo>
                  <a:lnTo>
                    <a:pt x="4046" y="1928"/>
                  </a:lnTo>
                  <a:lnTo>
                    <a:pt x="4081" y="1938"/>
                  </a:lnTo>
                  <a:lnTo>
                    <a:pt x="4118" y="1947"/>
                  </a:lnTo>
                  <a:lnTo>
                    <a:pt x="4155" y="1955"/>
                  </a:lnTo>
                  <a:lnTo>
                    <a:pt x="4194" y="1963"/>
                  </a:lnTo>
                  <a:lnTo>
                    <a:pt x="4232" y="1971"/>
                  </a:lnTo>
                  <a:lnTo>
                    <a:pt x="4272" y="1978"/>
                  </a:lnTo>
                  <a:lnTo>
                    <a:pt x="4312" y="1983"/>
                  </a:lnTo>
                  <a:lnTo>
                    <a:pt x="4353" y="1989"/>
                  </a:lnTo>
                  <a:lnTo>
                    <a:pt x="4394" y="1994"/>
                  </a:lnTo>
                  <a:lnTo>
                    <a:pt x="4436" y="1999"/>
                  </a:lnTo>
                  <a:lnTo>
                    <a:pt x="4478" y="2002"/>
                  </a:lnTo>
                  <a:lnTo>
                    <a:pt x="4522" y="2005"/>
                  </a:lnTo>
                  <a:lnTo>
                    <a:pt x="4565" y="2008"/>
                  </a:lnTo>
                  <a:lnTo>
                    <a:pt x="4609" y="2009"/>
                  </a:lnTo>
                  <a:lnTo>
                    <a:pt x="4654" y="2010"/>
                  </a:lnTo>
                  <a:lnTo>
                    <a:pt x="4699" y="2011"/>
                  </a:lnTo>
                  <a:lnTo>
                    <a:pt x="4699" y="2011"/>
                  </a:lnTo>
                  <a:lnTo>
                    <a:pt x="4742" y="2010"/>
                  </a:lnTo>
                  <a:lnTo>
                    <a:pt x="4785" y="2009"/>
                  </a:lnTo>
                  <a:lnTo>
                    <a:pt x="4828" y="2008"/>
                  </a:lnTo>
                  <a:lnTo>
                    <a:pt x="4870" y="2006"/>
                  </a:lnTo>
                  <a:lnTo>
                    <a:pt x="4912" y="2003"/>
                  </a:lnTo>
                  <a:lnTo>
                    <a:pt x="4954" y="1999"/>
                  </a:lnTo>
                  <a:lnTo>
                    <a:pt x="4994" y="1994"/>
                  </a:lnTo>
                  <a:lnTo>
                    <a:pt x="5034" y="1990"/>
                  </a:lnTo>
                  <a:lnTo>
                    <a:pt x="5034" y="1990"/>
                  </a:lnTo>
                  <a:lnTo>
                    <a:pt x="4919" y="805"/>
                  </a:lnTo>
                  <a:lnTo>
                    <a:pt x="4919" y="805"/>
                  </a:lnTo>
                  <a:lnTo>
                    <a:pt x="4866" y="811"/>
                  </a:lnTo>
                  <a:lnTo>
                    <a:pt x="4811" y="815"/>
                  </a:lnTo>
                  <a:lnTo>
                    <a:pt x="4756" y="818"/>
                  </a:lnTo>
                  <a:lnTo>
                    <a:pt x="4699" y="819"/>
                  </a:lnTo>
                  <a:lnTo>
                    <a:pt x="4699" y="819"/>
                  </a:lnTo>
                  <a:lnTo>
                    <a:pt x="4639" y="818"/>
                  </a:lnTo>
                  <a:lnTo>
                    <a:pt x="4579" y="815"/>
                  </a:lnTo>
                  <a:lnTo>
                    <a:pt x="4522" y="810"/>
                  </a:lnTo>
                  <a:lnTo>
                    <a:pt x="4467" y="802"/>
                  </a:lnTo>
                  <a:lnTo>
                    <a:pt x="4413" y="794"/>
                  </a:lnTo>
                  <a:lnTo>
                    <a:pt x="4362" y="784"/>
                  </a:lnTo>
                  <a:lnTo>
                    <a:pt x="4312" y="771"/>
                  </a:lnTo>
                  <a:lnTo>
                    <a:pt x="4265" y="758"/>
                  </a:lnTo>
                  <a:lnTo>
                    <a:pt x="4222" y="742"/>
                  </a:lnTo>
                  <a:lnTo>
                    <a:pt x="4181" y="725"/>
                  </a:lnTo>
                  <a:lnTo>
                    <a:pt x="4161" y="717"/>
                  </a:lnTo>
                  <a:lnTo>
                    <a:pt x="4143" y="708"/>
                  </a:lnTo>
                  <a:lnTo>
                    <a:pt x="4125" y="698"/>
                  </a:lnTo>
                  <a:lnTo>
                    <a:pt x="4108" y="689"/>
                  </a:lnTo>
                  <a:lnTo>
                    <a:pt x="4093" y="678"/>
                  </a:lnTo>
                  <a:lnTo>
                    <a:pt x="4077" y="668"/>
                  </a:lnTo>
                  <a:lnTo>
                    <a:pt x="4063" y="658"/>
                  </a:lnTo>
                  <a:lnTo>
                    <a:pt x="4050" y="647"/>
                  </a:lnTo>
                  <a:lnTo>
                    <a:pt x="4038" y="636"/>
                  </a:lnTo>
                  <a:lnTo>
                    <a:pt x="4026" y="624"/>
                  </a:lnTo>
                  <a:lnTo>
                    <a:pt x="4016" y="613"/>
                  </a:lnTo>
                  <a:lnTo>
                    <a:pt x="4006" y="601"/>
                  </a:lnTo>
                  <a:lnTo>
                    <a:pt x="4006" y="601"/>
                  </a:lnTo>
                  <a:lnTo>
                    <a:pt x="3837" y="1073"/>
                  </a:lnTo>
                  <a:lnTo>
                    <a:pt x="3609" y="1714"/>
                  </a:lnTo>
                  <a:lnTo>
                    <a:pt x="3609" y="1714"/>
                  </a:lnTo>
                  <a:close/>
                  <a:moveTo>
                    <a:pt x="4301" y="171"/>
                  </a:moveTo>
                  <a:lnTo>
                    <a:pt x="4301" y="171"/>
                  </a:lnTo>
                  <a:lnTo>
                    <a:pt x="4302" y="180"/>
                  </a:lnTo>
                  <a:lnTo>
                    <a:pt x="4303" y="189"/>
                  </a:lnTo>
                  <a:lnTo>
                    <a:pt x="4305" y="197"/>
                  </a:lnTo>
                  <a:lnTo>
                    <a:pt x="4309" y="205"/>
                  </a:lnTo>
                  <a:lnTo>
                    <a:pt x="4313" y="214"/>
                  </a:lnTo>
                  <a:lnTo>
                    <a:pt x="4318" y="222"/>
                  </a:lnTo>
                  <a:lnTo>
                    <a:pt x="4325" y="230"/>
                  </a:lnTo>
                  <a:lnTo>
                    <a:pt x="4332" y="238"/>
                  </a:lnTo>
                  <a:lnTo>
                    <a:pt x="4340" y="245"/>
                  </a:lnTo>
                  <a:lnTo>
                    <a:pt x="4348" y="252"/>
                  </a:lnTo>
                  <a:lnTo>
                    <a:pt x="4358" y="260"/>
                  </a:lnTo>
                  <a:lnTo>
                    <a:pt x="4368" y="267"/>
                  </a:lnTo>
                  <a:lnTo>
                    <a:pt x="4391" y="279"/>
                  </a:lnTo>
                  <a:lnTo>
                    <a:pt x="4417" y="292"/>
                  </a:lnTo>
                  <a:lnTo>
                    <a:pt x="4445" y="303"/>
                  </a:lnTo>
                  <a:lnTo>
                    <a:pt x="4476" y="313"/>
                  </a:lnTo>
                  <a:lnTo>
                    <a:pt x="4509" y="321"/>
                  </a:lnTo>
                  <a:lnTo>
                    <a:pt x="4544" y="328"/>
                  </a:lnTo>
                  <a:lnTo>
                    <a:pt x="4580" y="335"/>
                  </a:lnTo>
                  <a:lnTo>
                    <a:pt x="4619" y="339"/>
                  </a:lnTo>
                  <a:lnTo>
                    <a:pt x="4658" y="341"/>
                  </a:lnTo>
                  <a:lnTo>
                    <a:pt x="4699" y="342"/>
                  </a:lnTo>
                  <a:lnTo>
                    <a:pt x="4699" y="342"/>
                  </a:lnTo>
                  <a:lnTo>
                    <a:pt x="4739" y="341"/>
                  </a:lnTo>
                  <a:lnTo>
                    <a:pt x="4779" y="339"/>
                  </a:lnTo>
                  <a:lnTo>
                    <a:pt x="4817" y="335"/>
                  </a:lnTo>
                  <a:lnTo>
                    <a:pt x="4854" y="328"/>
                  </a:lnTo>
                  <a:lnTo>
                    <a:pt x="4888" y="321"/>
                  </a:lnTo>
                  <a:lnTo>
                    <a:pt x="4921" y="313"/>
                  </a:lnTo>
                  <a:lnTo>
                    <a:pt x="4951" y="303"/>
                  </a:lnTo>
                  <a:lnTo>
                    <a:pt x="4980" y="292"/>
                  </a:lnTo>
                  <a:lnTo>
                    <a:pt x="5006" y="279"/>
                  </a:lnTo>
                  <a:lnTo>
                    <a:pt x="5028" y="267"/>
                  </a:lnTo>
                  <a:lnTo>
                    <a:pt x="5039" y="260"/>
                  </a:lnTo>
                  <a:lnTo>
                    <a:pt x="5048" y="252"/>
                  </a:lnTo>
                  <a:lnTo>
                    <a:pt x="5057" y="245"/>
                  </a:lnTo>
                  <a:lnTo>
                    <a:pt x="5066" y="238"/>
                  </a:lnTo>
                  <a:lnTo>
                    <a:pt x="5072" y="230"/>
                  </a:lnTo>
                  <a:lnTo>
                    <a:pt x="5078" y="222"/>
                  </a:lnTo>
                  <a:lnTo>
                    <a:pt x="5085" y="214"/>
                  </a:lnTo>
                  <a:lnTo>
                    <a:pt x="5089" y="205"/>
                  </a:lnTo>
                  <a:lnTo>
                    <a:pt x="5092" y="197"/>
                  </a:lnTo>
                  <a:lnTo>
                    <a:pt x="5095" y="189"/>
                  </a:lnTo>
                  <a:lnTo>
                    <a:pt x="5096" y="180"/>
                  </a:lnTo>
                  <a:lnTo>
                    <a:pt x="5097" y="171"/>
                  </a:lnTo>
                  <a:lnTo>
                    <a:pt x="5097" y="171"/>
                  </a:lnTo>
                  <a:lnTo>
                    <a:pt x="5096" y="163"/>
                  </a:lnTo>
                  <a:lnTo>
                    <a:pt x="5095" y="153"/>
                  </a:lnTo>
                  <a:lnTo>
                    <a:pt x="5092" y="145"/>
                  </a:lnTo>
                  <a:lnTo>
                    <a:pt x="5089" y="137"/>
                  </a:lnTo>
                  <a:lnTo>
                    <a:pt x="5085" y="128"/>
                  </a:lnTo>
                  <a:lnTo>
                    <a:pt x="5078" y="120"/>
                  </a:lnTo>
                  <a:lnTo>
                    <a:pt x="5072" y="113"/>
                  </a:lnTo>
                  <a:lnTo>
                    <a:pt x="5066" y="104"/>
                  </a:lnTo>
                  <a:lnTo>
                    <a:pt x="5057" y="97"/>
                  </a:lnTo>
                  <a:lnTo>
                    <a:pt x="5048" y="90"/>
                  </a:lnTo>
                  <a:lnTo>
                    <a:pt x="5039" y="83"/>
                  </a:lnTo>
                  <a:lnTo>
                    <a:pt x="5028" y="75"/>
                  </a:lnTo>
                  <a:lnTo>
                    <a:pt x="5006" y="63"/>
                  </a:lnTo>
                  <a:lnTo>
                    <a:pt x="4980" y="50"/>
                  </a:lnTo>
                  <a:lnTo>
                    <a:pt x="4951" y="39"/>
                  </a:lnTo>
                  <a:lnTo>
                    <a:pt x="4921" y="29"/>
                  </a:lnTo>
                  <a:lnTo>
                    <a:pt x="4888" y="21"/>
                  </a:lnTo>
                  <a:lnTo>
                    <a:pt x="4854" y="14"/>
                  </a:lnTo>
                  <a:lnTo>
                    <a:pt x="4817" y="7"/>
                  </a:lnTo>
                  <a:lnTo>
                    <a:pt x="4779" y="3"/>
                  </a:lnTo>
                  <a:lnTo>
                    <a:pt x="4739" y="1"/>
                  </a:lnTo>
                  <a:lnTo>
                    <a:pt x="4699" y="0"/>
                  </a:lnTo>
                  <a:lnTo>
                    <a:pt x="4699" y="0"/>
                  </a:lnTo>
                  <a:lnTo>
                    <a:pt x="4658" y="1"/>
                  </a:lnTo>
                  <a:lnTo>
                    <a:pt x="4619" y="3"/>
                  </a:lnTo>
                  <a:lnTo>
                    <a:pt x="4580" y="7"/>
                  </a:lnTo>
                  <a:lnTo>
                    <a:pt x="4544" y="14"/>
                  </a:lnTo>
                  <a:lnTo>
                    <a:pt x="4509" y="21"/>
                  </a:lnTo>
                  <a:lnTo>
                    <a:pt x="4476" y="29"/>
                  </a:lnTo>
                  <a:lnTo>
                    <a:pt x="4445" y="39"/>
                  </a:lnTo>
                  <a:lnTo>
                    <a:pt x="4417" y="50"/>
                  </a:lnTo>
                  <a:lnTo>
                    <a:pt x="4391" y="63"/>
                  </a:lnTo>
                  <a:lnTo>
                    <a:pt x="4368" y="75"/>
                  </a:lnTo>
                  <a:lnTo>
                    <a:pt x="4358" y="83"/>
                  </a:lnTo>
                  <a:lnTo>
                    <a:pt x="4348" y="90"/>
                  </a:lnTo>
                  <a:lnTo>
                    <a:pt x="4340" y="97"/>
                  </a:lnTo>
                  <a:lnTo>
                    <a:pt x="4332" y="104"/>
                  </a:lnTo>
                  <a:lnTo>
                    <a:pt x="4325" y="113"/>
                  </a:lnTo>
                  <a:lnTo>
                    <a:pt x="4318" y="120"/>
                  </a:lnTo>
                  <a:lnTo>
                    <a:pt x="4313" y="128"/>
                  </a:lnTo>
                  <a:lnTo>
                    <a:pt x="4309" y="137"/>
                  </a:lnTo>
                  <a:lnTo>
                    <a:pt x="4305" y="145"/>
                  </a:lnTo>
                  <a:lnTo>
                    <a:pt x="4303" y="153"/>
                  </a:lnTo>
                  <a:lnTo>
                    <a:pt x="4302" y="163"/>
                  </a:lnTo>
                  <a:lnTo>
                    <a:pt x="4301" y="171"/>
                  </a:lnTo>
                  <a:lnTo>
                    <a:pt x="4301" y="171"/>
                  </a:lnTo>
                  <a:close/>
                </a:path>
              </a:pathLst>
            </a:custGeom>
            <a:solidFill>
              <a:srgbClr val="F15A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3" name="Freeform 44"/>
            <p:cNvSpPr>
              <a:spLocks/>
            </p:cNvSpPr>
            <p:nvPr/>
          </p:nvSpPr>
          <p:spPr bwMode="auto">
            <a:xfrm flipH="1">
              <a:off x="4833737" y="3416855"/>
              <a:ext cx="1731300" cy="327639"/>
            </a:xfrm>
            <a:custGeom>
              <a:avLst/>
              <a:gdLst>
                <a:gd name="T0" fmla="*/ 1 w 9393"/>
                <a:gd name="T1" fmla="*/ 18 h 2287"/>
                <a:gd name="T2" fmla="*/ 11 w 9393"/>
                <a:gd name="T3" fmla="*/ 67 h 2287"/>
                <a:gd name="T4" fmla="*/ 30 w 9393"/>
                <a:gd name="T5" fmla="*/ 111 h 2287"/>
                <a:gd name="T6" fmla="*/ 61 w 9393"/>
                <a:gd name="T7" fmla="*/ 155 h 2287"/>
                <a:gd name="T8" fmla="*/ 108 w 9393"/>
                <a:gd name="T9" fmla="*/ 196 h 2287"/>
                <a:gd name="T10" fmla="*/ 196 w 9393"/>
                <a:gd name="T11" fmla="*/ 241 h 2287"/>
                <a:gd name="T12" fmla="*/ 1465 w 9393"/>
                <a:gd name="T13" fmla="*/ 844 h 2287"/>
                <a:gd name="T14" fmla="*/ 4164 w 9393"/>
                <a:gd name="T15" fmla="*/ 2117 h 2287"/>
                <a:gd name="T16" fmla="*/ 4206 w 9393"/>
                <a:gd name="T17" fmla="*/ 2132 h 2287"/>
                <a:gd name="T18" fmla="*/ 4319 w 9393"/>
                <a:gd name="T19" fmla="*/ 2166 h 2287"/>
                <a:gd name="T20" fmla="*/ 4442 w 9393"/>
                <a:gd name="T21" fmla="*/ 2192 h 2287"/>
                <a:gd name="T22" fmla="*/ 4588 w 9393"/>
                <a:gd name="T23" fmla="*/ 2211 h 2287"/>
                <a:gd name="T24" fmla="*/ 4697 w 9393"/>
                <a:gd name="T25" fmla="*/ 2215 h 2287"/>
                <a:gd name="T26" fmla="*/ 4855 w 9393"/>
                <a:gd name="T27" fmla="*/ 2207 h 2287"/>
                <a:gd name="T28" fmla="*/ 4994 w 9393"/>
                <a:gd name="T29" fmla="*/ 2184 h 2287"/>
                <a:gd name="T30" fmla="*/ 5107 w 9393"/>
                <a:gd name="T31" fmla="*/ 2157 h 2287"/>
                <a:gd name="T32" fmla="*/ 5217 w 9393"/>
                <a:gd name="T33" fmla="*/ 2122 h 2287"/>
                <a:gd name="T34" fmla="*/ 5839 w 9393"/>
                <a:gd name="T35" fmla="*/ 1829 h 2287"/>
                <a:gd name="T36" fmla="*/ 8576 w 9393"/>
                <a:gd name="T37" fmla="*/ 537 h 2287"/>
                <a:gd name="T38" fmla="*/ 9265 w 9393"/>
                <a:gd name="T39" fmla="*/ 207 h 2287"/>
                <a:gd name="T40" fmla="*/ 9302 w 9393"/>
                <a:gd name="T41" fmla="*/ 182 h 2287"/>
                <a:gd name="T42" fmla="*/ 9344 w 9393"/>
                <a:gd name="T43" fmla="*/ 141 h 2287"/>
                <a:gd name="T44" fmla="*/ 9371 w 9393"/>
                <a:gd name="T45" fmla="*/ 96 h 2287"/>
                <a:gd name="T46" fmla="*/ 9385 w 9393"/>
                <a:gd name="T47" fmla="*/ 53 h 2287"/>
                <a:gd name="T48" fmla="*/ 9393 w 9393"/>
                <a:gd name="T49" fmla="*/ 0 h 2287"/>
                <a:gd name="T50" fmla="*/ 9393 w 9393"/>
                <a:gd name="T51" fmla="*/ 57 h 2287"/>
                <a:gd name="T52" fmla="*/ 9391 w 9393"/>
                <a:gd name="T53" fmla="*/ 94 h 2287"/>
                <a:gd name="T54" fmla="*/ 9380 w 9393"/>
                <a:gd name="T55" fmla="*/ 140 h 2287"/>
                <a:gd name="T56" fmla="*/ 9355 w 9393"/>
                <a:gd name="T57" fmla="*/ 195 h 2287"/>
                <a:gd name="T58" fmla="*/ 9319 w 9393"/>
                <a:gd name="T59" fmla="*/ 240 h 2287"/>
                <a:gd name="T60" fmla="*/ 9289 w 9393"/>
                <a:gd name="T61" fmla="*/ 265 h 2287"/>
                <a:gd name="T62" fmla="*/ 9265 w 9393"/>
                <a:gd name="T63" fmla="*/ 279 h 2287"/>
                <a:gd name="T64" fmla="*/ 8576 w 9393"/>
                <a:gd name="T65" fmla="*/ 609 h 2287"/>
                <a:gd name="T66" fmla="*/ 5839 w 9393"/>
                <a:gd name="T67" fmla="*/ 1901 h 2287"/>
                <a:gd name="T68" fmla="*/ 5217 w 9393"/>
                <a:gd name="T69" fmla="*/ 2192 h 2287"/>
                <a:gd name="T70" fmla="*/ 5107 w 9393"/>
                <a:gd name="T71" fmla="*/ 2229 h 2287"/>
                <a:gd name="T72" fmla="*/ 4994 w 9393"/>
                <a:gd name="T73" fmla="*/ 2256 h 2287"/>
                <a:gd name="T74" fmla="*/ 4855 w 9393"/>
                <a:gd name="T75" fmla="*/ 2278 h 2287"/>
                <a:gd name="T76" fmla="*/ 4697 w 9393"/>
                <a:gd name="T77" fmla="*/ 2287 h 2287"/>
                <a:gd name="T78" fmla="*/ 4588 w 9393"/>
                <a:gd name="T79" fmla="*/ 2283 h 2287"/>
                <a:gd name="T80" fmla="*/ 4442 w 9393"/>
                <a:gd name="T81" fmla="*/ 2264 h 2287"/>
                <a:gd name="T82" fmla="*/ 4319 w 9393"/>
                <a:gd name="T83" fmla="*/ 2238 h 2287"/>
                <a:gd name="T84" fmla="*/ 4206 w 9393"/>
                <a:gd name="T85" fmla="*/ 2204 h 2287"/>
                <a:gd name="T86" fmla="*/ 4164 w 9393"/>
                <a:gd name="T87" fmla="*/ 2188 h 2287"/>
                <a:gd name="T88" fmla="*/ 1465 w 9393"/>
                <a:gd name="T89" fmla="*/ 916 h 2287"/>
                <a:gd name="T90" fmla="*/ 196 w 9393"/>
                <a:gd name="T91" fmla="*/ 313 h 2287"/>
                <a:gd name="T92" fmla="*/ 115 w 9393"/>
                <a:gd name="T93" fmla="*/ 272 h 2287"/>
                <a:gd name="T94" fmla="*/ 83 w 9393"/>
                <a:gd name="T95" fmla="*/ 248 h 2287"/>
                <a:gd name="T96" fmla="*/ 49 w 9393"/>
                <a:gd name="T97" fmla="*/ 213 h 2287"/>
                <a:gd name="T98" fmla="*/ 18 w 9393"/>
                <a:gd name="T99" fmla="*/ 158 h 2287"/>
                <a:gd name="T100" fmla="*/ 4 w 9393"/>
                <a:gd name="T101" fmla="*/ 107 h 2287"/>
                <a:gd name="T102" fmla="*/ 0 w 9393"/>
                <a:gd name="T103" fmla="*/ 64 h 2287"/>
                <a:gd name="T104" fmla="*/ 0 w 9393"/>
                <a:gd name="T105" fmla="*/ 0 h 2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393" h="2287">
                  <a:moveTo>
                    <a:pt x="0" y="0"/>
                  </a:moveTo>
                  <a:lnTo>
                    <a:pt x="0" y="0"/>
                  </a:lnTo>
                  <a:lnTo>
                    <a:pt x="1" y="18"/>
                  </a:lnTo>
                  <a:lnTo>
                    <a:pt x="5" y="40"/>
                  </a:lnTo>
                  <a:lnTo>
                    <a:pt x="8" y="53"/>
                  </a:lnTo>
                  <a:lnTo>
                    <a:pt x="11" y="67"/>
                  </a:lnTo>
                  <a:lnTo>
                    <a:pt x="16" y="81"/>
                  </a:lnTo>
                  <a:lnTo>
                    <a:pt x="22" y="96"/>
                  </a:lnTo>
                  <a:lnTo>
                    <a:pt x="30" y="111"/>
                  </a:lnTo>
                  <a:lnTo>
                    <a:pt x="38" y="125"/>
                  </a:lnTo>
                  <a:lnTo>
                    <a:pt x="48" y="141"/>
                  </a:lnTo>
                  <a:lnTo>
                    <a:pt x="61" y="155"/>
                  </a:lnTo>
                  <a:lnTo>
                    <a:pt x="74" y="169"/>
                  </a:lnTo>
                  <a:lnTo>
                    <a:pt x="90" y="182"/>
                  </a:lnTo>
                  <a:lnTo>
                    <a:pt x="108" y="196"/>
                  </a:lnTo>
                  <a:lnTo>
                    <a:pt x="127" y="207"/>
                  </a:lnTo>
                  <a:lnTo>
                    <a:pt x="127" y="207"/>
                  </a:lnTo>
                  <a:lnTo>
                    <a:pt x="196" y="241"/>
                  </a:lnTo>
                  <a:lnTo>
                    <a:pt x="341" y="311"/>
                  </a:lnTo>
                  <a:lnTo>
                    <a:pt x="817" y="537"/>
                  </a:lnTo>
                  <a:lnTo>
                    <a:pt x="1465" y="844"/>
                  </a:lnTo>
                  <a:lnTo>
                    <a:pt x="2197" y="1190"/>
                  </a:lnTo>
                  <a:lnTo>
                    <a:pt x="3553" y="1829"/>
                  </a:lnTo>
                  <a:lnTo>
                    <a:pt x="4164" y="2117"/>
                  </a:lnTo>
                  <a:lnTo>
                    <a:pt x="4164" y="2117"/>
                  </a:lnTo>
                  <a:lnTo>
                    <a:pt x="4176" y="2122"/>
                  </a:lnTo>
                  <a:lnTo>
                    <a:pt x="4206" y="2132"/>
                  </a:lnTo>
                  <a:lnTo>
                    <a:pt x="4255" y="2149"/>
                  </a:lnTo>
                  <a:lnTo>
                    <a:pt x="4285" y="2157"/>
                  </a:lnTo>
                  <a:lnTo>
                    <a:pt x="4319" y="2166"/>
                  </a:lnTo>
                  <a:lnTo>
                    <a:pt x="4358" y="2176"/>
                  </a:lnTo>
                  <a:lnTo>
                    <a:pt x="4398" y="2184"/>
                  </a:lnTo>
                  <a:lnTo>
                    <a:pt x="4442" y="2192"/>
                  </a:lnTo>
                  <a:lnTo>
                    <a:pt x="4489" y="2201"/>
                  </a:lnTo>
                  <a:lnTo>
                    <a:pt x="4538" y="2207"/>
                  </a:lnTo>
                  <a:lnTo>
                    <a:pt x="4588" y="2211"/>
                  </a:lnTo>
                  <a:lnTo>
                    <a:pt x="4642" y="2214"/>
                  </a:lnTo>
                  <a:lnTo>
                    <a:pt x="4697" y="2215"/>
                  </a:lnTo>
                  <a:lnTo>
                    <a:pt x="4697" y="2215"/>
                  </a:lnTo>
                  <a:lnTo>
                    <a:pt x="4751" y="2214"/>
                  </a:lnTo>
                  <a:lnTo>
                    <a:pt x="4804" y="2211"/>
                  </a:lnTo>
                  <a:lnTo>
                    <a:pt x="4855" y="2207"/>
                  </a:lnTo>
                  <a:lnTo>
                    <a:pt x="4904" y="2201"/>
                  </a:lnTo>
                  <a:lnTo>
                    <a:pt x="4950" y="2192"/>
                  </a:lnTo>
                  <a:lnTo>
                    <a:pt x="4994" y="2184"/>
                  </a:lnTo>
                  <a:lnTo>
                    <a:pt x="5036" y="2176"/>
                  </a:lnTo>
                  <a:lnTo>
                    <a:pt x="5073" y="2166"/>
                  </a:lnTo>
                  <a:lnTo>
                    <a:pt x="5107" y="2157"/>
                  </a:lnTo>
                  <a:lnTo>
                    <a:pt x="5137" y="2149"/>
                  </a:lnTo>
                  <a:lnTo>
                    <a:pt x="5186" y="2132"/>
                  </a:lnTo>
                  <a:lnTo>
                    <a:pt x="5217" y="2122"/>
                  </a:lnTo>
                  <a:lnTo>
                    <a:pt x="5228" y="2117"/>
                  </a:lnTo>
                  <a:lnTo>
                    <a:pt x="5228" y="2117"/>
                  </a:lnTo>
                  <a:lnTo>
                    <a:pt x="5839" y="1829"/>
                  </a:lnTo>
                  <a:lnTo>
                    <a:pt x="7195" y="1190"/>
                  </a:lnTo>
                  <a:lnTo>
                    <a:pt x="7927" y="844"/>
                  </a:lnTo>
                  <a:lnTo>
                    <a:pt x="8576" y="537"/>
                  </a:lnTo>
                  <a:lnTo>
                    <a:pt x="9052" y="311"/>
                  </a:lnTo>
                  <a:lnTo>
                    <a:pt x="9197" y="241"/>
                  </a:lnTo>
                  <a:lnTo>
                    <a:pt x="9265" y="207"/>
                  </a:lnTo>
                  <a:lnTo>
                    <a:pt x="9265" y="207"/>
                  </a:lnTo>
                  <a:lnTo>
                    <a:pt x="9285" y="196"/>
                  </a:lnTo>
                  <a:lnTo>
                    <a:pt x="9302" y="182"/>
                  </a:lnTo>
                  <a:lnTo>
                    <a:pt x="9318" y="169"/>
                  </a:lnTo>
                  <a:lnTo>
                    <a:pt x="9332" y="155"/>
                  </a:lnTo>
                  <a:lnTo>
                    <a:pt x="9344" y="141"/>
                  </a:lnTo>
                  <a:lnTo>
                    <a:pt x="9354" y="125"/>
                  </a:lnTo>
                  <a:lnTo>
                    <a:pt x="9363" y="111"/>
                  </a:lnTo>
                  <a:lnTo>
                    <a:pt x="9371" y="96"/>
                  </a:lnTo>
                  <a:lnTo>
                    <a:pt x="9376" y="81"/>
                  </a:lnTo>
                  <a:lnTo>
                    <a:pt x="9381" y="67"/>
                  </a:lnTo>
                  <a:lnTo>
                    <a:pt x="9385" y="53"/>
                  </a:lnTo>
                  <a:lnTo>
                    <a:pt x="9389" y="40"/>
                  </a:lnTo>
                  <a:lnTo>
                    <a:pt x="9392" y="17"/>
                  </a:lnTo>
                  <a:lnTo>
                    <a:pt x="9393" y="0"/>
                  </a:lnTo>
                  <a:lnTo>
                    <a:pt x="9393" y="0"/>
                  </a:lnTo>
                  <a:lnTo>
                    <a:pt x="9393" y="57"/>
                  </a:lnTo>
                  <a:lnTo>
                    <a:pt x="9393" y="57"/>
                  </a:lnTo>
                  <a:lnTo>
                    <a:pt x="9393" y="64"/>
                  </a:lnTo>
                  <a:lnTo>
                    <a:pt x="9393" y="81"/>
                  </a:lnTo>
                  <a:lnTo>
                    <a:pt x="9391" y="94"/>
                  </a:lnTo>
                  <a:lnTo>
                    <a:pt x="9389" y="107"/>
                  </a:lnTo>
                  <a:lnTo>
                    <a:pt x="9385" y="123"/>
                  </a:lnTo>
                  <a:lnTo>
                    <a:pt x="9380" y="140"/>
                  </a:lnTo>
                  <a:lnTo>
                    <a:pt x="9374" y="158"/>
                  </a:lnTo>
                  <a:lnTo>
                    <a:pt x="9366" y="176"/>
                  </a:lnTo>
                  <a:lnTo>
                    <a:pt x="9355" y="195"/>
                  </a:lnTo>
                  <a:lnTo>
                    <a:pt x="9343" y="213"/>
                  </a:lnTo>
                  <a:lnTo>
                    <a:pt x="9328" y="231"/>
                  </a:lnTo>
                  <a:lnTo>
                    <a:pt x="9319" y="240"/>
                  </a:lnTo>
                  <a:lnTo>
                    <a:pt x="9309" y="248"/>
                  </a:lnTo>
                  <a:lnTo>
                    <a:pt x="9300" y="256"/>
                  </a:lnTo>
                  <a:lnTo>
                    <a:pt x="9289" y="265"/>
                  </a:lnTo>
                  <a:lnTo>
                    <a:pt x="9277" y="272"/>
                  </a:lnTo>
                  <a:lnTo>
                    <a:pt x="9265" y="279"/>
                  </a:lnTo>
                  <a:lnTo>
                    <a:pt x="9265" y="279"/>
                  </a:lnTo>
                  <a:lnTo>
                    <a:pt x="9197" y="313"/>
                  </a:lnTo>
                  <a:lnTo>
                    <a:pt x="9052" y="383"/>
                  </a:lnTo>
                  <a:lnTo>
                    <a:pt x="8576" y="609"/>
                  </a:lnTo>
                  <a:lnTo>
                    <a:pt x="7927" y="916"/>
                  </a:lnTo>
                  <a:lnTo>
                    <a:pt x="7195" y="1262"/>
                  </a:lnTo>
                  <a:lnTo>
                    <a:pt x="5839" y="1901"/>
                  </a:lnTo>
                  <a:lnTo>
                    <a:pt x="5228" y="2188"/>
                  </a:lnTo>
                  <a:lnTo>
                    <a:pt x="5228" y="2188"/>
                  </a:lnTo>
                  <a:lnTo>
                    <a:pt x="5217" y="2192"/>
                  </a:lnTo>
                  <a:lnTo>
                    <a:pt x="5186" y="2204"/>
                  </a:lnTo>
                  <a:lnTo>
                    <a:pt x="5137" y="2219"/>
                  </a:lnTo>
                  <a:lnTo>
                    <a:pt x="5107" y="2229"/>
                  </a:lnTo>
                  <a:lnTo>
                    <a:pt x="5073" y="2238"/>
                  </a:lnTo>
                  <a:lnTo>
                    <a:pt x="5036" y="2248"/>
                  </a:lnTo>
                  <a:lnTo>
                    <a:pt x="4994" y="2256"/>
                  </a:lnTo>
                  <a:lnTo>
                    <a:pt x="4950" y="2264"/>
                  </a:lnTo>
                  <a:lnTo>
                    <a:pt x="4904" y="2272"/>
                  </a:lnTo>
                  <a:lnTo>
                    <a:pt x="4855" y="2278"/>
                  </a:lnTo>
                  <a:lnTo>
                    <a:pt x="4804" y="2283"/>
                  </a:lnTo>
                  <a:lnTo>
                    <a:pt x="4751" y="2286"/>
                  </a:lnTo>
                  <a:lnTo>
                    <a:pt x="4697" y="2287"/>
                  </a:lnTo>
                  <a:lnTo>
                    <a:pt x="4697" y="2287"/>
                  </a:lnTo>
                  <a:lnTo>
                    <a:pt x="4642" y="2286"/>
                  </a:lnTo>
                  <a:lnTo>
                    <a:pt x="4588" y="2283"/>
                  </a:lnTo>
                  <a:lnTo>
                    <a:pt x="4538" y="2278"/>
                  </a:lnTo>
                  <a:lnTo>
                    <a:pt x="4489" y="2272"/>
                  </a:lnTo>
                  <a:lnTo>
                    <a:pt x="4442" y="2264"/>
                  </a:lnTo>
                  <a:lnTo>
                    <a:pt x="4398" y="2256"/>
                  </a:lnTo>
                  <a:lnTo>
                    <a:pt x="4358" y="2248"/>
                  </a:lnTo>
                  <a:lnTo>
                    <a:pt x="4319" y="2238"/>
                  </a:lnTo>
                  <a:lnTo>
                    <a:pt x="4285" y="2229"/>
                  </a:lnTo>
                  <a:lnTo>
                    <a:pt x="4255" y="2219"/>
                  </a:lnTo>
                  <a:lnTo>
                    <a:pt x="4206" y="2204"/>
                  </a:lnTo>
                  <a:lnTo>
                    <a:pt x="4176" y="2192"/>
                  </a:lnTo>
                  <a:lnTo>
                    <a:pt x="4164" y="2188"/>
                  </a:lnTo>
                  <a:lnTo>
                    <a:pt x="4164" y="2188"/>
                  </a:lnTo>
                  <a:lnTo>
                    <a:pt x="3553" y="1901"/>
                  </a:lnTo>
                  <a:lnTo>
                    <a:pt x="2197" y="1262"/>
                  </a:lnTo>
                  <a:lnTo>
                    <a:pt x="1465" y="916"/>
                  </a:lnTo>
                  <a:lnTo>
                    <a:pt x="817" y="609"/>
                  </a:lnTo>
                  <a:lnTo>
                    <a:pt x="341" y="383"/>
                  </a:lnTo>
                  <a:lnTo>
                    <a:pt x="196" y="313"/>
                  </a:lnTo>
                  <a:lnTo>
                    <a:pt x="127" y="279"/>
                  </a:lnTo>
                  <a:lnTo>
                    <a:pt x="127" y="279"/>
                  </a:lnTo>
                  <a:lnTo>
                    <a:pt x="115" y="272"/>
                  </a:lnTo>
                  <a:lnTo>
                    <a:pt x="104" y="265"/>
                  </a:lnTo>
                  <a:lnTo>
                    <a:pt x="92" y="256"/>
                  </a:lnTo>
                  <a:lnTo>
                    <a:pt x="83" y="248"/>
                  </a:lnTo>
                  <a:lnTo>
                    <a:pt x="73" y="240"/>
                  </a:lnTo>
                  <a:lnTo>
                    <a:pt x="65" y="231"/>
                  </a:lnTo>
                  <a:lnTo>
                    <a:pt x="49" y="213"/>
                  </a:lnTo>
                  <a:lnTo>
                    <a:pt x="37" y="195"/>
                  </a:lnTo>
                  <a:lnTo>
                    <a:pt x="27" y="176"/>
                  </a:lnTo>
                  <a:lnTo>
                    <a:pt x="18" y="158"/>
                  </a:lnTo>
                  <a:lnTo>
                    <a:pt x="12" y="140"/>
                  </a:lnTo>
                  <a:lnTo>
                    <a:pt x="7" y="123"/>
                  </a:lnTo>
                  <a:lnTo>
                    <a:pt x="4" y="107"/>
                  </a:lnTo>
                  <a:lnTo>
                    <a:pt x="2" y="94"/>
                  </a:lnTo>
                  <a:lnTo>
                    <a:pt x="1" y="81"/>
                  </a:lnTo>
                  <a:lnTo>
                    <a:pt x="0" y="64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49" name="Groupe 231"/>
          <p:cNvGrpSpPr/>
          <p:nvPr/>
        </p:nvGrpSpPr>
        <p:grpSpPr>
          <a:xfrm>
            <a:off x="6175172" y="2856889"/>
            <a:ext cx="548841" cy="396998"/>
            <a:chOff x="6474731" y="2021165"/>
            <a:chExt cx="1381686" cy="1127387"/>
          </a:xfrm>
        </p:grpSpPr>
        <p:sp>
          <p:nvSpPr>
            <p:cNvPr id="50" name="Freeform 45"/>
            <p:cNvSpPr>
              <a:spLocks/>
            </p:cNvSpPr>
            <p:nvPr/>
          </p:nvSpPr>
          <p:spPr bwMode="auto">
            <a:xfrm flipH="1">
              <a:off x="6474731" y="2717720"/>
              <a:ext cx="1381686" cy="430832"/>
            </a:xfrm>
            <a:custGeom>
              <a:avLst/>
              <a:gdLst>
                <a:gd name="T0" fmla="*/ 0 w 7498"/>
                <a:gd name="T1" fmla="*/ 1225 h 3005"/>
                <a:gd name="T2" fmla="*/ 0 w 7498"/>
                <a:gd name="T3" fmla="*/ 945 h 3005"/>
                <a:gd name="T4" fmla="*/ 5 w 7498"/>
                <a:gd name="T5" fmla="*/ 901 h 3005"/>
                <a:gd name="T6" fmla="*/ 15 w 7498"/>
                <a:gd name="T7" fmla="*/ 863 h 3005"/>
                <a:gd name="T8" fmla="*/ 31 w 7498"/>
                <a:gd name="T9" fmla="*/ 831 h 3005"/>
                <a:gd name="T10" fmla="*/ 47 w 7498"/>
                <a:gd name="T11" fmla="*/ 805 h 3005"/>
                <a:gd name="T12" fmla="*/ 65 w 7498"/>
                <a:gd name="T13" fmla="*/ 785 h 3005"/>
                <a:gd name="T14" fmla="*/ 91 w 7498"/>
                <a:gd name="T15" fmla="*/ 762 h 3005"/>
                <a:gd name="T16" fmla="*/ 1669 w 7498"/>
                <a:gd name="T17" fmla="*/ 0 h 3005"/>
                <a:gd name="T18" fmla="*/ 5830 w 7498"/>
                <a:gd name="T19" fmla="*/ 0 h 3005"/>
                <a:gd name="T20" fmla="*/ 7404 w 7498"/>
                <a:gd name="T21" fmla="*/ 760 h 3005"/>
                <a:gd name="T22" fmla="*/ 7419 w 7498"/>
                <a:gd name="T23" fmla="*/ 771 h 3005"/>
                <a:gd name="T24" fmla="*/ 7442 w 7498"/>
                <a:gd name="T25" fmla="*/ 795 h 3005"/>
                <a:gd name="T26" fmla="*/ 7460 w 7498"/>
                <a:gd name="T27" fmla="*/ 818 h 3005"/>
                <a:gd name="T28" fmla="*/ 7476 w 7498"/>
                <a:gd name="T29" fmla="*/ 847 h 3005"/>
                <a:gd name="T30" fmla="*/ 7490 w 7498"/>
                <a:gd name="T31" fmla="*/ 881 h 3005"/>
                <a:gd name="T32" fmla="*/ 7497 w 7498"/>
                <a:gd name="T33" fmla="*/ 922 h 3005"/>
                <a:gd name="T34" fmla="*/ 7498 w 7498"/>
                <a:gd name="T35" fmla="*/ 945 h 3005"/>
                <a:gd name="T36" fmla="*/ 7498 w 7498"/>
                <a:gd name="T37" fmla="*/ 1225 h 3005"/>
                <a:gd name="T38" fmla="*/ 7498 w 7498"/>
                <a:gd name="T39" fmla="*/ 1244 h 3005"/>
                <a:gd name="T40" fmla="*/ 7492 w 7498"/>
                <a:gd name="T41" fmla="*/ 1278 h 3005"/>
                <a:gd name="T42" fmla="*/ 7484 w 7498"/>
                <a:gd name="T43" fmla="*/ 1305 h 3005"/>
                <a:gd name="T44" fmla="*/ 7469 w 7498"/>
                <a:gd name="T45" fmla="*/ 1334 h 3005"/>
                <a:gd name="T46" fmla="*/ 7446 w 7498"/>
                <a:gd name="T47" fmla="*/ 1364 h 3005"/>
                <a:gd name="T48" fmla="*/ 7415 w 7498"/>
                <a:gd name="T49" fmla="*/ 1391 h 3005"/>
                <a:gd name="T50" fmla="*/ 7396 w 7498"/>
                <a:gd name="T51" fmla="*/ 1402 h 3005"/>
                <a:gd name="T52" fmla="*/ 7342 w 7498"/>
                <a:gd name="T53" fmla="*/ 1429 h 3005"/>
                <a:gd name="T54" fmla="*/ 6846 w 7498"/>
                <a:gd name="T55" fmla="*/ 1665 h 3005"/>
                <a:gd name="T56" fmla="*/ 4173 w 7498"/>
                <a:gd name="T57" fmla="*/ 2927 h 3005"/>
                <a:gd name="T58" fmla="*/ 4165 w 7498"/>
                <a:gd name="T59" fmla="*/ 2930 h 3005"/>
                <a:gd name="T60" fmla="*/ 4102 w 7498"/>
                <a:gd name="T61" fmla="*/ 2952 h 3005"/>
                <a:gd name="T62" fmla="*/ 4050 w 7498"/>
                <a:gd name="T63" fmla="*/ 2966 h 3005"/>
                <a:gd name="T64" fmla="*/ 3987 w 7498"/>
                <a:gd name="T65" fmla="*/ 2980 h 3005"/>
                <a:gd name="T66" fmla="*/ 3915 w 7498"/>
                <a:gd name="T67" fmla="*/ 2993 h 3005"/>
                <a:gd name="T68" fmla="*/ 3836 w 7498"/>
                <a:gd name="T69" fmla="*/ 3002 h 3005"/>
                <a:gd name="T70" fmla="*/ 3749 w 7498"/>
                <a:gd name="T71" fmla="*/ 3005 h 3005"/>
                <a:gd name="T72" fmla="*/ 3706 w 7498"/>
                <a:gd name="T73" fmla="*/ 3005 h 3005"/>
                <a:gd name="T74" fmla="*/ 3622 w 7498"/>
                <a:gd name="T75" fmla="*/ 2997 h 3005"/>
                <a:gd name="T76" fmla="*/ 3547 w 7498"/>
                <a:gd name="T77" fmla="*/ 2987 h 3005"/>
                <a:gd name="T78" fmla="*/ 3479 w 7498"/>
                <a:gd name="T79" fmla="*/ 2973 h 3005"/>
                <a:gd name="T80" fmla="*/ 3422 w 7498"/>
                <a:gd name="T81" fmla="*/ 2959 h 3005"/>
                <a:gd name="T82" fmla="*/ 3358 w 7498"/>
                <a:gd name="T83" fmla="*/ 2939 h 3005"/>
                <a:gd name="T84" fmla="*/ 3325 w 7498"/>
                <a:gd name="T85" fmla="*/ 2927 h 3005"/>
                <a:gd name="T86" fmla="*/ 1755 w 7498"/>
                <a:gd name="T87" fmla="*/ 2187 h 3005"/>
                <a:gd name="T88" fmla="*/ 273 w 7498"/>
                <a:gd name="T89" fmla="*/ 1484 h 3005"/>
                <a:gd name="T90" fmla="*/ 102 w 7498"/>
                <a:gd name="T91" fmla="*/ 1402 h 3005"/>
                <a:gd name="T92" fmla="*/ 93 w 7498"/>
                <a:gd name="T93" fmla="*/ 1396 h 3005"/>
                <a:gd name="T94" fmla="*/ 67 w 7498"/>
                <a:gd name="T95" fmla="*/ 1377 h 3005"/>
                <a:gd name="T96" fmla="*/ 40 w 7498"/>
                <a:gd name="T97" fmla="*/ 1349 h 3005"/>
                <a:gd name="T98" fmla="*/ 21 w 7498"/>
                <a:gd name="T99" fmla="*/ 1320 h 3005"/>
                <a:gd name="T100" fmla="*/ 10 w 7498"/>
                <a:gd name="T101" fmla="*/ 1292 h 3005"/>
                <a:gd name="T102" fmla="*/ 3 w 7498"/>
                <a:gd name="T103" fmla="*/ 1266 h 3005"/>
                <a:gd name="T104" fmla="*/ 0 w 7498"/>
                <a:gd name="T105" fmla="*/ 1230 h 3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98" h="3005">
                  <a:moveTo>
                    <a:pt x="0" y="1225"/>
                  </a:moveTo>
                  <a:lnTo>
                    <a:pt x="0" y="1225"/>
                  </a:lnTo>
                  <a:lnTo>
                    <a:pt x="0" y="945"/>
                  </a:lnTo>
                  <a:lnTo>
                    <a:pt x="0" y="945"/>
                  </a:lnTo>
                  <a:lnTo>
                    <a:pt x="1" y="922"/>
                  </a:lnTo>
                  <a:lnTo>
                    <a:pt x="5" y="901"/>
                  </a:lnTo>
                  <a:lnTo>
                    <a:pt x="9" y="881"/>
                  </a:lnTo>
                  <a:lnTo>
                    <a:pt x="15" y="863"/>
                  </a:lnTo>
                  <a:lnTo>
                    <a:pt x="22" y="847"/>
                  </a:lnTo>
                  <a:lnTo>
                    <a:pt x="31" y="831"/>
                  </a:lnTo>
                  <a:lnTo>
                    <a:pt x="39" y="818"/>
                  </a:lnTo>
                  <a:lnTo>
                    <a:pt x="47" y="805"/>
                  </a:lnTo>
                  <a:lnTo>
                    <a:pt x="57" y="795"/>
                  </a:lnTo>
                  <a:lnTo>
                    <a:pt x="65" y="785"/>
                  </a:lnTo>
                  <a:lnTo>
                    <a:pt x="79" y="771"/>
                  </a:lnTo>
                  <a:lnTo>
                    <a:pt x="91" y="762"/>
                  </a:lnTo>
                  <a:lnTo>
                    <a:pt x="95" y="760"/>
                  </a:lnTo>
                  <a:lnTo>
                    <a:pt x="1669" y="0"/>
                  </a:lnTo>
                  <a:lnTo>
                    <a:pt x="3749" y="1280"/>
                  </a:lnTo>
                  <a:lnTo>
                    <a:pt x="5830" y="0"/>
                  </a:lnTo>
                  <a:lnTo>
                    <a:pt x="7404" y="760"/>
                  </a:lnTo>
                  <a:lnTo>
                    <a:pt x="7404" y="760"/>
                  </a:lnTo>
                  <a:lnTo>
                    <a:pt x="7408" y="762"/>
                  </a:lnTo>
                  <a:lnTo>
                    <a:pt x="7419" y="771"/>
                  </a:lnTo>
                  <a:lnTo>
                    <a:pt x="7434" y="785"/>
                  </a:lnTo>
                  <a:lnTo>
                    <a:pt x="7442" y="795"/>
                  </a:lnTo>
                  <a:lnTo>
                    <a:pt x="7451" y="805"/>
                  </a:lnTo>
                  <a:lnTo>
                    <a:pt x="7460" y="818"/>
                  </a:lnTo>
                  <a:lnTo>
                    <a:pt x="7468" y="831"/>
                  </a:lnTo>
                  <a:lnTo>
                    <a:pt x="7476" y="847"/>
                  </a:lnTo>
                  <a:lnTo>
                    <a:pt x="7484" y="863"/>
                  </a:lnTo>
                  <a:lnTo>
                    <a:pt x="7490" y="881"/>
                  </a:lnTo>
                  <a:lnTo>
                    <a:pt x="7494" y="901"/>
                  </a:lnTo>
                  <a:lnTo>
                    <a:pt x="7497" y="922"/>
                  </a:lnTo>
                  <a:lnTo>
                    <a:pt x="7498" y="945"/>
                  </a:lnTo>
                  <a:lnTo>
                    <a:pt x="7498" y="945"/>
                  </a:lnTo>
                  <a:lnTo>
                    <a:pt x="7498" y="1225"/>
                  </a:lnTo>
                  <a:lnTo>
                    <a:pt x="7498" y="1225"/>
                  </a:lnTo>
                  <a:lnTo>
                    <a:pt x="7498" y="1230"/>
                  </a:lnTo>
                  <a:lnTo>
                    <a:pt x="7498" y="1244"/>
                  </a:lnTo>
                  <a:lnTo>
                    <a:pt x="7495" y="1266"/>
                  </a:lnTo>
                  <a:lnTo>
                    <a:pt x="7492" y="1278"/>
                  </a:lnTo>
                  <a:lnTo>
                    <a:pt x="7489" y="1292"/>
                  </a:lnTo>
                  <a:lnTo>
                    <a:pt x="7484" y="1305"/>
                  </a:lnTo>
                  <a:lnTo>
                    <a:pt x="7476" y="1320"/>
                  </a:lnTo>
                  <a:lnTo>
                    <a:pt x="7469" y="1334"/>
                  </a:lnTo>
                  <a:lnTo>
                    <a:pt x="7459" y="1349"/>
                  </a:lnTo>
                  <a:lnTo>
                    <a:pt x="7446" y="1364"/>
                  </a:lnTo>
                  <a:lnTo>
                    <a:pt x="7432" y="1377"/>
                  </a:lnTo>
                  <a:lnTo>
                    <a:pt x="7415" y="1391"/>
                  </a:lnTo>
                  <a:lnTo>
                    <a:pt x="7406" y="1396"/>
                  </a:lnTo>
                  <a:lnTo>
                    <a:pt x="7396" y="1402"/>
                  </a:lnTo>
                  <a:lnTo>
                    <a:pt x="7396" y="1402"/>
                  </a:lnTo>
                  <a:lnTo>
                    <a:pt x="7342" y="1429"/>
                  </a:lnTo>
                  <a:lnTo>
                    <a:pt x="7226" y="1484"/>
                  </a:lnTo>
                  <a:lnTo>
                    <a:pt x="6846" y="1665"/>
                  </a:lnTo>
                  <a:lnTo>
                    <a:pt x="5743" y="2187"/>
                  </a:lnTo>
                  <a:lnTo>
                    <a:pt x="4173" y="2927"/>
                  </a:lnTo>
                  <a:lnTo>
                    <a:pt x="4173" y="2927"/>
                  </a:lnTo>
                  <a:lnTo>
                    <a:pt x="4165" y="2930"/>
                  </a:lnTo>
                  <a:lnTo>
                    <a:pt x="4140" y="2939"/>
                  </a:lnTo>
                  <a:lnTo>
                    <a:pt x="4102" y="2952"/>
                  </a:lnTo>
                  <a:lnTo>
                    <a:pt x="4077" y="2959"/>
                  </a:lnTo>
                  <a:lnTo>
                    <a:pt x="4050" y="2966"/>
                  </a:lnTo>
                  <a:lnTo>
                    <a:pt x="4020" y="2973"/>
                  </a:lnTo>
                  <a:lnTo>
                    <a:pt x="3987" y="2980"/>
                  </a:lnTo>
                  <a:lnTo>
                    <a:pt x="3952" y="2987"/>
                  </a:lnTo>
                  <a:lnTo>
                    <a:pt x="3915" y="2993"/>
                  </a:lnTo>
                  <a:lnTo>
                    <a:pt x="3876" y="2997"/>
                  </a:lnTo>
                  <a:lnTo>
                    <a:pt x="3836" y="3002"/>
                  </a:lnTo>
                  <a:lnTo>
                    <a:pt x="3793" y="3005"/>
                  </a:lnTo>
                  <a:lnTo>
                    <a:pt x="3749" y="3005"/>
                  </a:lnTo>
                  <a:lnTo>
                    <a:pt x="3749" y="3005"/>
                  </a:lnTo>
                  <a:lnTo>
                    <a:pt x="3706" y="3005"/>
                  </a:lnTo>
                  <a:lnTo>
                    <a:pt x="3663" y="3002"/>
                  </a:lnTo>
                  <a:lnTo>
                    <a:pt x="3622" y="2997"/>
                  </a:lnTo>
                  <a:lnTo>
                    <a:pt x="3584" y="2993"/>
                  </a:lnTo>
                  <a:lnTo>
                    <a:pt x="3547" y="2987"/>
                  </a:lnTo>
                  <a:lnTo>
                    <a:pt x="3511" y="2980"/>
                  </a:lnTo>
                  <a:lnTo>
                    <a:pt x="3479" y="2973"/>
                  </a:lnTo>
                  <a:lnTo>
                    <a:pt x="3449" y="2966"/>
                  </a:lnTo>
                  <a:lnTo>
                    <a:pt x="3422" y="2959"/>
                  </a:lnTo>
                  <a:lnTo>
                    <a:pt x="3397" y="2952"/>
                  </a:lnTo>
                  <a:lnTo>
                    <a:pt x="3358" y="2939"/>
                  </a:lnTo>
                  <a:lnTo>
                    <a:pt x="3333" y="2930"/>
                  </a:lnTo>
                  <a:lnTo>
                    <a:pt x="3325" y="2927"/>
                  </a:lnTo>
                  <a:lnTo>
                    <a:pt x="3325" y="2927"/>
                  </a:lnTo>
                  <a:lnTo>
                    <a:pt x="1755" y="2187"/>
                  </a:lnTo>
                  <a:lnTo>
                    <a:pt x="652" y="1665"/>
                  </a:lnTo>
                  <a:lnTo>
                    <a:pt x="273" y="1484"/>
                  </a:lnTo>
                  <a:lnTo>
                    <a:pt x="156" y="1429"/>
                  </a:lnTo>
                  <a:lnTo>
                    <a:pt x="102" y="1402"/>
                  </a:lnTo>
                  <a:lnTo>
                    <a:pt x="102" y="1402"/>
                  </a:lnTo>
                  <a:lnTo>
                    <a:pt x="93" y="1396"/>
                  </a:lnTo>
                  <a:lnTo>
                    <a:pt x="84" y="1391"/>
                  </a:lnTo>
                  <a:lnTo>
                    <a:pt x="67" y="1377"/>
                  </a:lnTo>
                  <a:lnTo>
                    <a:pt x="52" y="1364"/>
                  </a:lnTo>
                  <a:lnTo>
                    <a:pt x="40" y="1349"/>
                  </a:lnTo>
                  <a:lnTo>
                    <a:pt x="29" y="1334"/>
                  </a:lnTo>
                  <a:lnTo>
                    <a:pt x="21" y="1320"/>
                  </a:lnTo>
                  <a:lnTo>
                    <a:pt x="15" y="1305"/>
                  </a:lnTo>
                  <a:lnTo>
                    <a:pt x="10" y="1292"/>
                  </a:lnTo>
                  <a:lnTo>
                    <a:pt x="7" y="1278"/>
                  </a:lnTo>
                  <a:lnTo>
                    <a:pt x="3" y="1266"/>
                  </a:lnTo>
                  <a:lnTo>
                    <a:pt x="0" y="1244"/>
                  </a:lnTo>
                  <a:lnTo>
                    <a:pt x="0" y="1230"/>
                  </a:lnTo>
                  <a:lnTo>
                    <a:pt x="0" y="1225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1" name="Freeform 46"/>
            <p:cNvSpPr>
              <a:spLocks/>
            </p:cNvSpPr>
            <p:nvPr/>
          </p:nvSpPr>
          <p:spPr bwMode="auto">
            <a:xfrm flipH="1">
              <a:off x="6474731" y="2717720"/>
              <a:ext cx="1381686" cy="430832"/>
            </a:xfrm>
            <a:custGeom>
              <a:avLst/>
              <a:gdLst>
                <a:gd name="T0" fmla="*/ 0 w 7498"/>
                <a:gd name="T1" fmla="*/ 1225 h 3005"/>
                <a:gd name="T2" fmla="*/ 0 w 7498"/>
                <a:gd name="T3" fmla="*/ 945 h 3005"/>
                <a:gd name="T4" fmla="*/ 5 w 7498"/>
                <a:gd name="T5" fmla="*/ 901 h 3005"/>
                <a:gd name="T6" fmla="*/ 15 w 7498"/>
                <a:gd name="T7" fmla="*/ 863 h 3005"/>
                <a:gd name="T8" fmla="*/ 31 w 7498"/>
                <a:gd name="T9" fmla="*/ 831 h 3005"/>
                <a:gd name="T10" fmla="*/ 47 w 7498"/>
                <a:gd name="T11" fmla="*/ 805 h 3005"/>
                <a:gd name="T12" fmla="*/ 65 w 7498"/>
                <a:gd name="T13" fmla="*/ 785 h 3005"/>
                <a:gd name="T14" fmla="*/ 91 w 7498"/>
                <a:gd name="T15" fmla="*/ 762 h 3005"/>
                <a:gd name="T16" fmla="*/ 1669 w 7498"/>
                <a:gd name="T17" fmla="*/ 0 h 3005"/>
                <a:gd name="T18" fmla="*/ 5830 w 7498"/>
                <a:gd name="T19" fmla="*/ 0 h 3005"/>
                <a:gd name="T20" fmla="*/ 7404 w 7498"/>
                <a:gd name="T21" fmla="*/ 760 h 3005"/>
                <a:gd name="T22" fmla="*/ 7419 w 7498"/>
                <a:gd name="T23" fmla="*/ 771 h 3005"/>
                <a:gd name="T24" fmla="*/ 7442 w 7498"/>
                <a:gd name="T25" fmla="*/ 795 h 3005"/>
                <a:gd name="T26" fmla="*/ 7460 w 7498"/>
                <a:gd name="T27" fmla="*/ 818 h 3005"/>
                <a:gd name="T28" fmla="*/ 7476 w 7498"/>
                <a:gd name="T29" fmla="*/ 847 h 3005"/>
                <a:gd name="T30" fmla="*/ 7490 w 7498"/>
                <a:gd name="T31" fmla="*/ 881 h 3005"/>
                <a:gd name="T32" fmla="*/ 7497 w 7498"/>
                <a:gd name="T33" fmla="*/ 922 h 3005"/>
                <a:gd name="T34" fmla="*/ 7498 w 7498"/>
                <a:gd name="T35" fmla="*/ 945 h 3005"/>
                <a:gd name="T36" fmla="*/ 7498 w 7498"/>
                <a:gd name="T37" fmla="*/ 1225 h 3005"/>
                <a:gd name="T38" fmla="*/ 7498 w 7498"/>
                <a:gd name="T39" fmla="*/ 1244 h 3005"/>
                <a:gd name="T40" fmla="*/ 7492 w 7498"/>
                <a:gd name="T41" fmla="*/ 1278 h 3005"/>
                <a:gd name="T42" fmla="*/ 7484 w 7498"/>
                <a:gd name="T43" fmla="*/ 1305 h 3005"/>
                <a:gd name="T44" fmla="*/ 7469 w 7498"/>
                <a:gd name="T45" fmla="*/ 1334 h 3005"/>
                <a:gd name="T46" fmla="*/ 7446 w 7498"/>
                <a:gd name="T47" fmla="*/ 1364 h 3005"/>
                <a:gd name="T48" fmla="*/ 7415 w 7498"/>
                <a:gd name="T49" fmla="*/ 1391 h 3005"/>
                <a:gd name="T50" fmla="*/ 7396 w 7498"/>
                <a:gd name="T51" fmla="*/ 1402 h 3005"/>
                <a:gd name="T52" fmla="*/ 7342 w 7498"/>
                <a:gd name="T53" fmla="*/ 1429 h 3005"/>
                <a:gd name="T54" fmla="*/ 6846 w 7498"/>
                <a:gd name="T55" fmla="*/ 1665 h 3005"/>
                <a:gd name="T56" fmla="*/ 4173 w 7498"/>
                <a:gd name="T57" fmla="*/ 2927 h 3005"/>
                <a:gd name="T58" fmla="*/ 4165 w 7498"/>
                <a:gd name="T59" fmla="*/ 2930 h 3005"/>
                <a:gd name="T60" fmla="*/ 4102 w 7498"/>
                <a:gd name="T61" fmla="*/ 2952 h 3005"/>
                <a:gd name="T62" fmla="*/ 4050 w 7498"/>
                <a:gd name="T63" fmla="*/ 2966 h 3005"/>
                <a:gd name="T64" fmla="*/ 3987 w 7498"/>
                <a:gd name="T65" fmla="*/ 2980 h 3005"/>
                <a:gd name="T66" fmla="*/ 3915 w 7498"/>
                <a:gd name="T67" fmla="*/ 2993 h 3005"/>
                <a:gd name="T68" fmla="*/ 3836 w 7498"/>
                <a:gd name="T69" fmla="*/ 3002 h 3005"/>
                <a:gd name="T70" fmla="*/ 3749 w 7498"/>
                <a:gd name="T71" fmla="*/ 3005 h 3005"/>
                <a:gd name="T72" fmla="*/ 3706 w 7498"/>
                <a:gd name="T73" fmla="*/ 3005 h 3005"/>
                <a:gd name="T74" fmla="*/ 3622 w 7498"/>
                <a:gd name="T75" fmla="*/ 2997 h 3005"/>
                <a:gd name="T76" fmla="*/ 3547 w 7498"/>
                <a:gd name="T77" fmla="*/ 2987 h 3005"/>
                <a:gd name="T78" fmla="*/ 3479 w 7498"/>
                <a:gd name="T79" fmla="*/ 2973 h 3005"/>
                <a:gd name="T80" fmla="*/ 3422 w 7498"/>
                <a:gd name="T81" fmla="*/ 2959 h 3005"/>
                <a:gd name="T82" fmla="*/ 3358 w 7498"/>
                <a:gd name="T83" fmla="*/ 2939 h 3005"/>
                <a:gd name="T84" fmla="*/ 3325 w 7498"/>
                <a:gd name="T85" fmla="*/ 2927 h 3005"/>
                <a:gd name="T86" fmla="*/ 1755 w 7498"/>
                <a:gd name="T87" fmla="*/ 2187 h 3005"/>
                <a:gd name="T88" fmla="*/ 273 w 7498"/>
                <a:gd name="T89" fmla="*/ 1484 h 3005"/>
                <a:gd name="T90" fmla="*/ 102 w 7498"/>
                <a:gd name="T91" fmla="*/ 1402 h 3005"/>
                <a:gd name="T92" fmla="*/ 93 w 7498"/>
                <a:gd name="T93" fmla="*/ 1396 h 3005"/>
                <a:gd name="T94" fmla="*/ 67 w 7498"/>
                <a:gd name="T95" fmla="*/ 1377 h 3005"/>
                <a:gd name="T96" fmla="*/ 40 w 7498"/>
                <a:gd name="T97" fmla="*/ 1349 h 3005"/>
                <a:gd name="T98" fmla="*/ 21 w 7498"/>
                <a:gd name="T99" fmla="*/ 1320 h 3005"/>
                <a:gd name="T100" fmla="*/ 10 w 7498"/>
                <a:gd name="T101" fmla="*/ 1292 h 3005"/>
                <a:gd name="T102" fmla="*/ 3 w 7498"/>
                <a:gd name="T103" fmla="*/ 1266 h 3005"/>
                <a:gd name="T104" fmla="*/ 0 w 7498"/>
                <a:gd name="T105" fmla="*/ 1230 h 3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98" h="3005">
                  <a:moveTo>
                    <a:pt x="0" y="1225"/>
                  </a:moveTo>
                  <a:lnTo>
                    <a:pt x="0" y="1225"/>
                  </a:lnTo>
                  <a:lnTo>
                    <a:pt x="0" y="945"/>
                  </a:lnTo>
                  <a:lnTo>
                    <a:pt x="0" y="945"/>
                  </a:lnTo>
                  <a:lnTo>
                    <a:pt x="1" y="922"/>
                  </a:lnTo>
                  <a:lnTo>
                    <a:pt x="5" y="901"/>
                  </a:lnTo>
                  <a:lnTo>
                    <a:pt x="9" y="881"/>
                  </a:lnTo>
                  <a:lnTo>
                    <a:pt x="15" y="863"/>
                  </a:lnTo>
                  <a:lnTo>
                    <a:pt x="22" y="847"/>
                  </a:lnTo>
                  <a:lnTo>
                    <a:pt x="31" y="831"/>
                  </a:lnTo>
                  <a:lnTo>
                    <a:pt x="39" y="818"/>
                  </a:lnTo>
                  <a:lnTo>
                    <a:pt x="47" y="805"/>
                  </a:lnTo>
                  <a:lnTo>
                    <a:pt x="57" y="795"/>
                  </a:lnTo>
                  <a:lnTo>
                    <a:pt x="65" y="785"/>
                  </a:lnTo>
                  <a:lnTo>
                    <a:pt x="79" y="771"/>
                  </a:lnTo>
                  <a:lnTo>
                    <a:pt x="91" y="762"/>
                  </a:lnTo>
                  <a:lnTo>
                    <a:pt x="95" y="760"/>
                  </a:lnTo>
                  <a:lnTo>
                    <a:pt x="1669" y="0"/>
                  </a:lnTo>
                  <a:lnTo>
                    <a:pt x="3749" y="1280"/>
                  </a:lnTo>
                  <a:lnTo>
                    <a:pt x="5830" y="0"/>
                  </a:lnTo>
                  <a:lnTo>
                    <a:pt x="7404" y="760"/>
                  </a:lnTo>
                  <a:lnTo>
                    <a:pt x="7404" y="760"/>
                  </a:lnTo>
                  <a:lnTo>
                    <a:pt x="7408" y="762"/>
                  </a:lnTo>
                  <a:lnTo>
                    <a:pt x="7419" y="771"/>
                  </a:lnTo>
                  <a:lnTo>
                    <a:pt x="7434" y="785"/>
                  </a:lnTo>
                  <a:lnTo>
                    <a:pt x="7442" y="795"/>
                  </a:lnTo>
                  <a:lnTo>
                    <a:pt x="7451" y="805"/>
                  </a:lnTo>
                  <a:lnTo>
                    <a:pt x="7460" y="818"/>
                  </a:lnTo>
                  <a:lnTo>
                    <a:pt x="7468" y="831"/>
                  </a:lnTo>
                  <a:lnTo>
                    <a:pt x="7476" y="847"/>
                  </a:lnTo>
                  <a:lnTo>
                    <a:pt x="7484" y="863"/>
                  </a:lnTo>
                  <a:lnTo>
                    <a:pt x="7490" y="881"/>
                  </a:lnTo>
                  <a:lnTo>
                    <a:pt x="7494" y="901"/>
                  </a:lnTo>
                  <a:lnTo>
                    <a:pt x="7497" y="922"/>
                  </a:lnTo>
                  <a:lnTo>
                    <a:pt x="7498" y="945"/>
                  </a:lnTo>
                  <a:lnTo>
                    <a:pt x="7498" y="945"/>
                  </a:lnTo>
                  <a:lnTo>
                    <a:pt x="7498" y="1225"/>
                  </a:lnTo>
                  <a:lnTo>
                    <a:pt x="7498" y="1225"/>
                  </a:lnTo>
                  <a:lnTo>
                    <a:pt x="7498" y="1230"/>
                  </a:lnTo>
                  <a:lnTo>
                    <a:pt x="7498" y="1244"/>
                  </a:lnTo>
                  <a:lnTo>
                    <a:pt x="7495" y="1266"/>
                  </a:lnTo>
                  <a:lnTo>
                    <a:pt x="7492" y="1278"/>
                  </a:lnTo>
                  <a:lnTo>
                    <a:pt x="7489" y="1292"/>
                  </a:lnTo>
                  <a:lnTo>
                    <a:pt x="7484" y="1305"/>
                  </a:lnTo>
                  <a:lnTo>
                    <a:pt x="7476" y="1320"/>
                  </a:lnTo>
                  <a:lnTo>
                    <a:pt x="7469" y="1334"/>
                  </a:lnTo>
                  <a:lnTo>
                    <a:pt x="7459" y="1349"/>
                  </a:lnTo>
                  <a:lnTo>
                    <a:pt x="7446" y="1364"/>
                  </a:lnTo>
                  <a:lnTo>
                    <a:pt x="7432" y="1377"/>
                  </a:lnTo>
                  <a:lnTo>
                    <a:pt x="7415" y="1391"/>
                  </a:lnTo>
                  <a:lnTo>
                    <a:pt x="7406" y="1396"/>
                  </a:lnTo>
                  <a:lnTo>
                    <a:pt x="7396" y="1402"/>
                  </a:lnTo>
                  <a:lnTo>
                    <a:pt x="7396" y="1402"/>
                  </a:lnTo>
                  <a:lnTo>
                    <a:pt x="7342" y="1429"/>
                  </a:lnTo>
                  <a:lnTo>
                    <a:pt x="7226" y="1484"/>
                  </a:lnTo>
                  <a:lnTo>
                    <a:pt x="6846" y="1665"/>
                  </a:lnTo>
                  <a:lnTo>
                    <a:pt x="5743" y="2187"/>
                  </a:lnTo>
                  <a:lnTo>
                    <a:pt x="4173" y="2927"/>
                  </a:lnTo>
                  <a:lnTo>
                    <a:pt x="4173" y="2927"/>
                  </a:lnTo>
                  <a:lnTo>
                    <a:pt x="4165" y="2930"/>
                  </a:lnTo>
                  <a:lnTo>
                    <a:pt x="4140" y="2939"/>
                  </a:lnTo>
                  <a:lnTo>
                    <a:pt x="4102" y="2952"/>
                  </a:lnTo>
                  <a:lnTo>
                    <a:pt x="4077" y="2959"/>
                  </a:lnTo>
                  <a:lnTo>
                    <a:pt x="4050" y="2966"/>
                  </a:lnTo>
                  <a:lnTo>
                    <a:pt x="4020" y="2973"/>
                  </a:lnTo>
                  <a:lnTo>
                    <a:pt x="3987" y="2980"/>
                  </a:lnTo>
                  <a:lnTo>
                    <a:pt x="3952" y="2987"/>
                  </a:lnTo>
                  <a:lnTo>
                    <a:pt x="3915" y="2993"/>
                  </a:lnTo>
                  <a:lnTo>
                    <a:pt x="3876" y="2997"/>
                  </a:lnTo>
                  <a:lnTo>
                    <a:pt x="3836" y="3002"/>
                  </a:lnTo>
                  <a:lnTo>
                    <a:pt x="3793" y="3005"/>
                  </a:lnTo>
                  <a:lnTo>
                    <a:pt x="3749" y="3005"/>
                  </a:lnTo>
                  <a:lnTo>
                    <a:pt x="3749" y="3005"/>
                  </a:lnTo>
                  <a:lnTo>
                    <a:pt x="3706" y="3005"/>
                  </a:lnTo>
                  <a:lnTo>
                    <a:pt x="3663" y="3002"/>
                  </a:lnTo>
                  <a:lnTo>
                    <a:pt x="3622" y="2997"/>
                  </a:lnTo>
                  <a:lnTo>
                    <a:pt x="3584" y="2993"/>
                  </a:lnTo>
                  <a:lnTo>
                    <a:pt x="3547" y="2987"/>
                  </a:lnTo>
                  <a:lnTo>
                    <a:pt x="3511" y="2980"/>
                  </a:lnTo>
                  <a:lnTo>
                    <a:pt x="3479" y="2973"/>
                  </a:lnTo>
                  <a:lnTo>
                    <a:pt x="3449" y="2966"/>
                  </a:lnTo>
                  <a:lnTo>
                    <a:pt x="3422" y="2959"/>
                  </a:lnTo>
                  <a:lnTo>
                    <a:pt x="3397" y="2952"/>
                  </a:lnTo>
                  <a:lnTo>
                    <a:pt x="3358" y="2939"/>
                  </a:lnTo>
                  <a:lnTo>
                    <a:pt x="3333" y="2930"/>
                  </a:lnTo>
                  <a:lnTo>
                    <a:pt x="3325" y="2927"/>
                  </a:lnTo>
                  <a:lnTo>
                    <a:pt x="3325" y="2927"/>
                  </a:lnTo>
                  <a:lnTo>
                    <a:pt x="1755" y="2187"/>
                  </a:lnTo>
                  <a:lnTo>
                    <a:pt x="652" y="1665"/>
                  </a:lnTo>
                  <a:lnTo>
                    <a:pt x="273" y="1484"/>
                  </a:lnTo>
                  <a:lnTo>
                    <a:pt x="156" y="1429"/>
                  </a:lnTo>
                  <a:lnTo>
                    <a:pt x="102" y="1402"/>
                  </a:lnTo>
                  <a:lnTo>
                    <a:pt x="102" y="1402"/>
                  </a:lnTo>
                  <a:lnTo>
                    <a:pt x="93" y="1396"/>
                  </a:lnTo>
                  <a:lnTo>
                    <a:pt x="84" y="1391"/>
                  </a:lnTo>
                  <a:lnTo>
                    <a:pt x="67" y="1377"/>
                  </a:lnTo>
                  <a:lnTo>
                    <a:pt x="52" y="1364"/>
                  </a:lnTo>
                  <a:lnTo>
                    <a:pt x="40" y="1349"/>
                  </a:lnTo>
                  <a:lnTo>
                    <a:pt x="29" y="1334"/>
                  </a:lnTo>
                  <a:lnTo>
                    <a:pt x="21" y="1320"/>
                  </a:lnTo>
                  <a:lnTo>
                    <a:pt x="15" y="1305"/>
                  </a:lnTo>
                  <a:lnTo>
                    <a:pt x="10" y="1292"/>
                  </a:lnTo>
                  <a:lnTo>
                    <a:pt x="7" y="1278"/>
                  </a:lnTo>
                  <a:lnTo>
                    <a:pt x="3" y="1266"/>
                  </a:lnTo>
                  <a:lnTo>
                    <a:pt x="0" y="1244"/>
                  </a:lnTo>
                  <a:lnTo>
                    <a:pt x="0" y="1230"/>
                  </a:lnTo>
                  <a:lnTo>
                    <a:pt x="0" y="12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2" name="Freeform 47"/>
            <p:cNvSpPr>
              <a:spLocks/>
            </p:cNvSpPr>
            <p:nvPr/>
          </p:nvSpPr>
          <p:spPr bwMode="auto">
            <a:xfrm flipH="1">
              <a:off x="6793383" y="2884120"/>
              <a:ext cx="123849" cy="41277"/>
            </a:xfrm>
            <a:custGeom>
              <a:avLst/>
              <a:gdLst>
                <a:gd name="T0" fmla="*/ 0 w 674"/>
                <a:gd name="T1" fmla="*/ 292 h 292"/>
                <a:gd name="T2" fmla="*/ 0 w 674"/>
                <a:gd name="T3" fmla="*/ 292 h 292"/>
                <a:gd name="T4" fmla="*/ 79 w 674"/>
                <a:gd name="T5" fmla="*/ 266 h 292"/>
                <a:gd name="T6" fmla="*/ 160 w 674"/>
                <a:gd name="T7" fmla="*/ 238 h 292"/>
                <a:gd name="T8" fmla="*/ 243 w 674"/>
                <a:gd name="T9" fmla="*/ 207 h 292"/>
                <a:gd name="T10" fmla="*/ 284 w 674"/>
                <a:gd name="T11" fmla="*/ 190 h 292"/>
                <a:gd name="T12" fmla="*/ 327 w 674"/>
                <a:gd name="T13" fmla="*/ 172 h 292"/>
                <a:gd name="T14" fmla="*/ 371 w 674"/>
                <a:gd name="T15" fmla="*/ 155 h 292"/>
                <a:gd name="T16" fmla="*/ 413 w 674"/>
                <a:gd name="T17" fmla="*/ 135 h 292"/>
                <a:gd name="T18" fmla="*/ 457 w 674"/>
                <a:gd name="T19" fmla="*/ 115 h 292"/>
                <a:gd name="T20" fmla="*/ 501 w 674"/>
                <a:gd name="T21" fmla="*/ 93 h 292"/>
                <a:gd name="T22" fmla="*/ 544 w 674"/>
                <a:gd name="T23" fmla="*/ 71 h 292"/>
                <a:gd name="T24" fmla="*/ 588 w 674"/>
                <a:gd name="T25" fmla="*/ 48 h 292"/>
                <a:gd name="T26" fmla="*/ 632 w 674"/>
                <a:gd name="T27" fmla="*/ 25 h 292"/>
                <a:gd name="T28" fmla="*/ 674 w 674"/>
                <a:gd name="T29" fmla="*/ 0 h 292"/>
                <a:gd name="T30" fmla="*/ 674 w 674"/>
                <a:gd name="T31" fmla="*/ 0 h 292"/>
                <a:gd name="T32" fmla="*/ 642 w 674"/>
                <a:gd name="T33" fmla="*/ 22 h 292"/>
                <a:gd name="T34" fmla="*/ 608 w 674"/>
                <a:gd name="T35" fmla="*/ 43 h 292"/>
                <a:gd name="T36" fmla="*/ 572 w 674"/>
                <a:gd name="T37" fmla="*/ 64 h 292"/>
                <a:gd name="T38" fmla="*/ 535 w 674"/>
                <a:gd name="T39" fmla="*/ 84 h 292"/>
                <a:gd name="T40" fmla="*/ 497 w 674"/>
                <a:gd name="T41" fmla="*/ 104 h 292"/>
                <a:gd name="T42" fmla="*/ 457 w 674"/>
                <a:gd name="T43" fmla="*/ 122 h 292"/>
                <a:gd name="T44" fmla="*/ 415 w 674"/>
                <a:gd name="T45" fmla="*/ 141 h 292"/>
                <a:gd name="T46" fmla="*/ 373 w 674"/>
                <a:gd name="T47" fmla="*/ 160 h 292"/>
                <a:gd name="T48" fmla="*/ 330 w 674"/>
                <a:gd name="T49" fmla="*/ 178 h 292"/>
                <a:gd name="T50" fmla="*/ 285 w 674"/>
                <a:gd name="T51" fmla="*/ 194 h 292"/>
                <a:gd name="T52" fmla="*/ 240 w 674"/>
                <a:gd name="T53" fmla="*/ 211 h 292"/>
                <a:gd name="T54" fmla="*/ 194 w 674"/>
                <a:gd name="T55" fmla="*/ 228 h 292"/>
                <a:gd name="T56" fmla="*/ 98 w 674"/>
                <a:gd name="T57" fmla="*/ 261 h 292"/>
                <a:gd name="T58" fmla="*/ 0 w 674"/>
                <a:gd name="T59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74" h="292">
                  <a:moveTo>
                    <a:pt x="0" y="292"/>
                  </a:moveTo>
                  <a:lnTo>
                    <a:pt x="0" y="292"/>
                  </a:lnTo>
                  <a:lnTo>
                    <a:pt x="79" y="266"/>
                  </a:lnTo>
                  <a:lnTo>
                    <a:pt x="160" y="238"/>
                  </a:lnTo>
                  <a:lnTo>
                    <a:pt x="243" y="207"/>
                  </a:lnTo>
                  <a:lnTo>
                    <a:pt x="284" y="190"/>
                  </a:lnTo>
                  <a:lnTo>
                    <a:pt x="327" y="172"/>
                  </a:lnTo>
                  <a:lnTo>
                    <a:pt x="371" y="155"/>
                  </a:lnTo>
                  <a:lnTo>
                    <a:pt x="413" y="135"/>
                  </a:lnTo>
                  <a:lnTo>
                    <a:pt x="457" y="115"/>
                  </a:lnTo>
                  <a:lnTo>
                    <a:pt x="501" y="93"/>
                  </a:lnTo>
                  <a:lnTo>
                    <a:pt x="544" y="71"/>
                  </a:lnTo>
                  <a:lnTo>
                    <a:pt x="588" y="48"/>
                  </a:lnTo>
                  <a:lnTo>
                    <a:pt x="632" y="25"/>
                  </a:lnTo>
                  <a:lnTo>
                    <a:pt x="674" y="0"/>
                  </a:lnTo>
                  <a:lnTo>
                    <a:pt x="674" y="0"/>
                  </a:lnTo>
                  <a:lnTo>
                    <a:pt x="642" y="22"/>
                  </a:lnTo>
                  <a:lnTo>
                    <a:pt x="608" y="43"/>
                  </a:lnTo>
                  <a:lnTo>
                    <a:pt x="572" y="64"/>
                  </a:lnTo>
                  <a:lnTo>
                    <a:pt x="535" y="84"/>
                  </a:lnTo>
                  <a:lnTo>
                    <a:pt x="497" y="104"/>
                  </a:lnTo>
                  <a:lnTo>
                    <a:pt x="457" y="122"/>
                  </a:lnTo>
                  <a:lnTo>
                    <a:pt x="415" y="141"/>
                  </a:lnTo>
                  <a:lnTo>
                    <a:pt x="373" y="160"/>
                  </a:lnTo>
                  <a:lnTo>
                    <a:pt x="330" y="178"/>
                  </a:lnTo>
                  <a:lnTo>
                    <a:pt x="285" y="194"/>
                  </a:lnTo>
                  <a:lnTo>
                    <a:pt x="240" y="211"/>
                  </a:lnTo>
                  <a:lnTo>
                    <a:pt x="194" y="228"/>
                  </a:lnTo>
                  <a:lnTo>
                    <a:pt x="98" y="261"/>
                  </a:lnTo>
                  <a:lnTo>
                    <a:pt x="0" y="29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3" name="Freeform 48"/>
            <p:cNvSpPr>
              <a:spLocks/>
            </p:cNvSpPr>
            <p:nvPr/>
          </p:nvSpPr>
          <p:spPr bwMode="auto">
            <a:xfrm flipH="1">
              <a:off x="6793383" y="2884120"/>
              <a:ext cx="123849" cy="41277"/>
            </a:xfrm>
            <a:custGeom>
              <a:avLst/>
              <a:gdLst>
                <a:gd name="T0" fmla="*/ 0 w 674"/>
                <a:gd name="T1" fmla="*/ 292 h 292"/>
                <a:gd name="T2" fmla="*/ 0 w 674"/>
                <a:gd name="T3" fmla="*/ 292 h 292"/>
                <a:gd name="T4" fmla="*/ 79 w 674"/>
                <a:gd name="T5" fmla="*/ 266 h 292"/>
                <a:gd name="T6" fmla="*/ 160 w 674"/>
                <a:gd name="T7" fmla="*/ 238 h 292"/>
                <a:gd name="T8" fmla="*/ 243 w 674"/>
                <a:gd name="T9" fmla="*/ 207 h 292"/>
                <a:gd name="T10" fmla="*/ 284 w 674"/>
                <a:gd name="T11" fmla="*/ 190 h 292"/>
                <a:gd name="T12" fmla="*/ 327 w 674"/>
                <a:gd name="T13" fmla="*/ 172 h 292"/>
                <a:gd name="T14" fmla="*/ 371 w 674"/>
                <a:gd name="T15" fmla="*/ 155 h 292"/>
                <a:gd name="T16" fmla="*/ 413 w 674"/>
                <a:gd name="T17" fmla="*/ 135 h 292"/>
                <a:gd name="T18" fmla="*/ 457 w 674"/>
                <a:gd name="T19" fmla="*/ 115 h 292"/>
                <a:gd name="T20" fmla="*/ 501 w 674"/>
                <a:gd name="T21" fmla="*/ 93 h 292"/>
                <a:gd name="T22" fmla="*/ 544 w 674"/>
                <a:gd name="T23" fmla="*/ 71 h 292"/>
                <a:gd name="T24" fmla="*/ 588 w 674"/>
                <a:gd name="T25" fmla="*/ 48 h 292"/>
                <a:gd name="T26" fmla="*/ 632 w 674"/>
                <a:gd name="T27" fmla="*/ 25 h 292"/>
                <a:gd name="T28" fmla="*/ 674 w 674"/>
                <a:gd name="T29" fmla="*/ 0 h 292"/>
                <a:gd name="T30" fmla="*/ 674 w 674"/>
                <a:gd name="T31" fmla="*/ 0 h 292"/>
                <a:gd name="T32" fmla="*/ 642 w 674"/>
                <a:gd name="T33" fmla="*/ 22 h 292"/>
                <a:gd name="T34" fmla="*/ 608 w 674"/>
                <a:gd name="T35" fmla="*/ 43 h 292"/>
                <a:gd name="T36" fmla="*/ 572 w 674"/>
                <a:gd name="T37" fmla="*/ 64 h 292"/>
                <a:gd name="T38" fmla="*/ 535 w 674"/>
                <a:gd name="T39" fmla="*/ 84 h 292"/>
                <a:gd name="T40" fmla="*/ 497 w 674"/>
                <a:gd name="T41" fmla="*/ 104 h 292"/>
                <a:gd name="T42" fmla="*/ 457 w 674"/>
                <a:gd name="T43" fmla="*/ 122 h 292"/>
                <a:gd name="T44" fmla="*/ 415 w 674"/>
                <a:gd name="T45" fmla="*/ 141 h 292"/>
                <a:gd name="T46" fmla="*/ 373 w 674"/>
                <a:gd name="T47" fmla="*/ 160 h 292"/>
                <a:gd name="T48" fmla="*/ 330 w 674"/>
                <a:gd name="T49" fmla="*/ 178 h 292"/>
                <a:gd name="T50" fmla="*/ 285 w 674"/>
                <a:gd name="T51" fmla="*/ 194 h 292"/>
                <a:gd name="T52" fmla="*/ 240 w 674"/>
                <a:gd name="T53" fmla="*/ 211 h 292"/>
                <a:gd name="T54" fmla="*/ 194 w 674"/>
                <a:gd name="T55" fmla="*/ 228 h 292"/>
                <a:gd name="T56" fmla="*/ 98 w 674"/>
                <a:gd name="T57" fmla="*/ 261 h 292"/>
                <a:gd name="T58" fmla="*/ 0 w 674"/>
                <a:gd name="T59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74" h="292">
                  <a:moveTo>
                    <a:pt x="0" y="292"/>
                  </a:moveTo>
                  <a:lnTo>
                    <a:pt x="0" y="292"/>
                  </a:lnTo>
                  <a:lnTo>
                    <a:pt x="79" y="266"/>
                  </a:lnTo>
                  <a:lnTo>
                    <a:pt x="160" y="238"/>
                  </a:lnTo>
                  <a:lnTo>
                    <a:pt x="243" y="207"/>
                  </a:lnTo>
                  <a:lnTo>
                    <a:pt x="284" y="190"/>
                  </a:lnTo>
                  <a:lnTo>
                    <a:pt x="327" y="172"/>
                  </a:lnTo>
                  <a:lnTo>
                    <a:pt x="371" y="155"/>
                  </a:lnTo>
                  <a:lnTo>
                    <a:pt x="413" y="135"/>
                  </a:lnTo>
                  <a:lnTo>
                    <a:pt x="457" y="115"/>
                  </a:lnTo>
                  <a:lnTo>
                    <a:pt x="501" y="93"/>
                  </a:lnTo>
                  <a:lnTo>
                    <a:pt x="544" y="71"/>
                  </a:lnTo>
                  <a:lnTo>
                    <a:pt x="588" y="48"/>
                  </a:lnTo>
                  <a:lnTo>
                    <a:pt x="632" y="25"/>
                  </a:lnTo>
                  <a:lnTo>
                    <a:pt x="674" y="0"/>
                  </a:lnTo>
                  <a:lnTo>
                    <a:pt x="674" y="0"/>
                  </a:lnTo>
                  <a:lnTo>
                    <a:pt x="642" y="22"/>
                  </a:lnTo>
                  <a:lnTo>
                    <a:pt x="608" y="43"/>
                  </a:lnTo>
                  <a:lnTo>
                    <a:pt x="572" y="64"/>
                  </a:lnTo>
                  <a:lnTo>
                    <a:pt x="535" y="84"/>
                  </a:lnTo>
                  <a:lnTo>
                    <a:pt x="497" y="104"/>
                  </a:lnTo>
                  <a:lnTo>
                    <a:pt x="457" y="122"/>
                  </a:lnTo>
                  <a:lnTo>
                    <a:pt x="415" y="141"/>
                  </a:lnTo>
                  <a:lnTo>
                    <a:pt x="373" y="160"/>
                  </a:lnTo>
                  <a:lnTo>
                    <a:pt x="330" y="178"/>
                  </a:lnTo>
                  <a:lnTo>
                    <a:pt x="285" y="194"/>
                  </a:lnTo>
                  <a:lnTo>
                    <a:pt x="240" y="211"/>
                  </a:lnTo>
                  <a:lnTo>
                    <a:pt x="194" y="228"/>
                  </a:lnTo>
                  <a:lnTo>
                    <a:pt x="98" y="261"/>
                  </a:lnTo>
                  <a:lnTo>
                    <a:pt x="0" y="29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4" name="Freeform 49"/>
            <p:cNvSpPr>
              <a:spLocks/>
            </p:cNvSpPr>
            <p:nvPr/>
          </p:nvSpPr>
          <p:spPr bwMode="auto">
            <a:xfrm flipH="1">
              <a:off x="6918521" y="2925397"/>
              <a:ext cx="2580" cy="1290"/>
            </a:xfrm>
            <a:custGeom>
              <a:avLst/>
              <a:gdLst>
                <a:gd name="T0" fmla="*/ 8 w 17"/>
                <a:gd name="T1" fmla="*/ 2 h 5"/>
                <a:gd name="T2" fmla="*/ 8 w 17"/>
                <a:gd name="T3" fmla="*/ 2 h 5"/>
                <a:gd name="T4" fmla="*/ 0 w 17"/>
                <a:gd name="T5" fmla="*/ 5 h 5"/>
                <a:gd name="T6" fmla="*/ 0 w 17"/>
                <a:gd name="T7" fmla="*/ 5 h 5"/>
                <a:gd name="T8" fmla="*/ 17 w 17"/>
                <a:gd name="T9" fmla="*/ 0 h 5"/>
                <a:gd name="T10" fmla="*/ 17 w 17"/>
                <a:gd name="T11" fmla="*/ 0 h 5"/>
                <a:gd name="T12" fmla="*/ 8 w 17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8" y="2"/>
                  </a:moveTo>
                  <a:lnTo>
                    <a:pt x="8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5" name="Freeform 50"/>
            <p:cNvSpPr>
              <a:spLocks/>
            </p:cNvSpPr>
            <p:nvPr/>
          </p:nvSpPr>
          <p:spPr bwMode="auto">
            <a:xfrm flipH="1">
              <a:off x="6918521" y="2925397"/>
              <a:ext cx="2580" cy="1290"/>
            </a:xfrm>
            <a:custGeom>
              <a:avLst/>
              <a:gdLst>
                <a:gd name="T0" fmla="*/ 8 w 17"/>
                <a:gd name="T1" fmla="*/ 2 h 5"/>
                <a:gd name="T2" fmla="*/ 8 w 17"/>
                <a:gd name="T3" fmla="*/ 2 h 5"/>
                <a:gd name="T4" fmla="*/ 0 w 17"/>
                <a:gd name="T5" fmla="*/ 5 h 5"/>
                <a:gd name="T6" fmla="*/ 0 w 17"/>
                <a:gd name="T7" fmla="*/ 5 h 5"/>
                <a:gd name="T8" fmla="*/ 17 w 17"/>
                <a:gd name="T9" fmla="*/ 0 h 5"/>
                <a:gd name="T10" fmla="*/ 17 w 17"/>
                <a:gd name="T11" fmla="*/ 0 h 5"/>
                <a:gd name="T12" fmla="*/ 8 w 17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8" y="2"/>
                  </a:moveTo>
                  <a:lnTo>
                    <a:pt x="8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6" name="Freeform 51"/>
            <p:cNvSpPr>
              <a:spLocks/>
            </p:cNvSpPr>
            <p:nvPr/>
          </p:nvSpPr>
          <p:spPr bwMode="auto">
            <a:xfrm flipH="1">
              <a:off x="7490032" y="2886700"/>
              <a:ext cx="43863" cy="16769"/>
            </a:xfrm>
            <a:custGeom>
              <a:avLst/>
              <a:gdLst>
                <a:gd name="T0" fmla="*/ 0 w 234"/>
                <a:gd name="T1" fmla="*/ 0 h 124"/>
                <a:gd name="T2" fmla="*/ 0 w 234"/>
                <a:gd name="T3" fmla="*/ 0 h 124"/>
                <a:gd name="T4" fmla="*/ 23 w 234"/>
                <a:gd name="T5" fmla="*/ 13 h 124"/>
                <a:gd name="T6" fmla="*/ 75 w 234"/>
                <a:gd name="T7" fmla="*/ 43 h 124"/>
                <a:gd name="T8" fmla="*/ 110 w 234"/>
                <a:gd name="T9" fmla="*/ 62 h 124"/>
                <a:gd name="T10" fmla="*/ 149 w 234"/>
                <a:gd name="T11" fmla="*/ 82 h 124"/>
                <a:gd name="T12" fmla="*/ 190 w 234"/>
                <a:gd name="T13" fmla="*/ 103 h 124"/>
                <a:gd name="T14" fmla="*/ 234 w 234"/>
                <a:gd name="T15" fmla="*/ 124 h 124"/>
                <a:gd name="T16" fmla="*/ 234 w 234"/>
                <a:gd name="T17" fmla="*/ 124 h 124"/>
                <a:gd name="T18" fmla="*/ 171 w 234"/>
                <a:gd name="T19" fmla="*/ 95 h 124"/>
                <a:gd name="T20" fmla="*/ 141 w 234"/>
                <a:gd name="T21" fmla="*/ 79 h 124"/>
                <a:gd name="T22" fmla="*/ 110 w 234"/>
                <a:gd name="T23" fmla="*/ 65 h 124"/>
                <a:gd name="T24" fmla="*/ 82 w 234"/>
                <a:gd name="T25" fmla="*/ 49 h 124"/>
                <a:gd name="T26" fmla="*/ 54 w 234"/>
                <a:gd name="T27" fmla="*/ 32 h 124"/>
                <a:gd name="T28" fmla="*/ 27 w 234"/>
                <a:gd name="T29" fmla="*/ 17 h 124"/>
                <a:gd name="T30" fmla="*/ 0 w 234"/>
                <a:gd name="T31" fmla="*/ 0 h 124"/>
                <a:gd name="T32" fmla="*/ 0 w 234"/>
                <a:gd name="T3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4" h="124">
                  <a:moveTo>
                    <a:pt x="0" y="0"/>
                  </a:moveTo>
                  <a:lnTo>
                    <a:pt x="0" y="0"/>
                  </a:lnTo>
                  <a:lnTo>
                    <a:pt x="23" y="13"/>
                  </a:lnTo>
                  <a:lnTo>
                    <a:pt x="75" y="43"/>
                  </a:lnTo>
                  <a:lnTo>
                    <a:pt x="110" y="62"/>
                  </a:lnTo>
                  <a:lnTo>
                    <a:pt x="149" y="82"/>
                  </a:lnTo>
                  <a:lnTo>
                    <a:pt x="190" y="103"/>
                  </a:lnTo>
                  <a:lnTo>
                    <a:pt x="234" y="124"/>
                  </a:lnTo>
                  <a:lnTo>
                    <a:pt x="234" y="124"/>
                  </a:lnTo>
                  <a:lnTo>
                    <a:pt x="171" y="95"/>
                  </a:lnTo>
                  <a:lnTo>
                    <a:pt x="141" y="79"/>
                  </a:lnTo>
                  <a:lnTo>
                    <a:pt x="110" y="65"/>
                  </a:lnTo>
                  <a:lnTo>
                    <a:pt x="82" y="49"/>
                  </a:lnTo>
                  <a:lnTo>
                    <a:pt x="54" y="32"/>
                  </a:lnTo>
                  <a:lnTo>
                    <a:pt x="27" y="1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7" name="Freeform 52"/>
            <p:cNvSpPr>
              <a:spLocks/>
            </p:cNvSpPr>
            <p:nvPr/>
          </p:nvSpPr>
          <p:spPr bwMode="auto">
            <a:xfrm flipH="1">
              <a:off x="6923682" y="2926687"/>
              <a:ext cx="2580" cy="1290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11 w 11"/>
                <a:gd name="T5" fmla="*/ 0 h 3"/>
                <a:gd name="T6" fmla="*/ 11 w 11"/>
                <a:gd name="T7" fmla="*/ 0 h 3"/>
                <a:gd name="T8" fmla="*/ 0 w 1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8" name="Freeform 53"/>
            <p:cNvSpPr>
              <a:spLocks/>
            </p:cNvSpPr>
            <p:nvPr/>
          </p:nvSpPr>
          <p:spPr bwMode="auto">
            <a:xfrm flipH="1">
              <a:off x="6923682" y="2926687"/>
              <a:ext cx="2580" cy="1290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11 w 11"/>
                <a:gd name="T5" fmla="*/ 0 h 3"/>
                <a:gd name="T6" fmla="*/ 11 w 11"/>
                <a:gd name="T7" fmla="*/ 0 h 3"/>
                <a:gd name="T8" fmla="*/ 0 w 1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59" name="Freeform 54"/>
            <p:cNvSpPr>
              <a:spLocks noEditPoints="1"/>
            </p:cNvSpPr>
            <p:nvPr/>
          </p:nvSpPr>
          <p:spPr bwMode="auto">
            <a:xfrm flipH="1">
              <a:off x="6743069" y="2691922"/>
              <a:ext cx="845009" cy="259274"/>
            </a:xfrm>
            <a:custGeom>
              <a:avLst/>
              <a:gdLst>
                <a:gd name="T0" fmla="*/ 614 w 4587"/>
                <a:gd name="T1" fmla="*/ 1511 h 1809"/>
                <a:gd name="T2" fmla="*/ 870 w 4587"/>
                <a:gd name="T3" fmla="*/ 1603 h 1809"/>
                <a:gd name="T4" fmla="*/ 1021 w 4587"/>
                <a:gd name="T5" fmla="*/ 1649 h 1809"/>
                <a:gd name="T6" fmla="*/ 1201 w 4587"/>
                <a:gd name="T7" fmla="*/ 1695 h 1809"/>
                <a:gd name="T8" fmla="*/ 1378 w 4587"/>
                <a:gd name="T9" fmla="*/ 1731 h 1809"/>
                <a:gd name="T10" fmla="*/ 1552 w 4587"/>
                <a:gd name="T11" fmla="*/ 1759 h 1809"/>
                <a:gd name="T12" fmla="*/ 1766 w 4587"/>
                <a:gd name="T13" fmla="*/ 1784 h 1809"/>
                <a:gd name="T14" fmla="*/ 2040 w 4587"/>
                <a:gd name="T15" fmla="*/ 1804 h 1809"/>
                <a:gd name="T16" fmla="*/ 2262 w 4587"/>
                <a:gd name="T17" fmla="*/ 1809 h 1809"/>
                <a:gd name="T18" fmla="*/ 2352 w 4587"/>
                <a:gd name="T19" fmla="*/ 1809 h 1809"/>
                <a:gd name="T20" fmla="*/ 2620 w 4587"/>
                <a:gd name="T21" fmla="*/ 1800 h 1809"/>
                <a:gd name="T22" fmla="*/ 2814 w 4587"/>
                <a:gd name="T23" fmla="*/ 1786 h 1809"/>
                <a:gd name="T24" fmla="*/ 3036 w 4587"/>
                <a:gd name="T25" fmla="*/ 1758 h 1809"/>
                <a:gd name="T26" fmla="*/ 2941 w 4587"/>
                <a:gd name="T27" fmla="*/ 795 h 1809"/>
                <a:gd name="T28" fmla="*/ 2706 w 4587"/>
                <a:gd name="T29" fmla="*/ 822 h 1809"/>
                <a:gd name="T30" fmla="*/ 2462 w 4587"/>
                <a:gd name="T31" fmla="*/ 837 h 1809"/>
                <a:gd name="T32" fmla="*/ 2293 w 4587"/>
                <a:gd name="T33" fmla="*/ 840 h 1809"/>
                <a:gd name="T34" fmla="*/ 1981 w 4587"/>
                <a:gd name="T35" fmla="*/ 830 h 1809"/>
                <a:gd name="T36" fmla="*/ 1684 w 4587"/>
                <a:gd name="T37" fmla="*/ 800 h 1809"/>
                <a:gd name="T38" fmla="*/ 1405 w 4587"/>
                <a:gd name="T39" fmla="*/ 752 h 1809"/>
                <a:gd name="T40" fmla="*/ 1149 w 4587"/>
                <a:gd name="T41" fmla="*/ 687 h 1809"/>
                <a:gd name="T42" fmla="*/ 955 w 4587"/>
                <a:gd name="T43" fmla="*/ 623 h 1809"/>
                <a:gd name="T44" fmla="*/ 848 w 4587"/>
                <a:gd name="T45" fmla="*/ 579 h 1809"/>
                <a:gd name="T46" fmla="*/ 42 w 4587"/>
                <a:gd name="T47" fmla="*/ 657 h 1809"/>
                <a:gd name="T48" fmla="*/ 274 w 4587"/>
                <a:gd name="T49" fmla="*/ 0 h 1809"/>
                <a:gd name="T50" fmla="*/ 292 w 4587"/>
                <a:gd name="T51" fmla="*/ 90 h 1809"/>
                <a:gd name="T52" fmla="*/ 330 w 4587"/>
                <a:gd name="T53" fmla="*/ 178 h 1809"/>
                <a:gd name="T54" fmla="*/ 389 w 4587"/>
                <a:gd name="T55" fmla="*/ 262 h 1809"/>
                <a:gd name="T56" fmla="*/ 467 w 4587"/>
                <a:gd name="T57" fmla="*/ 342 h 1809"/>
                <a:gd name="T58" fmla="*/ 561 w 4587"/>
                <a:gd name="T59" fmla="*/ 418 h 1809"/>
                <a:gd name="T60" fmla="*/ 296 w 4587"/>
                <a:gd name="T61" fmla="*/ 1351 h 1809"/>
                <a:gd name="T62" fmla="*/ 251 w 4587"/>
                <a:gd name="T63" fmla="*/ 1321 h 1809"/>
                <a:gd name="T64" fmla="*/ 190 w 4587"/>
                <a:gd name="T65" fmla="*/ 1271 h 1809"/>
                <a:gd name="T66" fmla="*/ 136 w 4587"/>
                <a:gd name="T67" fmla="*/ 1219 h 1809"/>
                <a:gd name="T68" fmla="*/ 91 w 4587"/>
                <a:gd name="T69" fmla="*/ 1163 h 1809"/>
                <a:gd name="T70" fmla="*/ 54 w 4587"/>
                <a:gd name="T71" fmla="*/ 1104 h 1809"/>
                <a:gd name="T72" fmla="*/ 26 w 4587"/>
                <a:gd name="T73" fmla="*/ 1041 h 1809"/>
                <a:gd name="T74" fmla="*/ 8 w 4587"/>
                <a:gd name="T75" fmla="*/ 974 h 1809"/>
                <a:gd name="T76" fmla="*/ 0 w 4587"/>
                <a:gd name="T77" fmla="*/ 902 h 1809"/>
                <a:gd name="T78" fmla="*/ 3 w 4587"/>
                <a:gd name="T79" fmla="*/ 825 h 1809"/>
                <a:gd name="T80" fmla="*/ 17 w 4587"/>
                <a:gd name="T81" fmla="*/ 744 h 1809"/>
                <a:gd name="T82" fmla="*/ 42 w 4587"/>
                <a:gd name="T83" fmla="*/ 657 h 1809"/>
                <a:gd name="T84" fmla="*/ 4544 w 4587"/>
                <a:gd name="T85" fmla="*/ 657 h 1809"/>
                <a:gd name="T86" fmla="*/ 4562 w 4587"/>
                <a:gd name="T87" fmla="*/ 713 h 1809"/>
                <a:gd name="T88" fmla="*/ 4579 w 4587"/>
                <a:gd name="T89" fmla="*/ 795 h 1809"/>
                <a:gd name="T90" fmla="*/ 4587 w 4587"/>
                <a:gd name="T91" fmla="*/ 871 h 1809"/>
                <a:gd name="T92" fmla="*/ 4584 w 4587"/>
                <a:gd name="T93" fmla="*/ 942 h 1809"/>
                <a:gd name="T94" fmla="*/ 4570 w 4587"/>
                <a:gd name="T95" fmla="*/ 1009 h 1809"/>
                <a:gd name="T96" fmla="*/ 4548 w 4587"/>
                <a:gd name="T97" fmla="*/ 1072 h 1809"/>
                <a:gd name="T98" fmla="*/ 4517 w 4587"/>
                <a:gd name="T99" fmla="*/ 1132 h 1809"/>
                <a:gd name="T100" fmla="*/ 4478 w 4587"/>
                <a:gd name="T101" fmla="*/ 1187 h 1809"/>
                <a:gd name="T102" fmla="*/ 4430 w 4587"/>
                <a:gd name="T103" fmla="*/ 1241 h 1809"/>
                <a:gd name="T104" fmla="*/ 4375 w 4587"/>
                <a:gd name="T105" fmla="*/ 1290 h 1809"/>
                <a:gd name="T106" fmla="*/ 4313 w 4587"/>
                <a:gd name="T107" fmla="*/ 1336 h 1809"/>
                <a:gd name="T108" fmla="*/ 4042 w 4587"/>
                <a:gd name="T109" fmla="*/ 406 h 1809"/>
                <a:gd name="T110" fmla="*/ 4126 w 4587"/>
                <a:gd name="T111" fmla="*/ 337 h 1809"/>
                <a:gd name="T112" fmla="*/ 4196 w 4587"/>
                <a:gd name="T113" fmla="*/ 264 h 1809"/>
                <a:gd name="T114" fmla="*/ 4250 w 4587"/>
                <a:gd name="T115" fmla="*/ 189 h 1809"/>
                <a:gd name="T116" fmla="*/ 4287 w 4587"/>
                <a:gd name="T117" fmla="*/ 110 h 1809"/>
                <a:gd name="T118" fmla="*/ 4308 w 4587"/>
                <a:gd name="T119" fmla="*/ 29 h 1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87" h="1809">
                  <a:moveTo>
                    <a:pt x="615" y="1511"/>
                  </a:moveTo>
                  <a:lnTo>
                    <a:pt x="614" y="1511"/>
                  </a:lnTo>
                  <a:lnTo>
                    <a:pt x="614" y="1511"/>
                  </a:lnTo>
                  <a:lnTo>
                    <a:pt x="696" y="1543"/>
                  </a:lnTo>
                  <a:lnTo>
                    <a:pt x="782" y="1574"/>
                  </a:lnTo>
                  <a:lnTo>
                    <a:pt x="870" y="1603"/>
                  </a:lnTo>
                  <a:lnTo>
                    <a:pt x="962" y="1631"/>
                  </a:lnTo>
                  <a:lnTo>
                    <a:pt x="962" y="1631"/>
                  </a:lnTo>
                  <a:lnTo>
                    <a:pt x="1021" y="1649"/>
                  </a:lnTo>
                  <a:lnTo>
                    <a:pt x="1081" y="1666"/>
                  </a:lnTo>
                  <a:lnTo>
                    <a:pt x="1140" y="1681"/>
                  </a:lnTo>
                  <a:lnTo>
                    <a:pt x="1201" y="1695"/>
                  </a:lnTo>
                  <a:lnTo>
                    <a:pt x="1261" y="1708"/>
                  </a:lnTo>
                  <a:lnTo>
                    <a:pt x="1320" y="1720"/>
                  </a:lnTo>
                  <a:lnTo>
                    <a:pt x="1378" y="1731"/>
                  </a:lnTo>
                  <a:lnTo>
                    <a:pt x="1438" y="1742"/>
                  </a:lnTo>
                  <a:lnTo>
                    <a:pt x="1495" y="1751"/>
                  </a:lnTo>
                  <a:lnTo>
                    <a:pt x="1552" y="1759"/>
                  </a:lnTo>
                  <a:lnTo>
                    <a:pt x="1607" y="1767"/>
                  </a:lnTo>
                  <a:lnTo>
                    <a:pt x="1662" y="1773"/>
                  </a:lnTo>
                  <a:lnTo>
                    <a:pt x="1766" y="1784"/>
                  </a:lnTo>
                  <a:lnTo>
                    <a:pt x="1865" y="1793"/>
                  </a:lnTo>
                  <a:lnTo>
                    <a:pt x="1956" y="1800"/>
                  </a:lnTo>
                  <a:lnTo>
                    <a:pt x="2040" y="1804"/>
                  </a:lnTo>
                  <a:lnTo>
                    <a:pt x="2112" y="1807"/>
                  </a:lnTo>
                  <a:lnTo>
                    <a:pt x="2175" y="1808"/>
                  </a:lnTo>
                  <a:lnTo>
                    <a:pt x="2262" y="1809"/>
                  </a:lnTo>
                  <a:lnTo>
                    <a:pt x="2293" y="1808"/>
                  </a:lnTo>
                  <a:lnTo>
                    <a:pt x="2293" y="1808"/>
                  </a:lnTo>
                  <a:lnTo>
                    <a:pt x="2352" y="1809"/>
                  </a:lnTo>
                  <a:lnTo>
                    <a:pt x="2419" y="1808"/>
                  </a:lnTo>
                  <a:lnTo>
                    <a:pt x="2510" y="1805"/>
                  </a:lnTo>
                  <a:lnTo>
                    <a:pt x="2620" y="1800"/>
                  </a:lnTo>
                  <a:lnTo>
                    <a:pt x="2681" y="1796"/>
                  </a:lnTo>
                  <a:lnTo>
                    <a:pt x="2746" y="1792"/>
                  </a:lnTo>
                  <a:lnTo>
                    <a:pt x="2814" y="1786"/>
                  </a:lnTo>
                  <a:lnTo>
                    <a:pt x="2885" y="1778"/>
                  </a:lnTo>
                  <a:lnTo>
                    <a:pt x="2960" y="1769"/>
                  </a:lnTo>
                  <a:lnTo>
                    <a:pt x="3036" y="1758"/>
                  </a:lnTo>
                  <a:lnTo>
                    <a:pt x="3036" y="1758"/>
                  </a:lnTo>
                  <a:lnTo>
                    <a:pt x="2941" y="795"/>
                  </a:lnTo>
                  <a:lnTo>
                    <a:pt x="2941" y="795"/>
                  </a:lnTo>
                  <a:lnTo>
                    <a:pt x="2864" y="805"/>
                  </a:lnTo>
                  <a:lnTo>
                    <a:pt x="2786" y="814"/>
                  </a:lnTo>
                  <a:lnTo>
                    <a:pt x="2706" y="822"/>
                  </a:lnTo>
                  <a:lnTo>
                    <a:pt x="2626" y="829"/>
                  </a:lnTo>
                  <a:lnTo>
                    <a:pt x="2544" y="833"/>
                  </a:lnTo>
                  <a:lnTo>
                    <a:pt x="2462" y="837"/>
                  </a:lnTo>
                  <a:lnTo>
                    <a:pt x="2378" y="839"/>
                  </a:lnTo>
                  <a:lnTo>
                    <a:pt x="2293" y="840"/>
                  </a:lnTo>
                  <a:lnTo>
                    <a:pt x="2293" y="840"/>
                  </a:lnTo>
                  <a:lnTo>
                    <a:pt x="2187" y="839"/>
                  </a:lnTo>
                  <a:lnTo>
                    <a:pt x="2083" y="835"/>
                  </a:lnTo>
                  <a:lnTo>
                    <a:pt x="1981" y="830"/>
                  </a:lnTo>
                  <a:lnTo>
                    <a:pt x="1880" y="822"/>
                  </a:lnTo>
                  <a:lnTo>
                    <a:pt x="1781" y="812"/>
                  </a:lnTo>
                  <a:lnTo>
                    <a:pt x="1684" y="800"/>
                  </a:lnTo>
                  <a:lnTo>
                    <a:pt x="1588" y="786"/>
                  </a:lnTo>
                  <a:lnTo>
                    <a:pt x="1496" y="770"/>
                  </a:lnTo>
                  <a:lnTo>
                    <a:pt x="1405" y="752"/>
                  </a:lnTo>
                  <a:lnTo>
                    <a:pt x="1317" y="732"/>
                  </a:lnTo>
                  <a:lnTo>
                    <a:pt x="1232" y="711"/>
                  </a:lnTo>
                  <a:lnTo>
                    <a:pt x="1149" y="687"/>
                  </a:lnTo>
                  <a:lnTo>
                    <a:pt x="1069" y="662"/>
                  </a:lnTo>
                  <a:lnTo>
                    <a:pt x="992" y="636"/>
                  </a:lnTo>
                  <a:lnTo>
                    <a:pt x="955" y="623"/>
                  </a:lnTo>
                  <a:lnTo>
                    <a:pt x="919" y="608"/>
                  </a:lnTo>
                  <a:lnTo>
                    <a:pt x="883" y="594"/>
                  </a:lnTo>
                  <a:lnTo>
                    <a:pt x="848" y="579"/>
                  </a:lnTo>
                  <a:lnTo>
                    <a:pt x="848" y="579"/>
                  </a:lnTo>
                  <a:lnTo>
                    <a:pt x="615" y="1511"/>
                  </a:lnTo>
                  <a:close/>
                  <a:moveTo>
                    <a:pt x="42" y="657"/>
                  </a:moveTo>
                  <a:lnTo>
                    <a:pt x="42" y="657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8" y="30"/>
                  </a:lnTo>
                  <a:lnTo>
                    <a:pt x="284" y="60"/>
                  </a:lnTo>
                  <a:lnTo>
                    <a:pt x="292" y="90"/>
                  </a:lnTo>
                  <a:lnTo>
                    <a:pt x="302" y="119"/>
                  </a:lnTo>
                  <a:lnTo>
                    <a:pt x="316" y="150"/>
                  </a:lnTo>
                  <a:lnTo>
                    <a:pt x="330" y="178"/>
                  </a:lnTo>
                  <a:lnTo>
                    <a:pt x="348" y="207"/>
                  </a:lnTo>
                  <a:lnTo>
                    <a:pt x="368" y="235"/>
                  </a:lnTo>
                  <a:lnTo>
                    <a:pt x="389" y="262"/>
                  </a:lnTo>
                  <a:lnTo>
                    <a:pt x="413" y="289"/>
                  </a:lnTo>
                  <a:lnTo>
                    <a:pt x="439" y="316"/>
                  </a:lnTo>
                  <a:lnTo>
                    <a:pt x="467" y="342"/>
                  </a:lnTo>
                  <a:lnTo>
                    <a:pt x="496" y="368"/>
                  </a:lnTo>
                  <a:lnTo>
                    <a:pt x="528" y="395"/>
                  </a:lnTo>
                  <a:lnTo>
                    <a:pt x="561" y="418"/>
                  </a:lnTo>
                  <a:lnTo>
                    <a:pt x="597" y="443"/>
                  </a:lnTo>
                  <a:lnTo>
                    <a:pt x="597" y="443"/>
                  </a:lnTo>
                  <a:lnTo>
                    <a:pt x="296" y="1351"/>
                  </a:lnTo>
                  <a:lnTo>
                    <a:pt x="296" y="1351"/>
                  </a:lnTo>
                  <a:lnTo>
                    <a:pt x="273" y="1336"/>
                  </a:lnTo>
                  <a:lnTo>
                    <a:pt x="251" y="1321"/>
                  </a:lnTo>
                  <a:lnTo>
                    <a:pt x="231" y="1304"/>
                  </a:lnTo>
                  <a:lnTo>
                    <a:pt x="210" y="1287"/>
                  </a:lnTo>
                  <a:lnTo>
                    <a:pt x="190" y="1271"/>
                  </a:lnTo>
                  <a:lnTo>
                    <a:pt x="171" y="1254"/>
                  </a:lnTo>
                  <a:lnTo>
                    <a:pt x="154" y="1236"/>
                  </a:lnTo>
                  <a:lnTo>
                    <a:pt x="136" y="1219"/>
                  </a:lnTo>
                  <a:lnTo>
                    <a:pt x="120" y="1201"/>
                  </a:lnTo>
                  <a:lnTo>
                    <a:pt x="105" y="1182"/>
                  </a:lnTo>
                  <a:lnTo>
                    <a:pt x="91" y="1163"/>
                  </a:lnTo>
                  <a:lnTo>
                    <a:pt x="78" y="1144"/>
                  </a:lnTo>
                  <a:lnTo>
                    <a:pt x="65" y="1124"/>
                  </a:lnTo>
                  <a:lnTo>
                    <a:pt x="54" y="1104"/>
                  </a:lnTo>
                  <a:lnTo>
                    <a:pt x="44" y="1083"/>
                  </a:lnTo>
                  <a:lnTo>
                    <a:pt x="34" y="1062"/>
                  </a:lnTo>
                  <a:lnTo>
                    <a:pt x="26" y="1041"/>
                  </a:lnTo>
                  <a:lnTo>
                    <a:pt x="19" y="1019"/>
                  </a:lnTo>
                  <a:lnTo>
                    <a:pt x="13" y="997"/>
                  </a:lnTo>
                  <a:lnTo>
                    <a:pt x="8" y="974"/>
                  </a:lnTo>
                  <a:lnTo>
                    <a:pt x="4" y="950"/>
                  </a:lnTo>
                  <a:lnTo>
                    <a:pt x="2" y="926"/>
                  </a:lnTo>
                  <a:lnTo>
                    <a:pt x="0" y="902"/>
                  </a:lnTo>
                  <a:lnTo>
                    <a:pt x="0" y="877"/>
                  </a:lnTo>
                  <a:lnTo>
                    <a:pt x="1" y="851"/>
                  </a:lnTo>
                  <a:lnTo>
                    <a:pt x="3" y="825"/>
                  </a:lnTo>
                  <a:lnTo>
                    <a:pt x="6" y="799"/>
                  </a:lnTo>
                  <a:lnTo>
                    <a:pt x="11" y="772"/>
                  </a:lnTo>
                  <a:lnTo>
                    <a:pt x="17" y="744"/>
                  </a:lnTo>
                  <a:lnTo>
                    <a:pt x="24" y="715"/>
                  </a:lnTo>
                  <a:lnTo>
                    <a:pt x="33" y="686"/>
                  </a:lnTo>
                  <a:lnTo>
                    <a:pt x="42" y="657"/>
                  </a:lnTo>
                  <a:close/>
                  <a:moveTo>
                    <a:pt x="4311" y="2"/>
                  </a:moveTo>
                  <a:lnTo>
                    <a:pt x="4311" y="2"/>
                  </a:lnTo>
                  <a:lnTo>
                    <a:pt x="4544" y="657"/>
                  </a:lnTo>
                  <a:lnTo>
                    <a:pt x="4544" y="657"/>
                  </a:lnTo>
                  <a:lnTo>
                    <a:pt x="4553" y="685"/>
                  </a:lnTo>
                  <a:lnTo>
                    <a:pt x="4562" y="713"/>
                  </a:lnTo>
                  <a:lnTo>
                    <a:pt x="4569" y="740"/>
                  </a:lnTo>
                  <a:lnTo>
                    <a:pt x="4575" y="768"/>
                  </a:lnTo>
                  <a:lnTo>
                    <a:pt x="4579" y="795"/>
                  </a:lnTo>
                  <a:lnTo>
                    <a:pt x="4583" y="820"/>
                  </a:lnTo>
                  <a:lnTo>
                    <a:pt x="4586" y="846"/>
                  </a:lnTo>
                  <a:lnTo>
                    <a:pt x="4587" y="871"/>
                  </a:lnTo>
                  <a:lnTo>
                    <a:pt x="4587" y="895"/>
                  </a:lnTo>
                  <a:lnTo>
                    <a:pt x="4586" y="919"/>
                  </a:lnTo>
                  <a:lnTo>
                    <a:pt x="4584" y="942"/>
                  </a:lnTo>
                  <a:lnTo>
                    <a:pt x="4579" y="964"/>
                  </a:lnTo>
                  <a:lnTo>
                    <a:pt x="4575" y="987"/>
                  </a:lnTo>
                  <a:lnTo>
                    <a:pt x="4570" y="1009"/>
                  </a:lnTo>
                  <a:lnTo>
                    <a:pt x="4564" y="1030"/>
                  </a:lnTo>
                  <a:lnTo>
                    <a:pt x="4557" y="1052"/>
                  </a:lnTo>
                  <a:lnTo>
                    <a:pt x="4548" y="1072"/>
                  </a:lnTo>
                  <a:lnTo>
                    <a:pt x="4539" y="1093"/>
                  </a:lnTo>
                  <a:lnTo>
                    <a:pt x="4529" y="1112"/>
                  </a:lnTo>
                  <a:lnTo>
                    <a:pt x="4517" y="1132"/>
                  </a:lnTo>
                  <a:lnTo>
                    <a:pt x="4505" y="1151"/>
                  </a:lnTo>
                  <a:lnTo>
                    <a:pt x="4491" y="1170"/>
                  </a:lnTo>
                  <a:lnTo>
                    <a:pt x="4478" y="1187"/>
                  </a:lnTo>
                  <a:lnTo>
                    <a:pt x="4462" y="1205"/>
                  </a:lnTo>
                  <a:lnTo>
                    <a:pt x="4446" y="1223"/>
                  </a:lnTo>
                  <a:lnTo>
                    <a:pt x="4430" y="1241"/>
                  </a:lnTo>
                  <a:lnTo>
                    <a:pt x="4412" y="1257"/>
                  </a:lnTo>
                  <a:lnTo>
                    <a:pt x="4394" y="1273"/>
                  </a:lnTo>
                  <a:lnTo>
                    <a:pt x="4375" y="1290"/>
                  </a:lnTo>
                  <a:lnTo>
                    <a:pt x="4355" y="1305"/>
                  </a:lnTo>
                  <a:lnTo>
                    <a:pt x="4334" y="1321"/>
                  </a:lnTo>
                  <a:lnTo>
                    <a:pt x="4313" y="1336"/>
                  </a:lnTo>
                  <a:lnTo>
                    <a:pt x="4313" y="1336"/>
                  </a:lnTo>
                  <a:lnTo>
                    <a:pt x="4042" y="406"/>
                  </a:lnTo>
                  <a:lnTo>
                    <a:pt x="4042" y="406"/>
                  </a:lnTo>
                  <a:lnTo>
                    <a:pt x="4072" y="384"/>
                  </a:lnTo>
                  <a:lnTo>
                    <a:pt x="4100" y="361"/>
                  </a:lnTo>
                  <a:lnTo>
                    <a:pt x="4126" y="337"/>
                  </a:lnTo>
                  <a:lnTo>
                    <a:pt x="4151" y="313"/>
                  </a:lnTo>
                  <a:lnTo>
                    <a:pt x="4174" y="289"/>
                  </a:lnTo>
                  <a:lnTo>
                    <a:pt x="4196" y="264"/>
                  </a:lnTo>
                  <a:lnTo>
                    <a:pt x="4216" y="239"/>
                  </a:lnTo>
                  <a:lnTo>
                    <a:pt x="4233" y="214"/>
                  </a:lnTo>
                  <a:lnTo>
                    <a:pt x="4250" y="189"/>
                  </a:lnTo>
                  <a:lnTo>
                    <a:pt x="4264" y="163"/>
                  </a:lnTo>
                  <a:lnTo>
                    <a:pt x="4277" y="137"/>
                  </a:lnTo>
                  <a:lnTo>
                    <a:pt x="4287" y="110"/>
                  </a:lnTo>
                  <a:lnTo>
                    <a:pt x="4297" y="83"/>
                  </a:lnTo>
                  <a:lnTo>
                    <a:pt x="4303" y="57"/>
                  </a:lnTo>
                  <a:lnTo>
                    <a:pt x="4308" y="29"/>
                  </a:lnTo>
                  <a:lnTo>
                    <a:pt x="4311" y="2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0" name="Freeform 55"/>
            <p:cNvSpPr>
              <a:spLocks/>
            </p:cNvSpPr>
            <p:nvPr/>
          </p:nvSpPr>
          <p:spPr bwMode="auto">
            <a:xfrm flipH="1">
              <a:off x="7028180" y="2775767"/>
              <a:ext cx="446371" cy="175429"/>
            </a:xfrm>
            <a:custGeom>
              <a:avLst/>
              <a:gdLst>
                <a:gd name="T0" fmla="*/ 0 w 2422"/>
                <a:gd name="T1" fmla="*/ 932 h 1230"/>
                <a:gd name="T2" fmla="*/ 82 w 2422"/>
                <a:gd name="T3" fmla="*/ 964 h 1230"/>
                <a:gd name="T4" fmla="*/ 256 w 2422"/>
                <a:gd name="T5" fmla="*/ 1024 h 1230"/>
                <a:gd name="T6" fmla="*/ 348 w 2422"/>
                <a:gd name="T7" fmla="*/ 1052 h 1230"/>
                <a:gd name="T8" fmla="*/ 467 w 2422"/>
                <a:gd name="T9" fmla="*/ 1087 h 1230"/>
                <a:gd name="T10" fmla="*/ 587 w 2422"/>
                <a:gd name="T11" fmla="*/ 1116 h 1230"/>
                <a:gd name="T12" fmla="*/ 706 w 2422"/>
                <a:gd name="T13" fmla="*/ 1141 h 1230"/>
                <a:gd name="T14" fmla="*/ 824 w 2422"/>
                <a:gd name="T15" fmla="*/ 1163 h 1230"/>
                <a:gd name="T16" fmla="*/ 938 w 2422"/>
                <a:gd name="T17" fmla="*/ 1180 h 1230"/>
                <a:gd name="T18" fmla="*/ 1048 w 2422"/>
                <a:gd name="T19" fmla="*/ 1194 h 1230"/>
                <a:gd name="T20" fmla="*/ 1251 w 2422"/>
                <a:gd name="T21" fmla="*/ 1214 h 1230"/>
                <a:gd name="T22" fmla="*/ 1426 w 2422"/>
                <a:gd name="T23" fmla="*/ 1225 h 1230"/>
                <a:gd name="T24" fmla="*/ 1561 w 2422"/>
                <a:gd name="T25" fmla="*/ 1229 h 1230"/>
                <a:gd name="T26" fmla="*/ 1679 w 2422"/>
                <a:gd name="T27" fmla="*/ 1229 h 1230"/>
                <a:gd name="T28" fmla="*/ 1738 w 2422"/>
                <a:gd name="T29" fmla="*/ 1230 h 1230"/>
                <a:gd name="T30" fmla="*/ 1896 w 2422"/>
                <a:gd name="T31" fmla="*/ 1226 h 1230"/>
                <a:gd name="T32" fmla="*/ 2067 w 2422"/>
                <a:gd name="T33" fmla="*/ 1217 h 1230"/>
                <a:gd name="T34" fmla="*/ 2200 w 2422"/>
                <a:gd name="T35" fmla="*/ 1207 h 1230"/>
                <a:gd name="T36" fmla="*/ 2346 w 2422"/>
                <a:gd name="T37" fmla="*/ 1190 h 1230"/>
                <a:gd name="T38" fmla="*/ 2422 w 2422"/>
                <a:gd name="T39" fmla="*/ 1179 h 1230"/>
                <a:gd name="T40" fmla="*/ 2327 w 2422"/>
                <a:gd name="T41" fmla="*/ 216 h 1230"/>
                <a:gd name="T42" fmla="*/ 2172 w 2422"/>
                <a:gd name="T43" fmla="*/ 235 h 1230"/>
                <a:gd name="T44" fmla="*/ 2012 w 2422"/>
                <a:gd name="T45" fmla="*/ 250 h 1230"/>
                <a:gd name="T46" fmla="*/ 1848 w 2422"/>
                <a:gd name="T47" fmla="*/ 258 h 1230"/>
                <a:gd name="T48" fmla="*/ 1679 w 2422"/>
                <a:gd name="T49" fmla="*/ 261 h 1230"/>
                <a:gd name="T50" fmla="*/ 1573 w 2422"/>
                <a:gd name="T51" fmla="*/ 260 h 1230"/>
                <a:gd name="T52" fmla="*/ 1367 w 2422"/>
                <a:gd name="T53" fmla="*/ 251 h 1230"/>
                <a:gd name="T54" fmla="*/ 1167 w 2422"/>
                <a:gd name="T55" fmla="*/ 233 h 1230"/>
                <a:gd name="T56" fmla="*/ 974 w 2422"/>
                <a:gd name="T57" fmla="*/ 207 h 1230"/>
                <a:gd name="T58" fmla="*/ 791 w 2422"/>
                <a:gd name="T59" fmla="*/ 173 h 1230"/>
                <a:gd name="T60" fmla="*/ 618 w 2422"/>
                <a:gd name="T61" fmla="*/ 132 h 1230"/>
                <a:gd name="T62" fmla="*/ 455 w 2422"/>
                <a:gd name="T63" fmla="*/ 83 h 1230"/>
                <a:gd name="T64" fmla="*/ 341 w 2422"/>
                <a:gd name="T65" fmla="*/ 44 h 1230"/>
                <a:gd name="T66" fmla="*/ 269 w 2422"/>
                <a:gd name="T67" fmla="*/ 15 h 1230"/>
                <a:gd name="T68" fmla="*/ 234 w 2422"/>
                <a:gd name="T69" fmla="*/ 0 h 1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22" h="1230">
                  <a:moveTo>
                    <a:pt x="1" y="932"/>
                  </a:moveTo>
                  <a:lnTo>
                    <a:pt x="0" y="932"/>
                  </a:lnTo>
                  <a:lnTo>
                    <a:pt x="0" y="932"/>
                  </a:lnTo>
                  <a:lnTo>
                    <a:pt x="82" y="964"/>
                  </a:lnTo>
                  <a:lnTo>
                    <a:pt x="168" y="995"/>
                  </a:lnTo>
                  <a:lnTo>
                    <a:pt x="256" y="1024"/>
                  </a:lnTo>
                  <a:lnTo>
                    <a:pt x="348" y="1052"/>
                  </a:lnTo>
                  <a:lnTo>
                    <a:pt x="348" y="1052"/>
                  </a:lnTo>
                  <a:lnTo>
                    <a:pt x="407" y="1070"/>
                  </a:lnTo>
                  <a:lnTo>
                    <a:pt x="467" y="1087"/>
                  </a:lnTo>
                  <a:lnTo>
                    <a:pt x="526" y="1102"/>
                  </a:lnTo>
                  <a:lnTo>
                    <a:pt x="587" y="1116"/>
                  </a:lnTo>
                  <a:lnTo>
                    <a:pt x="647" y="1129"/>
                  </a:lnTo>
                  <a:lnTo>
                    <a:pt x="706" y="1141"/>
                  </a:lnTo>
                  <a:lnTo>
                    <a:pt x="764" y="1152"/>
                  </a:lnTo>
                  <a:lnTo>
                    <a:pt x="824" y="1163"/>
                  </a:lnTo>
                  <a:lnTo>
                    <a:pt x="881" y="1172"/>
                  </a:lnTo>
                  <a:lnTo>
                    <a:pt x="938" y="1180"/>
                  </a:lnTo>
                  <a:lnTo>
                    <a:pt x="993" y="1188"/>
                  </a:lnTo>
                  <a:lnTo>
                    <a:pt x="1048" y="1194"/>
                  </a:lnTo>
                  <a:lnTo>
                    <a:pt x="1152" y="1205"/>
                  </a:lnTo>
                  <a:lnTo>
                    <a:pt x="1251" y="1214"/>
                  </a:lnTo>
                  <a:lnTo>
                    <a:pt x="1342" y="1221"/>
                  </a:lnTo>
                  <a:lnTo>
                    <a:pt x="1426" y="1225"/>
                  </a:lnTo>
                  <a:lnTo>
                    <a:pt x="1498" y="1228"/>
                  </a:lnTo>
                  <a:lnTo>
                    <a:pt x="1561" y="1229"/>
                  </a:lnTo>
                  <a:lnTo>
                    <a:pt x="1648" y="1230"/>
                  </a:lnTo>
                  <a:lnTo>
                    <a:pt x="1679" y="1229"/>
                  </a:lnTo>
                  <a:lnTo>
                    <a:pt x="1679" y="1229"/>
                  </a:lnTo>
                  <a:lnTo>
                    <a:pt x="1738" y="1230"/>
                  </a:lnTo>
                  <a:lnTo>
                    <a:pt x="1805" y="1229"/>
                  </a:lnTo>
                  <a:lnTo>
                    <a:pt x="1896" y="1226"/>
                  </a:lnTo>
                  <a:lnTo>
                    <a:pt x="2006" y="1221"/>
                  </a:lnTo>
                  <a:lnTo>
                    <a:pt x="2067" y="1217"/>
                  </a:lnTo>
                  <a:lnTo>
                    <a:pt x="2132" y="1213"/>
                  </a:lnTo>
                  <a:lnTo>
                    <a:pt x="2200" y="1207"/>
                  </a:lnTo>
                  <a:lnTo>
                    <a:pt x="2271" y="1199"/>
                  </a:lnTo>
                  <a:lnTo>
                    <a:pt x="2346" y="1190"/>
                  </a:lnTo>
                  <a:lnTo>
                    <a:pt x="2422" y="1179"/>
                  </a:lnTo>
                  <a:lnTo>
                    <a:pt x="2422" y="1179"/>
                  </a:lnTo>
                  <a:lnTo>
                    <a:pt x="2327" y="216"/>
                  </a:lnTo>
                  <a:lnTo>
                    <a:pt x="2327" y="216"/>
                  </a:lnTo>
                  <a:lnTo>
                    <a:pt x="2250" y="226"/>
                  </a:lnTo>
                  <a:lnTo>
                    <a:pt x="2172" y="235"/>
                  </a:lnTo>
                  <a:lnTo>
                    <a:pt x="2092" y="243"/>
                  </a:lnTo>
                  <a:lnTo>
                    <a:pt x="2012" y="250"/>
                  </a:lnTo>
                  <a:lnTo>
                    <a:pt x="1930" y="254"/>
                  </a:lnTo>
                  <a:lnTo>
                    <a:pt x="1848" y="258"/>
                  </a:lnTo>
                  <a:lnTo>
                    <a:pt x="1764" y="260"/>
                  </a:lnTo>
                  <a:lnTo>
                    <a:pt x="1679" y="261"/>
                  </a:lnTo>
                  <a:lnTo>
                    <a:pt x="1679" y="261"/>
                  </a:lnTo>
                  <a:lnTo>
                    <a:pt x="1573" y="260"/>
                  </a:lnTo>
                  <a:lnTo>
                    <a:pt x="1469" y="256"/>
                  </a:lnTo>
                  <a:lnTo>
                    <a:pt x="1367" y="251"/>
                  </a:lnTo>
                  <a:lnTo>
                    <a:pt x="1266" y="243"/>
                  </a:lnTo>
                  <a:lnTo>
                    <a:pt x="1167" y="233"/>
                  </a:lnTo>
                  <a:lnTo>
                    <a:pt x="1070" y="221"/>
                  </a:lnTo>
                  <a:lnTo>
                    <a:pt x="974" y="207"/>
                  </a:lnTo>
                  <a:lnTo>
                    <a:pt x="882" y="191"/>
                  </a:lnTo>
                  <a:lnTo>
                    <a:pt x="791" y="173"/>
                  </a:lnTo>
                  <a:lnTo>
                    <a:pt x="703" y="153"/>
                  </a:lnTo>
                  <a:lnTo>
                    <a:pt x="618" y="132"/>
                  </a:lnTo>
                  <a:lnTo>
                    <a:pt x="535" y="108"/>
                  </a:lnTo>
                  <a:lnTo>
                    <a:pt x="455" y="83"/>
                  </a:lnTo>
                  <a:lnTo>
                    <a:pt x="378" y="57"/>
                  </a:lnTo>
                  <a:lnTo>
                    <a:pt x="341" y="44"/>
                  </a:lnTo>
                  <a:lnTo>
                    <a:pt x="305" y="29"/>
                  </a:lnTo>
                  <a:lnTo>
                    <a:pt x="269" y="15"/>
                  </a:lnTo>
                  <a:lnTo>
                    <a:pt x="234" y="0"/>
                  </a:lnTo>
                  <a:lnTo>
                    <a:pt x="234" y="0"/>
                  </a:lnTo>
                  <a:lnTo>
                    <a:pt x="1" y="93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1" name="Freeform 56"/>
            <p:cNvSpPr>
              <a:spLocks/>
            </p:cNvSpPr>
            <p:nvPr/>
          </p:nvSpPr>
          <p:spPr bwMode="auto">
            <a:xfrm flipH="1">
              <a:off x="7478420" y="2691922"/>
              <a:ext cx="109658" cy="193488"/>
            </a:xfrm>
            <a:custGeom>
              <a:avLst/>
              <a:gdLst>
                <a:gd name="T0" fmla="*/ 42 w 597"/>
                <a:gd name="T1" fmla="*/ 657 h 1351"/>
                <a:gd name="T2" fmla="*/ 42 w 597"/>
                <a:gd name="T3" fmla="*/ 657 h 1351"/>
                <a:gd name="T4" fmla="*/ 274 w 597"/>
                <a:gd name="T5" fmla="*/ 0 h 1351"/>
                <a:gd name="T6" fmla="*/ 274 w 597"/>
                <a:gd name="T7" fmla="*/ 0 h 1351"/>
                <a:gd name="T8" fmla="*/ 278 w 597"/>
                <a:gd name="T9" fmla="*/ 30 h 1351"/>
                <a:gd name="T10" fmla="*/ 284 w 597"/>
                <a:gd name="T11" fmla="*/ 60 h 1351"/>
                <a:gd name="T12" fmla="*/ 292 w 597"/>
                <a:gd name="T13" fmla="*/ 90 h 1351"/>
                <a:gd name="T14" fmla="*/ 302 w 597"/>
                <a:gd name="T15" fmla="*/ 119 h 1351"/>
                <a:gd name="T16" fmla="*/ 316 w 597"/>
                <a:gd name="T17" fmla="*/ 150 h 1351"/>
                <a:gd name="T18" fmla="*/ 330 w 597"/>
                <a:gd name="T19" fmla="*/ 178 h 1351"/>
                <a:gd name="T20" fmla="*/ 348 w 597"/>
                <a:gd name="T21" fmla="*/ 207 h 1351"/>
                <a:gd name="T22" fmla="*/ 368 w 597"/>
                <a:gd name="T23" fmla="*/ 235 h 1351"/>
                <a:gd name="T24" fmla="*/ 389 w 597"/>
                <a:gd name="T25" fmla="*/ 262 h 1351"/>
                <a:gd name="T26" fmla="*/ 413 w 597"/>
                <a:gd name="T27" fmla="*/ 289 h 1351"/>
                <a:gd name="T28" fmla="*/ 439 w 597"/>
                <a:gd name="T29" fmla="*/ 316 h 1351"/>
                <a:gd name="T30" fmla="*/ 467 w 597"/>
                <a:gd name="T31" fmla="*/ 342 h 1351"/>
                <a:gd name="T32" fmla="*/ 496 w 597"/>
                <a:gd name="T33" fmla="*/ 368 h 1351"/>
                <a:gd name="T34" fmla="*/ 528 w 597"/>
                <a:gd name="T35" fmla="*/ 395 h 1351"/>
                <a:gd name="T36" fmla="*/ 561 w 597"/>
                <a:gd name="T37" fmla="*/ 418 h 1351"/>
                <a:gd name="T38" fmla="*/ 597 w 597"/>
                <a:gd name="T39" fmla="*/ 443 h 1351"/>
                <a:gd name="T40" fmla="*/ 597 w 597"/>
                <a:gd name="T41" fmla="*/ 443 h 1351"/>
                <a:gd name="T42" fmla="*/ 296 w 597"/>
                <a:gd name="T43" fmla="*/ 1351 h 1351"/>
                <a:gd name="T44" fmla="*/ 296 w 597"/>
                <a:gd name="T45" fmla="*/ 1351 h 1351"/>
                <a:gd name="T46" fmla="*/ 273 w 597"/>
                <a:gd name="T47" fmla="*/ 1336 h 1351"/>
                <a:gd name="T48" fmla="*/ 251 w 597"/>
                <a:gd name="T49" fmla="*/ 1321 h 1351"/>
                <a:gd name="T50" fmla="*/ 231 w 597"/>
                <a:gd name="T51" fmla="*/ 1304 h 1351"/>
                <a:gd name="T52" fmla="*/ 210 w 597"/>
                <a:gd name="T53" fmla="*/ 1287 h 1351"/>
                <a:gd name="T54" fmla="*/ 190 w 597"/>
                <a:gd name="T55" fmla="*/ 1271 h 1351"/>
                <a:gd name="T56" fmla="*/ 171 w 597"/>
                <a:gd name="T57" fmla="*/ 1254 h 1351"/>
                <a:gd name="T58" fmla="*/ 154 w 597"/>
                <a:gd name="T59" fmla="*/ 1236 h 1351"/>
                <a:gd name="T60" fmla="*/ 136 w 597"/>
                <a:gd name="T61" fmla="*/ 1219 h 1351"/>
                <a:gd name="T62" fmla="*/ 120 w 597"/>
                <a:gd name="T63" fmla="*/ 1201 h 1351"/>
                <a:gd name="T64" fmla="*/ 105 w 597"/>
                <a:gd name="T65" fmla="*/ 1182 h 1351"/>
                <a:gd name="T66" fmla="*/ 91 w 597"/>
                <a:gd name="T67" fmla="*/ 1163 h 1351"/>
                <a:gd name="T68" fmla="*/ 78 w 597"/>
                <a:gd name="T69" fmla="*/ 1144 h 1351"/>
                <a:gd name="T70" fmla="*/ 65 w 597"/>
                <a:gd name="T71" fmla="*/ 1124 h 1351"/>
                <a:gd name="T72" fmla="*/ 54 w 597"/>
                <a:gd name="T73" fmla="*/ 1104 h 1351"/>
                <a:gd name="T74" fmla="*/ 44 w 597"/>
                <a:gd name="T75" fmla="*/ 1083 h 1351"/>
                <a:gd name="T76" fmla="*/ 34 w 597"/>
                <a:gd name="T77" fmla="*/ 1062 h 1351"/>
                <a:gd name="T78" fmla="*/ 26 w 597"/>
                <a:gd name="T79" fmla="*/ 1041 h 1351"/>
                <a:gd name="T80" fmla="*/ 19 w 597"/>
                <a:gd name="T81" fmla="*/ 1019 h 1351"/>
                <a:gd name="T82" fmla="*/ 13 w 597"/>
                <a:gd name="T83" fmla="*/ 997 h 1351"/>
                <a:gd name="T84" fmla="*/ 8 w 597"/>
                <a:gd name="T85" fmla="*/ 974 h 1351"/>
                <a:gd name="T86" fmla="*/ 4 w 597"/>
                <a:gd name="T87" fmla="*/ 950 h 1351"/>
                <a:gd name="T88" fmla="*/ 2 w 597"/>
                <a:gd name="T89" fmla="*/ 926 h 1351"/>
                <a:gd name="T90" fmla="*/ 0 w 597"/>
                <a:gd name="T91" fmla="*/ 902 h 1351"/>
                <a:gd name="T92" fmla="*/ 0 w 597"/>
                <a:gd name="T93" fmla="*/ 877 h 1351"/>
                <a:gd name="T94" fmla="*/ 1 w 597"/>
                <a:gd name="T95" fmla="*/ 851 h 1351"/>
                <a:gd name="T96" fmla="*/ 3 w 597"/>
                <a:gd name="T97" fmla="*/ 825 h 1351"/>
                <a:gd name="T98" fmla="*/ 6 w 597"/>
                <a:gd name="T99" fmla="*/ 799 h 1351"/>
                <a:gd name="T100" fmla="*/ 11 w 597"/>
                <a:gd name="T101" fmla="*/ 772 h 1351"/>
                <a:gd name="T102" fmla="*/ 17 w 597"/>
                <a:gd name="T103" fmla="*/ 744 h 1351"/>
                <a:gd name="T104" fmla="*/ 24 w 597"/>
                <a:gd name="T105" fmla="*/ 715 h 1351"/>
                <a:gd name="T106" fmla="*/ 33 w 597"/>
                <a:gd name="T107" fmla="*/ 686 h 1351"/>
                <a:gd name="T108" fmla="*/ 42 w 597"/>
                <a:gd name="T109" fmla="*/ 657 h 1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97" h="1351">
                  <a:moveTo>
                    <a:pt x="42" y="657"/>
                  </a:moveTo>
                  <a:lnTo>
                    <a:pt x="42" y="657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8" y="30"/>
                  </a:lnTo>
                  <a:lnTo>
                    <a:pt x="284" y="60"/>
                  </a:lnTo>
                  <a:lnTo>
                    <a:pt x="292" y="90"/>
                  </a:lnTo>
                  <a:lnTo>
                    <a:pt x="302" y="119"/>
                  </a:lnTo>
                  <a:lnTo>
                    <a:pt x="316" y="150"/>
                  </a:lnTo>
                  <a:lnTo>
                    <a:pt x="330" y="178"/>
                  </a:lnTo>
                  <a:lnTo>
                    <a:pt x="348" y="207"/>
                  </a:lnTo>
                  <a:lnTo>
                    <a:pt x="368" y="235"/>
                  </a:lnTo>
                  <a:lnTo>
                    <a:pt x="389" y="262"/>
                  </a:lnTo>
                  <a:lnTo>
                    <a:pt x="413" y="289"/>
                  </a:lnTo>
                  <a:lnTo>
                    <a:pt x="439" y="316"/>
                  </a:lnTo>
                  <a:lnTo>
                    <a:pt x="467" y="342"/>
                  </a:lnTo>
                  <a:lnTo>
                    <a:pt x="496" y="368"/>
                  </a:lnTo>
                  <a:lnTo>
                    <a:pt x="528" y="395"/>
                  </a:lnTo>
                  <a:lnTo>
                    <a:pt x="561" y="418"/>
                  </a:lnTo>
                  <a:lnTo>
                    <a:pt x="597" y="443"/>
                  </a:lnTo>
                  <a:lnTo>
                    <a:pt x="597" y="443"/>
                  </a:lnTo>
                  <a:lnTo>
                    <a:pt x="296" y="1351"/>
                  </a:lnTo>
                  <a:lnTo>
                    <a:pt x="296" y="1351"/>
                  </a:lnTo>
                  <a:lnTo>
                    <a:pt x="273" y="1336"/>
                  </a:lnTo>
                  <a:lnTo>
                    <a:pt x="251" y="1321"/>
                  </a:lnTo>
                  <a:lnTo>
                    <a:pt x="231" y="1304"/>
                  </a:lnTo>
                  <a:lnTo>
                    <a:pt x="210" y="1287"/>
                  </a:lnTo>
                  <a:lnTo>
                    <a:pt x="190" y="1271"/>
                  </a:lnTo>
                  <a:lnTo>
                    <a:pt x="171" y="1254"/>
                  </a:lnTo>
                  <a:lnTo>
                    <a:pt x="154" y="1236"/>
                  </a:lnTo>
                  <a:lnTo>
                    <a:pt x="136" y="1219"/>
                  </a:lnTo>
                  <a:lnTo>
                    <a:pt x="120" y="1201"/>
                  </a:lnTo>
                  <a:lnTo>
                    <a:pt x="105" y="1182"/>
                  </a:lnTo>
                  <a:lnTo>
                    <a:pt x="91" y="1163"/>
                  </a:lnTo>
                  <a:lnTo>
                    <a:pt x="78" y="1144"/>
                  </a:lnTo>
                  <a:lnTo>
                    <a:pt x="65" y="1124"/>
                  </a:lnTo>
                  <a:lnTo>
                    <a:pt x="54" y="1104"/>
                  </a:lnTo>
                  <a:lnTo>
                    <a:pt x="44" y="1083"/>
                  </a:lnTo>
                  <a:lnTo>
                    <a:pt x="34" y="1062"/>
                  </a:lnTo>
                  <a:lnTo>
                    <a:pt x="26" y="1041"/>
                  </a:lnTo>
                  <a:lnTo>
                    <a:pt x="19" y="1019"/>
                  </a:lnTo>
                  <a:lnTo>
                    <a:pt x="13" y="997"/>
                  </a:lnTo>
                  <a:lnTo>
                    <a:pt x="8" y="974"/>
                  </a:lnTo>
                  <a:lnTo>
                    <a:pt x="4" y="950"/>
                  </a:lnTo>
                  <a:lnTo>
                    <a:pt x="2" y="926"/>
                  </a:lnTo>
                  <a:lnTo>
                    <a:pt x="0" y="902"/>
                  </a:lnTo>
                  <a:lnTo>
                    <a:pt x="0" y="877"/>
                  </a:lnTo>
                  <a:lnTo>
                    <a:pt x="1" y="851"/>
                  </a:lnTo>
                  <a:lnTo>
                    <a:pt x="3" y="825"/>
                  </a:lnTo>
                  <a:lnTo>
                    <a:pt x="6" y="799"/>
                  </a:lnTo>
                  <a:lnTo>
                    <a:pt x="11" y="772"/>
                  </a:lnTo>
                  <a:lnTo>
                    <a:pt x="17" y="744"/>
                  </a:lnTo>
                  <a:lnTo>
                    <a:pt x="24" y="715"/>
                  </a:lnTo>
                  <a:lnTo>
                    <a:pt x="33" y="686"/>
                  </a:lnTo>
                  <a:lnTo>
                    <a:pt x="42" y="65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2" name="Freeform 57"/>
            <p:cNvSpPr>
              <a:spLocks/>
            </p:cNvSpPr>
            <p:nvPr/>
          </p:nvSpPr>
          <p:spPr bwMode="auto">
            <a:xfrm flipH="1">
              <a:off x="6743069" y="2693212"/>
              <a:ext cx="100627" cy="190908"/>
            </a:xfrm>
            <a:custGeom>
              <a:avLst/>
              <a:gdLst>
                <a:gd name="T0" fmla="*/ 269 w 545"/>
                <a:gd name="T1" fmla="*/ 0 h 1334"/>
                <a:gd name="T2" fmla="*/ 269 w 545"/>
                <a:gd name="T3" fmla="*/ 0 h 1334"/>
                <a:gd name="T4" fmla="*/ 502 w 545"/>
                <a:gd name="T5" fmla="*/ 655 h 1334"/>
                <a:gd name="T6" fmla="*/ 502 w 545"/>
                <a:gd name="T7" fmla="*/ 655 h 1334"/>
                <a:gd name="T8" fmla="*/ 511 w 545"/>
                <a:gd name="T9" fmla="*/ 683 h 1334"/>
                <a:gd name="T10" fmla="*/ 520 w 545"/>
                <a:gd name="T11" fmla="*/ 711 h 1334"/>
                <a:gd name="T12" fmla="*/ 527 w 545"/>
                <a:gd name="T13" fmla="*/ 738 h 1334"/>
                <a:gd name="T14" fmla="*/ 533 w 545"/>
                <a:gd name="T15" fmla="*/ 766 h 1334"/>
                <a:gd name="T16" fmla="*/ 537 w 545"/>
                <a:gd name="T17" fmla="*/ 793 h 1334"/>
                <a:gd name="T18" fmla="*/ 541 w 545"/>
                <a:gd name="T19" fmla="*/ 818 h 1334"/>
                <a:gd name="T20" fmla="*/ 544 w 545"/>
                <a:gd name="T21" fmla="*/ 844 h 1334"/>
                <a:gd name="T22" fmla="*/ 545 w 545"/>
                <a:gd name="T23" fmla="*/ 869 h 1334"/>
                <a:gd name="T24" fmla="*/ 545 w 545"/>
                <a:gd name="T25" fmla="*/ 893 h 1334"/>
                <a:gd name="T26" fmla="*/ 544 w 545"/>
                <a:gd name="T27" fmla="*/ 917 h 1334"/>
                <a:gd name="T28" fmla="*/ 542 w 545"/>
                <a:gd name="T29" fmla="*/ 940 h 1334"/>
                <a:gd name="T30" fmla="*/ 537 w 545"/>
                <a:gd name="T31" fmla="*/ 962 h 1334"/>
                <a:gd name="T32" fmla="*/ 533 w 545"/>
                <a:gd name="T33" fmla="*/ 985 h 1334"/>
                <a:gd name="T34" fmla="*/ 528 w 545"/>
                <a:gd name="T35" fmla="*/ 1007 h 1334"/>
                <a:gd name="T36" fmla="*/ 522 w 545"/>
                <a:gd name="T37" fmla="*/ 1028 h 1334"/>
                <a:gd name="T38" fmla="*/ 515 w 545"/>
                <a:gd name="T39" fmla="*/ 1050 h 1334"/>
                <a:gd name="T40" fmla="*/ 506 w 545"/>
                <a:gd name="T41" fmla="*/ 1070 h 1334"/>
                <a:gd name="T42" fmla="*/ 497 w 545"/>
                <a:gd name="T43" fmla="*/ 1091 h 1334"/>
                <a:gd name="T44" fmla="*/ 487 w 545"/>
                <a:gd name="T45" fmla="*/ 1110 h 1334"/>
                <a:gd name="T46" fmla="*/ 475 w 545"/>
                <a:gd name="T47" fmla="*/ 1130 h 1334"/>
                <a:gd name="T48" fmla="*/ 463 w 545"/>
                <a:gd name="T49" fmla="*/ 1149 h 1334"/>
                <a:gd name="T50" fmla="*/ 449 w 545"/>
                <a:gd name="T51" fmla="*/ 1168 h 1334"/>
                <a:gd name="T52" fmla="*/ 436 w 545"/>
                <a:gd name="T53" fmla="*/ 1185 h 1334"/>
                <a:gd name="T54" fmla="*/ 420 w 545"/>
                <a:gd name="T55" fmla="*/ 1203 h 1334"/>
                <a:gd name="T56" fmla="*/ 404 w 545"/>
                <a:gd name="T57" fmla="*/ 1221 h 1334"/>
                <a:gd name="T58" fmla="*/ 388 w 545"/>
                <a:gd name="T59" fmla="*/ 1239 h 1334"/>
                <a:gd name="T60" fmla="*/ 370 w 545"/>
                <a:gd name="T61" fmla="*/ 1255 h 1334"/>
                <a:gd name="T62" fmla="*/ 352 w 545"/>
                <a:gd name="T63" fmla="*/ 1271 h 1334"/>
                <a:gd name="T64" fmla="*/ 333 w 545"/>
                <a:gd name="T65" fmla="*/ 1288 h 1334"/>
                <a:gd name="T66" fmla="*/ 313 w 545"/>
                <a:gd name="T67" fmla="*/ 1303 h 1334"/>
                <a:gd name="T68" fmla="*/ 292 w 545"/>
                <a:gd name="T69" fmla="*/ 1319 h 1334"/>
                <a:gd name="T70" fmla="*/ 271 w 545"/>
                <a:gd name="T71" fmla="*/ 1334 h 1334"/>
                <a:gd name="T72" fmla="*/ 271 w 545"/>
                <a:gd name="T73" fmla="*/ 1334 h 1334"/>
                <a:gd name="T74" fmla="*/ 0 w 545"/>
                <a:gd name="T75" fmla="*/ 404 h 1334"/>
                <a:gd name="T76" fmla="*/ 0 w 545"/>
                <a:gd name="T77" fmla="*/ 404 h 1334"/>
                <a:gd name="T78" fmla="*/ 30 w 545"/>
                <a:gd name="T79" fmla="*/ 382 h 1334"/>
                <a:gd name="T80" fmla="*/ 58 w 545"/>
                <a:gd name="T81" fmla="*/ 359 h 1334"/>
                <a:gd name="T82" fmla="*/ 84 w 545"/>
                <a:gd name="T83" fmla="*/ 335 h 1334"/>
                <a:gd name="T84" fmla="*/ 109 w 545"/>
                <a:gd name="T85" fmla="*/ 311 h 1334"/>
                <a:gd name="T86" fmla="*/ 132 w 545"/>
                <a:gd name="T87" fmla="*/ 287 h 1334"/>
                <a:gd name="T88" fmla="*/ 154 w 545"/>
                <a:gd name="T89" fmla="*/ 262 h 1334"/>
                <a:gd name="T90" fmla="*/ 174 w 545"/>
                <a:gd name="T91" fmla="*/ 237 h 1334"/>
                <a:gd name="T92" fmla="*/ 191 w 545"/>
                <a:gd name="T93" fmla="*/ 212 h 1334"/>
                <a:gd name="T94" fmla="*/ 208 w 545"/>
                <a:gd name="T95" fmla="*/ 187 h 1334"/>
                <a:gd name="T96" fmla="*/ 222 w 545"/>
                <a:gd name="T97" fmla="*/ 161 h 1334"/>
                <a:gd name="T98" fmla="*/ 235 w 545"/>
                <a:gd name="T99" fmla="*/ 135 h 1334"/>
                <a:gd name="T100" fmla="*/ 245 w 545"/>
                <a:gd name="T101" fmla="*/ 108 h 1334"/>
                <a:gd name="T102" fmla="*/ 255 w 545"/>
                <a:gd name="T103" fmla="*/ 81 h 1334"/>
                <a:gd name="T104" fmla="*/ 261 w 545"/>
                <a:gd name="T105" fmla="*/ 55 h 1334"/>
                <a:gd name="T106" fmla="*/ 266 w 545"/>
                <a:gd name="T107" fmla="*/ 27 h 1334"/>
                <a:gd name="T108" fmla="*/ 269 w 545"/>
                <a:gd name="T109" fmla="*/ 0 h 1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45" h="1334">
                  <a:moveTo>
                    <a:pt x="269" y="0"/>
                  </a:moveTo>
                  <a:lnTo>
                    <a:pt x="269" y="0"/>
                  </a:lnTo>
                  <a:lnTo>
                    <a:pt x="502" y="655"/>
                  </a:lnTo>
                  <a:lnTo>
                    <a:pt x="502" y="655"/>
                  </a:lnTo>
                  <a:lnTo>
                    <a:pt x="511" y="683"/>
                  </a:lnTo>
                  <a:lnTo>
                    <a:pt x="520" y="711"/>
                  </a:lnTo>
                  <a:lnTo>
                    <a:pt x="527" y="738"/>
                  </a:lnTo>
                  <a:lnTo>
                    <a:pt x="533" y="766"/>
                  </a:lnTo>
                  <a:lnTo>
                    <a:pt x="537" y="793"/>
                  </a:lnTo>
                  <a:lnTo>
                    <a:pt x="541" y="818"/>
                  </a:lnTo>
                  <a:lnTo>
                    <a:pt x="544" y="844"/>
                  </a:lnTo>
                  <a:lnTo>
                    <a:pt x="545" y="869"/>
                  </a:lnTo>
                  <a:lnTo>
                    <a:pt x="545" y="893"/>
                  </a:lnTo>
                  <a:lnTo>
                    <a:pt x="544" y="917"/>
                  </a:lnTo>
                  <a:lnTo>
                    <a:pt x="542" y="940"/>
                  </a:lnTo>
                  <a:lnTo>
                    <a:pt x="537" y="962"/>
                  </a:lnTo>
                  <a:lnTo>
                    <a:pt x="533" y="985"/>
                  </a:lnTo>
                  <a:lnTo>
                    <a:pt x="528" y="1007"/>
                  </a:lnTo>
                  <a:lnTo>
                    <a:pt x="522" y="1028"/>
                  </a:lnTo>
                  <a:lnTo>
                    <a:pt x="515" y="1050"/>
                  </a:lnTo>
                  <a:lnTo>
                    <a:pt x="506" y="1070"/>
                  </a:lnTo>
                  <a:lnTo>
                    <a:pt x="497" y="1091"/>
                  </a:lnTo>
                  <a:lnTo>
                    <a:pt x="487" y="1110"/>
                  </a:lnTo>
                  <a:lnTo>
                    <a:pt x="475" y="1130"/>
                  </a:lnTo>
                  <a:lnTo>
                    <a:pt x="463" y="1149"/>
                  </a:lnTo>
                  <a:lnTo>
                    <a:pt x="449" y="1168"/>
                  </a:lnTo>
                  <a:lnTo>
                    <a:pt x="436" y="1185"/>
                  </a:lnTo>
                  <a:lnTo>
                    <a:pt x="420" y="1203"/>
                  </a:lnTo>
                  <a:lnTo>
                    <a:pt x="404" y="1221"/>
                  </a:lnTo>
                  <a:lnTo>
                    <a:pt x="388" y="1239"/>
                  </a:lnTo>
                  <a:lnTo>
                    <a:pt x="370" y="1255"/>
                  </a:lnTo>
                  <a:lnTo>
                    <a:pt x="352" y="1271"/>
                  </a:lnTo>
                  <a:lnTo>
                    <a:pt x="333" y="1288"/>
                  </a:lnTo>
                  <a:lnTo>
                    <a:pt x="313" y="1303"/>
                  </a:lnTo>
                  <a:lnTo>
                    <a:pt x="292" y="1319"/>
                  </a:lnTo>
                  <a:lnTo>
                    <a:pt x="271" y="1334"/>
                  </a:lnTo>
                  <a:lnTo>
                    <a:pt x="271" y="1334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30" y="382"/>
                  </a:lnTo>
                  <a:lnTo>
                    <a:pt x="58" y="359"/>
                  </a:lnTo>
                  <a:lnTo>
                    <a:pt x="84" y="335"/>
                  </a:lnTo>
                  <a:lnTo>
                    <a:pt x="109" y="311"/>
                  </a:lnTo>
                  <a:lnTo>
                    <a:pt x="132" y="287"/>
                  </a:lnTo>
                  <a:lnTo>
                    <a:pt x="154" y="262"/>
                  </a:lnTo>
                  <a:lnTo>
                    <a:pt x="174" y="237"/>
                  </a:lnTo>
                  <a:lnTo>
                    <a:pt x="191" y="212"/>
                  </a:lnTo>
                  <a:lnTo>
                    <a:pt x="208" y="187"/>
                  </a:lnTo>
                  <a:lnTo>
                    <a:pt x="222" y="161"/>
                  </a:lnTo>
                  <a:lnTo>
                    <a:pt x="235" y="135"/>
                  </a:lnTo>
                  <a:lnTo>
                    <a:pt x="245" y="108"/>
                  </a:lnTo>
                  <a:lnTo>
                    <a:pt x="255" y="81"/>
                  </a:lnTo>
                  <a:lnTo>
                    <a:pt x="261" y="55"/>
                  </a:lnTo>
                  <a:lnTo>
                    <a:pt x="266" y="27"/>
                  </a:lnTo>
                  <a:lnTo>
                    <a:pt x="2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3" name="Freeform 58"/>
            <p:cNvSpPr>
              <a:spLocks noEditPoints="1"/>
            </p:cNvSpPr>
            <p:nvPr/>
          </p:nvSpPr>
          <p:spPr bwMode="auto">
            <a:xfrm flipH="1">
              <a:off x="6846276" y="2455867"/>
              <a:ext cx="638595" cy="223156"/>
            </a:xfrm>
            <a:custGeom>
              <a:avLst/>
              <a:gdLst>
                <a:gd name="T0" fmla="*/ 0 w 3464"/>
                <a:gd name="T1" fmla="*/ 844 h 1560"/>
                <a:gd name="T2" fmla="*/ 10 w 3464"/>
                <a:gd name="T3" fmla="*/ 899 h 1560"/>
                <a:gd name="T4" fmla="*/ 42 w 3464"/>
                <a:gd name="T5" fmla="*/ 981 h 1560"/>
                <a:gd name="T6" fmla="*/ 93 w 3464"/>
                <a:gd name="T7" fmla="*/ 1058 h 1560"/>
                <a:gd name="T8" fmla="*/ 163 w 3464"/>
                <a:gd name="T9" fmla="*/ 1132 h 1560"/>
                <a:gd name="T10" fmla="*/ 250 w 3464"/>
                <a:gd name="T11" fmla="*/ 1201 h 1560"/>
                <a:gd name="T12" fmla="*/ 317 w 3464"/>
                <a:gd name="T13" fmla="*/ 1245 h 1560"/>
                <a:gd name="T14" fmla="*/ 586 w 3464"/>
                <a:gd name="T15" fmla="*/ 322 h 1560"/>
                <a:gd name="T16" fmla="*/ 496 w 3464"/>
                <a:gd name="T17" fmla="*/ 265 h 1560"/>
                <a:gd name="T18" fmla="*/ 422 w 3464"/>
                <a:gd name="T19" fmla="*/ 204 h 1560"/>
                <a:gd name="T20" fmla="*/ 363 w 3464"/>
                <a:gd name="T21" fmla="*/ 139 h 1560"/>
                <a:gd name="T22" fmla="*/ 323 w 3464"/>
                <a:gd name="T23" fmla="*/ 71 h 1560"/>
                <a:gd name="T24" fmla="*/ 299 w 3464"/>
                <a:gd name="T25" fmla="*/ 0 h 1560"/>
                <a:gd name="T26" fmla="*/ 1732 w 3464"/>
                <a:gd name="T27" fmla="*/ 1560 h 1560"/>
                <a:gd name="T28" fmla="*/ 1469 w 3464"/>
                <a:gd name="T29" fmla="*/ 1552 h 1560"/>
                <a:gd name="T30" fmla="*/ 1219 w 3464"/>
                <a:gd name="T31" fmla="*/ 1527 h 1560"/>
                <a:gd name="T32" fmla="*/ 983 w 3464"/>
                <a:gd name="T33" fmla="*/ 1487 h 1560"/>
                <a:gd name="T34" fmla="*/ 765 w 3464"/>
                <a:gd name="T35" fmla="*/ 1433 h 1560"/>
                <a:gd name="T36" fmla="*/ 570 w 3464"/>
                <a:gd name="T37" fmla="*/ 1367 h 1560"/>
                <a:gd name="T38" fmla="*/ 747 w 3464"/>
                <a:gd name="T39" fmla="*/ 399 h 1560"/>
                <a:gd name="T40" fmla="*/ 848 w 3464"/>
                <a:gd name="T41" fmla="*/ 437 h 1560"/>
                <a:gd name="T42" fmla="*/ 1014 w 3464"/>
                <a:gd name="T43" fmla="*/ 485 h 1560"/>
                <a:gd name="T44" fmla="*/ 1195 w 3464"/>
                <a:gd name="T45" fmla="*/ 523 h 1560"/>
                <a:gd name="T46" fmla="*/ 1389 w 3464"/>
                <a:gd name="T47" fmla="*/ 550 h 1560"/>
                <a:gd name="T48" fmla="*/ 1595 w 3464"/>
                <a:gd name="T49" fmla="*/ 565 h 1560"/>
                <a:gd name="T50" fmla="*/ 1736 w 3464"/>
                <a:gd name="T51" fmla="*/ 568 h 1560"/>
                <a:gd name="T52" fmla="*/ 1913 w 3464"/>
                <a:gd name="T53" fmla="*/ 564 h 1560"/>
                <a:gd name="T54" fmla="*/ 2083 w 3464"/>
                <a:gd name="T55" fmla="*/ 550 h 1560"/>
                <a:gd name="T56" fmla="*/ 2192 w 3464"/>
                <a:gd name="T57" fmla="*/ 537 h 1560"/>
                <a:gd name="T58" fmla="*/ 2223 w 3464"/>
                <a:gd name="T59" fmla="*/ 1530 h 1560"/>
                <a:gd name="T60" fmla="*/ 2018 w 3464"/>
                <a:gd name="T61" fmla="*/ 1549 h 1560"/>
                <a:gd name="T62" fmla="*/ 1805 w 3464"/>
                <a:gd name="T63" fmla="*/ 1559 h 1560"/>
                <a:gd name="T64" fmla="*/ 3228 w 3464"/>
                <a:gd name="T65" fmla="*/ 1191 h 1560"/>
                <a:gd name="T66" fmla="*/ 2962 w 3464"/>
                <a:gd name="T67" fmla="*/ 275 h 1560"/>
                <a:gd name="T68" fmla="*/ 3020 w 3464"/>
                <a:gd name="T69" fmla="*/ 231 h 1560"/>
                <a:gd name="T70" fmla="*/ 3069 w 3464"/>
                <a:gd name="T71" fmla="*/ 186 h 1560"/>
                <a:gd name="T72" fmla="*/ 3111 w 3464"/>
                <a:gd name="T73" fmla="*/ 138 h 1560"/>
                <a:gd name="T74" fmla="*/ 3142 w 3464"/>
                <a:gd name="T75" fmla="*/ 88 h 1560"/>
                <a:gd name="T76" fmla="*/ 3165 w 3464"/>
                <a:gd name="T77" fmla="*/ 37 h 1560"/>
                <a:gd name="T78" fmla="*/ 3464 w 3464"/>
                <a:gd name="T79" fmla="*/ 848 h 1560"/>
                <a:gd name="T80" fmla="*/ 3456 w 3464"/>
                <a:gd name="T81" fmla="*/ 894 h 1560"/>
                <a:gd name="T82" fmla="*/ 3432 w 3464"/>
                <a:gd name="T83" fmla="*/ 963 h 1560"/>
                <a:gd name="T84" fmla="*/ 3394 w 3464"/>
                <a:gd name="T85" fmla="*/ 1028 h 1560"/>
                <a:gd name="T86" fmla="*/ 3342 w 3464"/>
                <a:gd name="T87" fmla="*/ 1092 h 1560"/>
                <a:gd name="T88" fmla="*/ 3278 w 3464"/>
                <a:gd name="T89" fmla="*/ 1152 h 1560"/>
                <a:gd name="T90" fmla="*/ 3228 w 3464"/>
                <a:gd name="T91" fmla="*/ 1191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64" h="1560">
                  <a:moveTo>
                    <a:pt x="299" y="0"/>
                  </a:moveTo>
                  <a:lnTo>
                    <a:pt x="299" y="0"/>
                  </a:lnTo>
                  <a:lnTo>
                    <a:pt x="0" y="844"/>
                  </a:lnTo>
                  <a:lnTo>
                    <a:pt x="0" y="844"/>
                  </a:lnTo>
                  <a:lnTo>
                    <a:pt x="3" y="872"/>
                  </a:lnTo>
                  <a:lnTo>
                    <a:pt x="10" y="899"/>
                  </a:lnTo>
                  <a:lnTo>
                    <a:pt x="18" y="926"/>
                  </a:lnTo>
                  <a:lnTo>
                    <a:pt x="28" y="953"/>
                  </a:lnTo>
                  <a:lnTo>
                    <a:pt x="42" y="981"/>
                  </a:lnTo>
                  <a:lnTo>
                    <a:pt x="56" y="1007"/>
                  </a:lnTo>
                  <a:lnTo>
                    <a:pt x="74" y="1033"/>
                  </a:lnTo>
                  <a:lnTo>
                    <a:pt x="93" y="1058"/>
                  </a:lnTo>
                  <a:lnTo>
                    <a:pt x="115" y="1083"/>
                  </a:lnTo>
                  <a:lnTo>
                    <a:pt x="138" y="1108"/>
                  </a:lnTo>
                  <a:lnTo>
                    <a:pt x="163" y="1132"/>
                  </a:lnTo>
                  <a:lnTo>
                    <a:pt x="191" y="1156"/>
                  </a:lnTo>
                  <a:lnTo>
                    <a:pt x="220" y="1179"/>
                  </a:lnTo>
                  <a:lnTo>
                    <a:pt x="250" y="1201"/>
                  </a:lnTo>
                  <a:lnTo>
                    <a:pt x="283" y="1223"/>
                  </a:lnTo>
                  <a:lnTo>
                    <a:pt x="317" y="1245"/>
                  </a:lnTo>
                  <a:lnTo>
                    <a:pt x="317" y="1245"/>
                  </a:lnTo>
                  <a:lnTo>
                    <a:pt x="618" y="340"/>
                  </a:lnTo>
                  <a:lnTo>
                    <a:pt x="618" y="340"/>
                  </a:lnTo>
                  <a:lnTo>
                    <a:pt x="586" y="322"/>
                  </a:lnTo>
                  <a:lnTo>
                    <a:pt x="554" y="303"/>
                  </a:lnTo>
                  <a:lnTo>
                    <a:pt x="524" y="285"/>
                  </a:lnTo>
                  <a:lnTo>
                    <a:pt x="496" y="265"/>
                  </a:lnTo>
                  <a:lnTo>
                    <a:pt x="470" y="245"/>
                  </a:lnTo>
                  <a:lnTo>
                    <a:pt x="445" y="225"/>
                  </a:lnTo>
                  <a:lnTo>
                    <a:pt x="422" y="204"/>
                  </a:lnTo>
                  <a:lnTo>
                    <a:pt x="401" y="182"/>
                  </a:lnTo>
                  <a:lnTo>
                    <a:pt x="381" y="161"/>
                  </a:lnTo>
                  <a:lnTo>
                    <a:pt x="363" y="139"/>
                  </a:lnTo>
                  <a:lnTo>
                    <a:pt x="348" y="117"/>
                  </a:lnTo>
                  <a:lnTo>
                    <a:pt x="334" y="94"/>
                  </a:lnTo>
                  <a:lnTo>
                    <a:pt x="323" y="71"/>
                  </a:lnTo>
                  <a:lnTo>
                    <a:pt x="312" y="47"/>
                  </a:lnTo>
                  <a:lnTo>
                    <a:pt x="305" y="24"/>
                  </a:lnTo>
                  <a:lnTo>
                    <a:pt x="299" y="0"/>
                  </a:lnTo>
                  <a:lnTo>
                    <a:pt x="299" y="0"/>
                  </a:lnTo>
                  <a:close/>
                  <a:moveTo>
                    <a:pt x="1732" y="1560"/>
                  </a:moveTo>
                  <a:lnTo>
                    <a:pt x="1732" y="1560"/>
                  </a:lnTo>
                  <a:lnTo>
                    <a:pt x="1643" y="1559"/>
                  </a:lnTo>
                  <a:lnTo>
                    <a:pt x="1556" y="1556"/>
                  </a:lnTo>
                  <a:lnTo>
                    <a:pt x="1469" y="1552"/>
                  </a:lnTo>
                  <a:lnTo>
                    <a:pt x="1384" y="1544"/>
                  </a:lnTo>
                  <a:lnTo>
                    <a:pt x="1301" y="1536"/>
                  </a:lnTo>
                  <a:lnTo>
                    <a:pt x="1219" y="1527"/>
                  </a:lnTo>
                  <a:lnTo>
                    <a:pt x="1138" y="1515"/>
                  </a:lnTo>
                  <a:lnTo>
                    <a:pt x="1060" y="1502"/>
                  </a:lnTo>
                  <a:lnTo>
                    <a:pt x="983" y="1487"/>
                  </a:lnTo>
                  <a:lnTo>
                    <a:pt x="909" y="1470"/>
                  </a:lnTo>
                  <a:lnTo>
                    <a:pt x="836" y="1453"/>
                  </a:lnTo>
                  <a:lnTo>
                    <a:pt x="765" y="1433"/>
                  </a:lnTo>
                  <a:lnTo>
                    <a:pt x="698" y="1413"/>
                  </a:lnTo>
                  <a:lnTo>
                    <a:pt x="632" y="1391"/>
                  </a:lnTo>
                  <a:lnTo>
                    <a:pt x="570" y="1367"/>
                  </a:lnTo>
                  <a:lnTo>
                    <a:pt x="510" y="1343"/>
                  </a:lnTo>
                  <a:lnTo>
                    <a:pt x="510" y="1343"/>
                  </a:lnTo>
                  <a:lnTo>
                    <a:pt x="747" y="399"/>
                  </a:lnTo>
                  <a:lnTo>
                    <a:pt x="747" y="399"/>
                  </a:lnTo>
                  <a:lnTo>
                    <a:pt x="796" y="418"/>
                  </a:lnTo>
                  <a:lnTo>
                    <a:pt x="848" y="437"/>
                  </a:lnTo>
                  <a:lnTo>
                    <a:pt x="901" y="453"/>
                  </a:lnTo>
                  <a:lnTo>
                    <a:pt x="957" y="470"/>
                  </a:lnTo>
                  <a:lnTo>
                    <a:pt x="1014" y="485"/>
                  </a:lnTo>
                  <a:lnTo>
                    <a:pt x="1072" y="499"/>
                  </a:lnTo>
                  <a:lnTo>
                    <a:pt x="1132" y="512"/>
                  </a:lnTo>
                  <a:lnTo>
                    <a:pt x="1195" y="523"/>
                  </a:lnTo>
                  <a:lnTo>
                    <a:pt x="1258" y="534"/>
                  </a:lnTo>
                  <a:lnTo>
                    <a:pt x="1323" y="543"/>
                  </a:lnTo>
                  <a:lnTo>
                    <a:pt x="1389" y="550"/>
                  </a:lnTo>
                  <a:lnTo>
                    <a:pt x="1457" y="556"/>
                  </a:lnTo>
                  <a:lnTo>
                    <a:pt x="1525" y="562"/>
                  </a:lnTo>
                  <a:lnTo>
                    <a:pt x="1595" y="565"/>
                  </a:lnTo>
                  <a:lnTo>
                    <a:pt x="1665" y="568"/>
                  </a:lnTo>
                  <a:lnTo>
                    <a:pt x="1736" y="568"/>
                  </a:lnTo>
                  <a:lnTo>
                    <a:pt x="1736" y="568"/>
                  </a:lnTo>
                  <a:lnTo>
                    <a:pt x="1796" y="568"/>
                  </a:lnTo>
                  <a:lnTo>
                    <a:pt x="1855" y="566"/>
                  </a:lnTo>
                  <a:lnTo>
                    <a:pt x="1913" y="564"/>
                  </a:lnTo>
                  <a:lnTo>
                    <a:pt x="1970" y="561"/>
                  </a:lnTo>
                  <a:lnTo>
                    <a:pt x="2028" y="555"/>
                  </a:lnTo>
                  <a:lnTo>
                    <a:pt x="2083" y="550"/>
                  </a:lnTo>
                  <a:lnTo>
                    <a:pt x="2138" y="544"/>
                  </a:lnTo>
                  <a:lnTo>
                    <a:pt x="2192" y="537"/>
                  </a:lnTo>
                  <a:lnTo>
                    <a:pt x="2192" y="537"/>
                  </a:lnTo>
                  <a:lnTo>
                    <a:pt x="2289" y="1520"/>
                  </a:lnTo>
                  <a:lnTo>
                    <a:pt x="2289" y="1520"/>
                  </a:lnTo>
                  <a:lnTo>
                    <a:pt x="2223" y="1530"/>
                  </a:lnTo>
                  <a:lnTo>
                    <a:pt x="2155" y="1537"/>
                  </a:lnTo>
                  <a:lnTo>
                    <a:pt x="2087" y="1544"/>
                  </a:lnTo>
                  <a:lnTo>
                    <a:pt x="2018" y="1549"/>
                  </a:lnTo>
                  <a:lnTo>
                    <a:pt x="1948" y="1554"/>
                  </a:lnTo>
                  <a:lnTo>
                    <a:pt x="1877" y="1557"/>
                  </a:lnTo>
                  <a:lnTo>
                    <a:pt x="1805" y="1559"/>
                  </a:lnTo>
                  <a:lnTo>
                    <a:pt x="1732" y="1560"/>
                  </a:lnTo>
                  <a:lnTo>
                    <a:pt x="1732" y="1560"/>
                  </a:lnTo>
                  <a:close/>
                  <a:moveTo>
                    <a:pt x="3228" y="1191"/>
                  </a:moveTo>
                  <a:lnTo>
                    <a:pt x="3228" y="1191"/>
                  </a:lnTo>
                  <a:lnTo>
                    <a:pt x="2962" y="275"/>
                  </a:lnTo>
                  <a:lnTo>
                    <a:pt x="2962" y="275"/>
                  </a:lnTo>
                  <a:lnTo>
                    <a:pt x="2982" y="262"/>
                  </a:lnTo>
                  <a:lnTo>
                    <a:pt x="3002" y="247"/>
                  </a:lnTo>
                  <a:lnTo>
                    <a:pt x="3020" y="231"/>
                  </a:lnTo>
                  <a:lnTo>
                    <a:pt x="3037" y="217"/>
                  </a:lnTo>
                  <a:lnTo>
                    <a:pt x="3054" y="201"/>
                  </a:lnTo>
                  <a:lnTo>
                    <a:pt x="3069" y="186"/>
                  </a:lnTo>
                  <a:lnTo>
                    <a:pt x="3084" y="170"/>
                  </a:lnTo>
                  <a:lnTo>
                    <a:pt x="3098" y="154"/>
                  </a:lnTo>
                  <a:lnTo>
                    <a:pt x="3111" y="138"/>
                  </a:lnTo>
                  <a:lnTo>
                    <a:pt x="3122" y="121"/>
                  </a:lnTo>
                  <a:lnTo>
                    <a:pt x="3133" y="105"/>
                  </a:lnTo>
                  <a:lnTo>
                    <a:pt x="3142" y="88"/>
                  </a:lnTo>
                  <a:lnTo>
                    <a:pt x="3151" y="71"/>
                  </a:lnTo>
                  <a:lnTo>
                    <a:pt x="3159" y="54"/>
                  </a:lnTo>
                  <a:lnTo>
                    <a:pt x="3165" y="37"/>
                  </a:lnTo>
                  <a:lnTo>
                    <a:pt x="3170" y="19"/>
                  </a:lnTo>
                  <a:lnTo>
                    <a:pt x="3170" y="19"/>
                  </a:lnTo>
                  <a:lnTo>
                    <a:pt x="3464" y="848"/>
                  </a:lnTo>
                  <a:lnTo>
                    <a:pt x="3464" y="848"/>
                  </a:lnTo>
                  <a:lnTo>
                    <a:pt x="3461" y="871"/>
                  </a:lnTo>
                  <a:lnTo>
                    <a:pt x="3456" y="894"/>
                  </a:lnTo>
                  <a:lnTo>
                    <a:pt x="3450" y="917"/>
                  </a:lnTo>
                  <a:lnTo>
                    <a:pt x="3441" y="940"/>
                  </a:lnTo>
                  <a:lnTo>
                    <a:pt x="3432" y="963"/>
                  </a:lnTo>
                  <a:lnTo>
                    <a:pt x="3421" y="985"/>
                  </a:lnTo>
                  <a:lnTo>
                    <a:pt x="3408" y="1007"/>
                  </a:lnTo>
                  <a:lnTo>
                    <a:pt x="3394" y="1028"/>
                  </a:lnTo>
                  <a:lnTo>
                    <a:pt x="3378" y="1049"/>
                  </a:lnTo>
                  <a:lnTo>
                    <a:pt x="3360" y="1071"/>
                  </a:lnTo>
                  <a:lnTo>
                    <a:pt x="3342" y="1092"/>
                  </a:lnTo>
                  <a:lnTo>
                    <a:pt x="3322" y="1112"/>
                  </a:lnTo>
                  <a:lnTo>
                    <a:pt x="3300" y="1133"/>
                  </a:lnTo>
                  <a:lnTo>
                    <a:pt x="3278" y="1152"/>
                  </a:lnTo>
                  <a:lnTo>
                    <a:pt x="3253" y="1172"/>
                  </a:lnTo>
                  <a:lnTo>
                    <a:pt x="3228" y="1191"/>
                  </a:lnTo>
                  <a:lnTo>
                    <a:pt x="3228" y="1191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4" name="Freeform 59"/>
            <p:cNvSpPr>
              <a:spLocks noEditPoints="1"/>
            </p:cNvSpPr>
            <p:nvPr/>
          </p:nvSpPr>
          <p:spPr bwMode="auto">
            <a:xfrm flipH="1">
              <a:off x="6953353" y="2226262"/>
              <a:ext cx="424440" cy="176719"/>
            </a:xfrm>
            <a:custGeom>
              <a:avLst/>
              <a:gdLst>
                <a:gd name="T0" fmla="*/ 1155 w 2305"/>
                <a:gd name="T1" fmla="*/ 237 h 1240"/>
                <a:gd name="T2" fmla="*/ 1014 w 2305"/>
                <a:gd name="T3" fmla="*/ 232 h 1240"/>
                <a:gd name="T4" fmla="*/ 879 w 2305"/>
                <a:gd name="T5" fmla="*/ 219 h 1240"/>
                <a:gd name="T6" fmla="*/ 752 w 2305"/>
                <a:gd name="T7" fmla="*/ 199 h 1240"/>
                <a:gd name="T8" fmla="*/ 635 w 2305"/>
                <a:gd name="T9" fmla="*/ 170 h 1240"/>
                <a:gd name="T10" fmla="*/ 528 w 2305"/>
                <a:gd name="T11" fmla="*/ 136 h 1240"/>
                <a:gd name="T12" fmla="*/ 479 w 2305"/>
                <a:gd name="T13" fmla="*/ 117 h 1240"/>
                <a:gd name="T14" fmla="*/ 433 w 2305"/>
                <a:gd name="T15" fmla="*/ 96 h 1240"/>
                <a:gd name="T16" fmla="*/ 390 w 2305"/>
                <a:gd name="T17" fmla="*/ 74 h 1240"/>
                <a:gd name="T18" fmla="*/ 352 w 2305"/>
                <a:gd name="T19" fmla="*/ 51 h 1240"/>
                <a:gd name="T20" fmla="*/ 316 w 2305"/>
                <a:gd name="T21" fmla="*/ 26 h 1240"/>
                <a:gd name="T22" fmla="*/ 285 w 2305"/>
                <a:gd name="T23" fmla="*/ 0 h 1240"/>
                <a:gd name="T24" fmla="*/ 0 w 2305"/>
                <a:gd name="T25" fmla="*/ 805 h 1240"/>
                <a:gd name="T26" fmla="*/ 9 w 2305"/>
                <a:gd name="T27" fmla="*/ 828 h 1240"/>
                <a:gd name="T28" fmla="*/ 32 w 2305"/>
                <a:gd name="T29" fmla="*/ 872 h 1240"/>
                <a:gd name="T30" fmla="*/ 65 w 2305"/>
                <a:gd name="T31" fmla="*/ 915 h 1240"/>
                <a:gd name="T32" fmla="*/ 105 w 2305"/>
                <a:gd name="T33" fmla="*/ 956 h 1240"/>
                <a:gd name="T34" fmla="*/ 155 w 2305"/>
                <a:gd name="T35" fmla="*/ 996 h 1240"/>
                <a:gd name="T36" fmla="*/ 211 w 2305"/>
                <a:gd name="T37" fmla="*/ 1032 h 1240"/>
                <a:gd name="T38" fmla="*/ 276 w 2305"/>
                <a:gd name="T39" fmla="*/ 1067 h 1240"/>
                <a:gd name="T40" fmla="*/ 347 w 2305"/>
                <a:gd name="T41" fmla="*/ 1099 h 1240"/>
                <a:gd name="T42" fmla="*/ 424 w 2305"/>
                <a:gd name="T43" fmla="*/ 1128 h 1240"/>
                <a:gd name="T44" fmla="*/ 507 w 2305"/>
                <a:gd name="T45" fmla="*/ 1154 h 1240"/>
                <a:gd name="T46" fmla="*/ 595 w 2305"/>
                <a:gd name="T47" fmla="*/ 1177 h 1240"/>
                <a:gd name="T48" fmla="*/ 688 w 2305"/>
                <a:gd name="T49" fmla="*/ 1197 h 1240"/>
                <a:gd name="T50" fmla="*/ 785 w 2305"/>
                <a:gd name="T51" fmla="*/ 1213 h 1240"/>
                <a:gd name="T52" fmla="*/ 887 w 2305"/>
                <a:gd name="T53" fmla="*/ 1226 h 1240"/>
                <a:gd name="T54" fmla="*/ 992 w 2305"/>
                <a:gd name="T55" fmla="*/ 1234 h 1240"/>
                <a:gd name="T56" fmla="*/ 1100 w 2305"/>
                <a:gd name="T57" fmla="*/ 1238 h 1240"/>
                <a:gd name="T58" fmla="*/ 1155 w 2305"/>
                <a:gd name="T59" fmla="*/ 1240 h 1240"/>
                <a:gd name="T60" fmla="*/ 1250 w 2305"/>
                <a:gd name="T61" fmla="*/ 1237 h 1240"/>
                <a:gd name="T62" fmla="*/ 1343 w 2305"/>
                <a:gd name="T63" fmla="*/ 1232 h 1240"/>
                <a:gd name="T64" fmla="*/ 1433 w 2305"/>
                <a:gd name="T65" fmla="*/ 1225 h 1240"/>
                <a:gd name="T66" fmla="*/ 1520 w 2305"/>
                <a:gd name="T67" fmla="*/ 1213 h 1240"/>
                <a:gd name="T68" fmla="*/ 1424 w 2305"/>
                <a:gd name="T69" fmla="*/ 220 h 1240"/>
                <a:gd name="T70" fmla="*/ 1359 w 2305"/>
                <a:gd name="T71" fmla="*/ 228 h 1240"/>
                <a:gd name="T72" fmla="*/ 1225 w 2305"/>
                <a:gd name="T73" fmla="*/ 236 h 1240"/>
                <a:gd name="T74" fmla="*/ 1155 w 2305"/>
                <a:gd name="T75" fmla="*/ 237 h 1240"/>
                <a:gd name="T76" fmla="*/ 2130 w 2305"/>
                <a:gd name="T77" fmla="*/ 1013 h 1240"/>
                <a:gd name="T78" fmla="*/ 1866 w 2305"/>
                <a:gd name="T79" fmla="*/ 103 h 1240"/>
                <a:gd name="T80" fmla="*/ 1908 w 2305"/>
                <a:gd name="T81" fmla="*/ 81 h 1240"/>
                <a:gd name="T82" fmla="*/ 1948 w 2305"/>
                <a:gd name="T83" fmla="*/ 58 h 1240"/>
                <a:gd name="T84" fmla="*/ 1984 w 2305"/>
                <a:gd name="T85" fmla="*/ 34 h 1240"/>
                <a:gd name="T86" fmla="*/ 2015 w 2305"/>
                <a:gd name="T87" fmla="*/ 9 h 1240"/>
                <a:gd name="T88" fmla="*/ 2305 w 2305"/>
                <a:gd name="T89" fmla="*/ 822 h 1240"/>
                <a:gd name="T90" fmla="*/ 2300 w 2305"/>
                <a:gd name="T91" fmla="*/ 835 h 1240"/>
                <a:gd name="T92" fmla="*/ 2287 w 2305"/>
                <a:gd name="T93" fmla="*/ 860 h 1240"/>
                <a:gd name="T94" fmla="*/ 2270 w 2305"/>
                <a:gd name="T95" fmla="*/ 886 h 1240"/>
                <a:gd name="T96" fmla="*/ 2250 w 2305"/>
                <a:gd name="T97" fmla="*/ 910 h 1240"/>
                <a:gd name="T98" fmla="*/ 2217 w 2305"/>
                <a:gd name="T99" fmla="*/ 946 h 1240"/>
                <a:gd name="T100" fmla="*/ 2162 w 2305"/>
                <a:gd name="T101" fmla="*/ 992 h 1240"/>
                <a:gd name="T102" fmla="*/ 2130 w 2305"/>
                <a:gd name="T103" fmla="*/ 1013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05" h="1240">
                  <a:moveTo>
                    <a:pt x="1155" y="237"/>
                  </a:moveTo>
                  <a:lnTo>
                    <a:pt x="1155" y="237"/>
                  </a:lnTo>
                  <a:lnTo>
                    <a:pt x="1084" y="236"/>
                  </a:lnTo>
                  <a:lnTo>
                    <a:pt x="1014" y="232"/>
                  </a:lnTo>
                  <a:lnTo>
                    <a:pt x="945" y="227"/>
                  </a:lnTo>
                  <a:lnTo>
                    <a:pt x="879" y="219"/>
                  </a:lnTo>
                  <a:lnTo>
                    <a:pt x="814" y="210"/>
                  </a:lnTo>
                  <a:lnTo>
                    <a:pt x="752" y="199"/>
                  </a:lnTo>
                  <a:lnTo>
                    <a:pt x="692" y="186"/>
                  </a:lnTo>
                  <a:lnTo>
                    <a:pt x="635" y="170"/>
                  </a:lnTo>
                  <a:lnTo>
                    <a:pt x="580" y="155"/>
                  </a:lnTo>
                  <a:lnTo>
                    <a:pt x="528" y="136"/>
                  </a:lnTo>
                  <a:lnTo>
                    <a:pt x="503" y="127"/>
                  </a:lnTo>
                  <a:lnTo>
                    <a:pt x="479" y="117"/>
                  </a:lnTo>
                  <a:lnTo>
                    <a:pt x="455" y="107"/>
                  </a:lnTo>
                  <a:lnTo>
                    <a:pt x="433" y="96"/>
                  </a:lnTo>
                  <a:lnTo>
                    <a:pt x="411" y="85"/>
                  </a:lnTo>
                  <a:lnTo>
                    <a:pt x="390" y="74"/>
                  </a:lnTo>
                  <a:lnTo>
                    <a:pt x="371" y="62"/>
                  </a:lnTo>
                  <a:lnTo>
                    <a:pt x="352" y="51"/>
                  </a:lnTo>
                  <a:lnTo>
                    <a:pt x="333" y="38"/>
                  </a:lnTo>
                  <a:lnTo>
                    <a:pt x="316" y="26"/>
                  </a:lnTo>
                  <a:lnTo>
                    <a:pt x="301" y="13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0" y="805"/>
                  </a:lnTo>
                  <a:lnTo>
                    <a:pt x="0" y="805"/>
                  </a:lnTo>
                  <a:lnTo>
                    <a:pt x="9" y="828"/>
                  </a:lnTo>
                  <a:lnTo>
                    <a:pt x="19" y="850"/>
                  </a:lnTo>
                  <a:lnTo>
                    <a:pt x="32" y="872"/>
                  </a:lnTo>
                  <a:lnTo>
                    <a:pt x="47" y="894"/>
                  </a:lnTo>
                  <a:lnTo>
                    <a:pt x="65" y="915"/>
                  </a:lnTo>
                  <a:lnTo>
                    <a:pt x="85" y="936"/>
                  </a:lnTo>
                  <a:lnTo>
                    <a:pt x="105" y="956"/>
                  </a:lnTo>
                  <a:lnTo>
                    <a:pt x="129" y="976"/>
                  </a:lnTo>
                  <a:lnTo>
                    <a:pt x="155" y="996"/>
                  </a:lnTo>
                  <a:lnTo>
                    <a:pt x="182" y="1014"/>
                  </a:lnTo>
                  <a:lnTo>
                    <a:pt x="211" y="1032"/>
                  </a:lnTo>
                  <a:lnTo>
                    <a:pt x="243" y="1050"/>
                  </a:lnTo>
                  <a:lnTo>
                    <a:pt x="276" y="1067"/>
                  </a:lnTo>
                  <a:lnTo>
                    <a:pt x="310" y="1083"/>
                  </a:lnTo>
                  <a:lnTo>
                    <a:pt x="347" y="1099"/>
                  </a:lnTo>
                  <a:lnTo>
                    <a:pt x="384" y="1113"/>
                  </a:lnTo>
                  <a:lnTo>
                    <a:pt x="424" y="1128"/>
                  </a:lnTo>
                  <a:lnTo>
                    <a:pt x="464" y="1142"/>
                  </a:lnTo>
                  <a:lnTo>
                    <a:pt x="507" y="1154"/>
                  </a:lnTo>
                  <a:lnTo>
                    <a:pt x="550" y="1167"/>
                  </a:lnTo>
                  <a:lnTo>
                    <a:pt x="595" y="1177"/>
                  </a:lnTo>
                  <a:lnTo>
                    <a:pt x="641" y="1187"/>
                  </a:lnTo>
                  <a:lnTo>
                    <a:pt x="688" y="1197"/>
                  </a:lnTo>
                  <a:lnTo>
                    <a:pt x="736" y="1205"/>
                  </a:lnTo>
                  <a:lnTo>
                    <a:pt x="785" y="1213"/>
                  </a:lnTo>
                  <a:lnTo>
                    <a:pt x="836" y="1220"/>
                  </a:lnTo>
                  <a:lnTo>
                    <a:pt x="887" y="1226"/>
                  </a:lnTo>
                  <a:lnTo>
                    <a:pt x="939" y="1230"/>
                  </a:lnTo>
                  <a:lnTo>
                    <a:pt x="992" y="1234"/>
                  </a:lnTo>
                  <a:lnTo>
                    <a:pt x="1046" y="1236"/>
                  </a:lnTo>
                  <a:lnTo>
                    <a:pt x="1100" y="1238"/>
                  </a:lnTo>
                  <a:lnTo>
                    <a:pt x="1155" y="1240"/>
                  </a:lnTo>
                  <a:lnTo>
                    <a:pt x="1155" y="1240"/>
                  </a:lnTo>
                  <a:lnTo>
                    <a:pt x="1203" y="1238"/>
                  </a:lnTo>
                  <a:lnTo>
                    <a:pt x="1250" y="1237"/>
                  </a:lnTo>
                  <a:lnTo>
                    <a:pt x="1297" y="1235"/>
                  </a:lnTo>
                  <a:lnTo>
                    <a:pt x="1343" y="1232"/>
                  </a:lnTo>
                  <a:lnTo>
                    <a:pt x="1388" y="1229"/>
                  </a:lnTo>
                  <a:lnTo>
                    <a:pt x="1433" y="1225"/>
                  </a:lnTo>
                  <a:lnTo>
                    <a:pt x="1477" y="1220"/>
                  </a:lnTo>
                  <a:lnTo>
                    <a:pt x="1520" y="1213"/>
                  </a:lnTo>
                  <a:lnTo>
                    <a:pt x="1520" y="1213"/>
                  </a:lnTo>
                  <a:lnTo>
                    <a:pt x="1424" y="220"/>
                  </a:lnTo>
                  <a:lnTo>
                    <a:pt x="1424" y="220"/>
                  </a:lnTo>
                  <a:lnTo>
                    <a:pt x="1359" y="228"/>
                  </a:lnTo>
                  <a:lnTo>
                    <a:pt x="1293" y="233"/>
                  </a:lnTo>
                  <a:lnTo>
                    <a:pt x="1225" y="236"/>
                  </a:lnTo>
                  <a:lnTo>
                    <a:pt x="1155" y="237"/>
                  </a:lnTo>
                  <a:lnTo>
                    <a:pt x="1155" y="237"/>
                  </a:lnTo>
                  <a:close/>
                  <a:moveTo>
                    <a:pt x="2130" y="1013"/>
                  </a:moveTo>
                  <a:lnTo>
                    <a:pt x="2130" y="1013"/>
                  </a:lnTo>
                  <a:lnTo>
                    <a:pt x="1866" y="103"/>
                  </a:lnTo>
                  <a:lnTo>
                    <a:pt x="1866" y="103"/>
                  </a:lnTo>
                  <a:lnTo>
                    <a:pt x="1887" y="91"/>
                  </a:lnTo>
                  <a:lnTo>
                    <a:pt x="1908" y="81"/>
                  </a:lnTo>
                  <a:lnTo>
                    <a:pt x="1929" y="69"/>
                  </a:lnTo>
                  <a:lnTo>
                    <a:pt x="1948" y="58"/>
                  </a:lnTo>
                  <a:lnTo>
                    <a:pt x="1966" y="46"/>
                  </a:lnTo>
                  <a:lnTo>
                    <a:pt x="1984" y="34"/>
                  </a:lnTo>
                  <a:lnTo>
                    <a:pt x="2000" y="21"/>
                  </a:lnTo>
                  <a:lnTo>
                    <a:pt x="2015" y="9"/>
                  </a:lnTo>
                  <a:lnTo>
                    <a:pt x="2015" y="9"/>
                  </a:lnTo>
                  <a:lnTo>
                    <a:pt x="2305" y="822"/>
                  </a:lnTo>
                  <a:lnTo>
                    <a:pt x="2305" y="822"/>
                  </a:lnTo>
                  <a:lnTo>
                    <a:pt x="2300" y="835"/>
                  </a:lnTo>
                  <a:lnTo>
                    <a:pt x="2294" y="848"/>
                  </a:lnTo>
                  <a:lnTo>
                    <a:pt x="2287" y="860"/>
                  </a:lnTo>
                  <a:lnTo>
                    <a:pt x="2278" y="874"/>
                  </a:lnTo>
                  <a:lnTo>
                    <a:pt x="2270" y="886"/>
                  </a:lnTo>
                  <a:lnTo>
                    <a:pt x="2261" y="898"/>
                  </a:lnTo>
                  <a:lnTo>
                    <a:pt x="2250" y="910"/>
                  </a:lnTo>
                  <a:lnTo>
                    <a:pt x="2240" y="923"/>
                  </a:lnTo>
                  <a:lnTo>
                    <a:pt x="2217" y="946"/>
                  </a:lnTo>
                  <a:lnTo>
                    <a:pt x="2190" y="970"/>
                  </a:lnTo>
                  <a:lnTo>
                    <a:pt x="2162" y="992"/>
                  </a:lnTo>
                  <a:lnTo>
                    <a:pt x="2130" y="1013"/>
                  </a:lnTo>
                  <a:lnTo>
                    <a:pt x="2130" y="1013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5" name="Freeform 60"/>
            <p:cNvSpPr>
              <a:spLocks/>
            </p:cNvSpPr>
            <p:nvPr/>
          </p:nvSpPr>
          <p:spPr bwMode="auto">
            <a:xfrm flipH="1">
              <a:off x="6917231" y="2925397"/>
              <a:ext cx="1290" cy="0"/>
            </a:xfrm>
            <a:custGeom>
              <a:avLst/>
              <a:gdLst>
                <a:gd name="T0" fmla="*/ 4 w 4"/>
                <a:gd name="T1" fmla="*/ 0 h 1"/>
                <a:gd name="T2" fmla="*/ 4 w 4"/>
                <a:gd name="T3" fmla="*/ 0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6" name="Freeform 61"/>
            <p:cNvSpPr>
              <a:spLocks/>
            </p:cNvSpPr>
            <p:nvPr/>
          </p:nvSpPr>
          <p:spPr bwMode="auto">
            <a:xfrm flipH="1">
              <a:off x="6917231" y="2925397"/>
              <a:ext cx="1290" cy="0"/>
            </a:xfrm>
            <a:custGeom>
              <a:avLst/>
              <a:gdLst>
                <a:gd name="T0" fmla="*/ 4 w 4"/>
                <a:gd name="T1" fmla="*/ 0 h 1"/>
                <a:gd name="T2" fmla="*/ 4 w 4"/>
                <a:gd name="T3" fmla="*/ 0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7" name="Freeform 62"/>
            <p:cNvSpPr>
              <a:spLocks/>
            </p:cNvSpPr>
            <p:nvPr/>
          </p:nvSpPr>
          <p:spPr bwMode="auto">
            <a:xfrm flipH="1">
              <a:off x="6793383" y="2884120"/>
              <a:ext cx="0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8" name="Freeform 63"/>
            <p:cNvSpPr>
              <a:spLocks/>
            </p:cNvSpPr>
            <p:nvPr/>
          </p:nvSpPr>
          <p:spPr bwMode="auto">
            <a:xfrm flipH="1">
              <a:off x="6793383" y="2884120"/>
              <a:ext cx="0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69" name="Freeform 64"/>
            <p:cNvSpPr>
              <a:spLocks/>
            </p:cNvSpPr>
            <p:nvPr/>
          </p:nvSpPr>
          <p:spPr bwMode="auto">
            <a:xfrm flipH="1">
              <a:off x="6926262" y="2927977"/>
              <a:ext cx="101917" cy="16769"/>
            </a:xfrm>
            <a:custGeom>
              <a:avLst/>
              <a:gdLst>
                <a:gd name="T0" fmla="*/ 556 w 556"/>
                <a:gd name="T1" fmla="*/ 0 h 116"/>
                <a:gd name="T2" fmla="*/ 556 w 556"/>
                <a:gd name="T3" fmla="*/ 0 h 116"/>
                <a:gd name="T4" fmla="*/ 497 w 556"/>
                <a:gd name="T5" fmla="*/ 16 h 116"/>
                <a:gd name="T6" fmla="*/ 439 w 556"/>
                <a:gd name="T7" fmla="*/ 32 h 116"/>
                <a:gd name="T8" fmla="*/ 385 w 556"/>
                <a:gd name="T9" fmla="*/ 46 h 116"/>
                <a:gd name="T10" fmla="*/ 333 w 556"/>
                <a:gd name="T11" fmla="*/ 58 h 116"/>
                <a:gd name="T12" fmla="*/ 284 w 556"/>
                <a:gd name="T13" fmla="*/ 69 h 116"/>
                <a:gd name="T14" fmla="*/ 239 w 556"/>
                <a:gd name="T15" fmla="*/ 79 h 116"/>
                <a:gd name="T16" fmla="*/ 157 w 556"/>
                <a:gd name="T17" fmla="*/ 94 h 116"/>
                <a:gd name="T18" fmla="*/ 91 w 556"/>
                <a:gd name="T19" fmla="*/ 105 h 116"/>
                <a:gd name="T20" fmla="*/ 41 w 556"/>
                <a:gd name="T21" fmla="*/ 112 h 116"/>
                <a:gd name="T22" fmla="*/ 0 w 556"/>
                <a:gd name="T23" fmla="*/ 116 h 116"/>
                <a:gd name="T24" fmla="*/ 0 w 556"/>
                <a:gd name="T25" fmla="*/ 116 h 116"/>
                <a:gd name="T26" fmla="*/ 66 w 556"/>
                <a:gd name="T27" fmla="*/ 107 h 116"/>
                <a:gd name="T28" fmla="*/ 135 w 556"/>
                <a:gd name="T29" fmla="*/ 96 h 116"/>
                <a:gd name="T30" fmla="*/ 203 w 556"/>
                <a:gd name="T31" fmla="*/ 83 h 116"/>
                <a:gd name="T32" fmla="*/ 273 w 556"/>
                <a:gd name="T33" fmla="*/ 70 h 116"/>
                <a:gd name="T34" fmla="*/ 344 w 556"/>
                <a:gd name="T35" fmla="*/ 55 h 116"/>
                <a:gd name="T36" fmla="*/ 414 w 556"/>
                <a:gd name="T37" fmla="*/ 38 h 116"/>
                <a:gd name="T38" fmla="*/ 485 w 556"/>
                <a:gd name="T39" fmla="*/ 20 h 116"/>
                <a:gd name="T40" fmla="*/ 556 w 556"/>
                <a:gd name="T4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6" h="116">
                  <a:moveTo>
                    <a:pt x="556" y="0"/>
                  </a:moveTo>
                  <a:lnTo>
                    <a:pt x="556" y="0"/>
                  </a:lnTo>
                  <a:lnTo>
                    <a:pt x="497" y="16"/>
                  </a:lnTo>
                  <a:lnTo>
                    <a:pt x="439" y="32"/>
                  </a:lnTo>
                  <a:lnTo>
                    <a:pt x="385" y="46"/>
                  </a:lnTo>
                  <a:lnTo>
                    <a:pt x="333" y="58"/>
                  </a:lnTo>
                  <a:lnTo>
                    <a:pt x="284" y="69"/>
                  </a:lnTo>
                  <a:lnTo>
                    <a:pt x="239" y="79"/>
                  </a:lnTo>
                  <a:lnTo>
                    <a:pt x="157" y="94"/>
                  </a:lnTo>
                  <a:lnTo>
                    <a:pt x="91" y="105"/>
                  </a:lnTo>
                  <a:lnTo>
                    <a:pt x="41" y="11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66" y="107"/>
                  </a:lnTo>
                  <a:lnTo>
                    <a:pt x="135" y="96"/>
                  </a:lnTo>
                  <a:lnTo>
                    <a:pt x="203" y="83"/>
                  </a:lnTo>
                  <a:lnTo>
                    <a:pt x="273" y="70"/>
                  </a:lnTo>
                  <a:lnTo>
                    <a:pt x="344" y="55"/>
                  </a:lnTo>
                  <a:lnTo>
                    <a:pt x="414" y="38"/>
                  </a:lnTo>
                  <a:lnTo>
                    <a:pt x="485" y="20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0" name="Freeform 65"/>
            <p:cNvSpPr>
              <a:spLocks/>
            </p:cNvSpPr>
            <p:nvPr/>
          </p:nvSpPr>
          <p:spPr bwMode="auto">
            <a:xfrm flipH="1">
              <a:off x="6926262" y="2927977"/>
              <a:ext cx="101917" cy="16769"/>
            </a:xfrm>
            <a:custGeom>
              <a:avLst/>
              <a:gdLst>
                <a:gd name="T0" fmla="*/ 556 w 556"/>
                <a:gd name="T1" fmla="*/ 0 h 116"/>
                <a:gd name="T2" fmla="*/ 556 w 556"/>
                <a:gd name="T3" fmla="*/ 0 h 116"/>
                <a:gd name="T4" fmla="*/ 497 w 556"/>
                <a:gd name="T5" fmla="*/ 16 h 116"/>
                <a:gd name="T6" fmla="*/ 439 w 556"/>
                <a:gd name="T7" fmla="*/ 32 h 116"/>
                <a:gd name="T8" fmla="*/ 385 w 556"/>
                <a:gd name="T9" fmla="*/ 46 h 116"/>
                <a:gd name="T10" fmla="*/ 333 w 556"/>
                <a:gd name="T11" fmla="*/ 58 h 116"/>
                <a:gd name="T12" fmla="*/ 284 w 556"/>
                <a:gd name="T13" fmla="*/ 69 h 116"/>
                <a:gd name="T14" fmla="*/ 239 w 556"/>
                <a:gd name="T15" fmla="*/ 79 h 116"/>
                <a:gd name="T16" fmla="*/ 157 w 556"/>
                <a:gd name="T17" fmla="*/ 94 h 116"/>
                <a:gd name="T18" fmla="*/ 91 w 556"/>
                <a:gd name="T19" fmla="*/ 105 h 116"/>
                <a:gd name="T20" fmla="*/ 41 w 556"/>
                <a:gd name="T21" fmla="*/ 112 h 116"/>
                <a:gd name="T22" fmla="*/ 0 w 556"/>
                <a:gd name="T23" fmla="*/ 116 h 116"/>
                <a:gd name="T24" fmla="*/ 0 w 556"/>
                <a:gd name="T25" fmla="*/ 116 h 116"/>
                <a:gd name="T26" fmla="*/ 66 w 556"/>
                <a:gd name="T27" fmla="*/ 107 h 116"/>
                <a:gd name="T28" fmla="*/ 135 w 556"/>
                <a:gd name="T29" fmla="*/ 96 h 116"/>
                <a:gd name="T30" fmla="*/ 203 w 556"/>
                <a:gd name="T31" fmla="*/ 83 h 116"/>
                <a:gd name="T32" fmla="*/ 273 w 556"/>
                <a:gd name="T33" fmla="*/ 70 h 116"/>
                <a:gd name="T34" fmla="*/ 344 w 556"/>
                <a:gd name="T35" fmla="*/ 55 h 116"/>
                <a:gd name="T36" fmla="*/ 414 w 556"/>
                <a:gd name="T37" fmla="*/ 38 h 116"/>
                <a:gd name="T38" fmla="*/ 485 w 556"/>
                <a:gd name="T39" fmla="*/ 20 h 116"/>
                <a:gd name="T40" fmla="*/ 556 w 556"/>
                <a:gd name="T4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6" h="116">
                  <a:moveTo>
                    <a:pt x="556" y="0"/>
                  </a:moveTo>
                  <a:lnTo>
                    <a:pt x="556" y="0"/>
                  </a:lnTo>
                  <a:lnTo>
                    <a:pt x="497" y="16"/>
                  </a:lnTo>
                  <a:lnTo>
                    <a:pt x="439" y="32"/>
                  </a:lnTo>
                  <a:lnTo>
                    <a:pt x="385" y="46"/>
                  </a:lnTo>
                  <a:lnTo>
                    <a:pt x="333" y="58"/>
                  </a:lnTo>
                  <a:lnTo>
                    <a:pt x="284" y="69"/>
                  </a:lnTo>
                  <a:lnTo>
                    <a:pt x="239" y="79"/>
                  </a:lnTo>
                  <a:lnTo>
                    <a:pt x="157" y="94"/>
                  </a:lnTo>
                  <a:lnTo>
                    <a:pt x="91" y="105"/>
                  </a:lnTo>
                  <a:lnTo>
                    <a:pt x="41" y="11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66" y="107"/>
                  </a:lnTo>
                  <a:lnTo>
                    <a:pt x="135" y="96"/>
                  </a:lnTo>
                  <a:lnTo>
                    <a:pt x="203" y="83"/>
                  </a:lnTo>
                  <a:lnTo>
                    <a:pt x="273" y="70"/>
                  </a:lnTo>
                  <a:lnTo>
                    <a:pt x="344" y="55"/>
                  </a:lnTo>
                  <a:lnTo>
                    <a:pt x="414" y="38"/>
                  </a:lnTo>
                  <a:lnTo>
                    <a:pt x="485" y="20"/>
                  </a:lnTo>
                  <a:lnTo>
                    <a:pt x="5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1" name="Freeform 66"/>
            <p:cNvSpPr>
              <a:spLocks/>
            </p:cNvSpPr>
            <p:nvPr/>
          </p:nvSpPr>
          <p:spPr bwMode="auto">
            <a:xfrm flipH="1">
              <a:off x="6921102" y="2926687"/>
              <a:ext cx="2580" cy="0"/>
            </a:xfrm>
            <a:custGeom>
              <a:avLst/>
              <a:gdLst>
                <a:gd name="T0" fmla="*/ 14 w 14"/>
                <a:gd name="T1" fmla="*/ 0 h 5"/>
                <a:gd name="T2" fmla="*/ 14 w 14"/>
                <a:gd name="T3" fmla="*/ 0 h 5"/>
                <a:gd name="T4" fmla="*/ 0 w 14"/>
                <a:gd name="T5" fmla="*/ 5 h 5"/>
                <a:gd name="T6" fmla="*/ 0 w 14"/>
                <a:gd name="T7" fmla="*/ 5 h 5"/>
                <a:gd name="T8" fmla="*/ 14 w 1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1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2" name="Freeform 67"/>
            <p:cNvSpPr>
              <a:spLocks/>
            </p:cNvSpPr>
            <p:nvPr/>
          </p:nvSpPr>
          <p:spPr bwMode="auto">
            <a:xfrm flipH="1">
              <a:off x="6921102" y="2926687"/>
              <a:ext cx="2580" cy="0"/>
            </a:xfrm>
            <a:custGeom>
              <a:avLst/>
              <a:gdLst>
                <a:gd name="T0" fmla="*/ 14 w 14"/>
                <a:gd name="T1" fmla="*/ 0 h 5"/>
                <a:gd name="T2" fmla="*/ 14 w 14"/>
                <a:gd name="T3" fmla="*/ 0 h 5"/>
                <a:gd name="T4" fmla="*/ 0 w 14"/>
                <a:gd name="T5" fmla="*/ 5 h 5"/>
                <a:gd name="T6" fmla="*/ 0 w 14"/>
                <a:gd name="T7" fmla="*/ 5 h 5"/>
                <a:gd name="T8" fmla="*/ 14 w 1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1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3" name="Freeform 68"/>
            <p:cNvSpPr>
              <a:spLocks/>
            </p:cNvSpPr>
            <p:nvPr/>
          </p:nvSpPr>
          <p:spPr bwMode="auto">
            <a:xfrm flipH="1">
              <a:off x="6793383" y="2749969"/>
              <a:ext cx="252858" cy="194778"/>
            </a:xfrm>
            <a:custGeom>
              <a:avLst/>
              <a:gdLst>
                <a:gd name="T0" fmla="*/ 1101 w 1372"/>
                <a:gd name="T1" fmla="*/ 0 h 1352"/>
                <a:gd name="T2" fmla="*/ 1101 w 1372"/>
                <a:gd name="T3" fmla="*/ 0 h 1352"/>
                <a:gd name="T4" fmla="*/ 1372 w 1372"/>
                <a:gd name="T5" fmla="*/ 930 h 1352"/>
                <a:gd name="T6" fmla="*/ 1371 w 1372"/>
                <a:gd name="T7" fmla="*/ 930 h 1352"/>
                <a:gd name="T8" fmla="*/ 1371 w 1372"/>
                <a:gd name="T9" fmla="*/ 930 h 1352"/>
                <a:gd name="T10" fmla="*/ 1329 w 1372"/>
                <a:gd name="T11" fmla="*/ 955 h 1352"/>
                <a:gd name="T12" fmla="*/ 1285 w 1372"/>
                <a:gd name="T13" fmla="*/ 978 h 1352"/>
                <a:gd name="T14" fmla="*/ 1241 w 1372"/>
                <a:gd name="T15" fmla="*/ 1001 h 1352"/>
                <a:gd name="T16" fmla="*/ 1198 w 1372"/>
                <a:gd name="T17" fmla="*/ 1023 h 1352"/>
                <a:gd name="T18" fmla="*/ 1154 w 1372"/>
                <a:gd name="T19" fmla="*/ 1045 h 1352"/>
                <a:gd name="T20" fmla="*/ 1110 w 1372"/>
                <a:gd name="T21" fmla="*/ 1065 h 1352"/>
                <a:gd name="T22" fmla="*/ 1068 w 1372"/>
                <a:gd name="T23" fmla="*/ 1085 h 1352"/>
                <a:gd name="T24" fmla="*/ 1024 w 1372"/>
                <a:gd name="T25" fmla="*/ 1102 h 1352"/>
                <a:gd name="T26" fmla="*/ 981 w 1372"/>
                <a:gd name="T27" fmla="*/ 1120 h 1352"/>
                <a:gd name="T28" fmla="*/ 940 w 1372"/>
                <a:gd name="T29" fmla="*/ 1137 h 1352"/>
                <a:gd name="T30" fmla="*/ 857 w 1372"/>
                <a:gd name="T31" fmla="*/ 1168 h 1352"/>
                <a:gd name="T32" fmla="*/ 776 w 1372"/>
                <a:gd name="T33" fmla="*/ 1196 h 1352"/>
                <a:gd name="T34" fmla="*/ 697 w 1372"/>
                <a:gd name="T35" fmla="*/ 1222 h 1352"/>
                <a:gd name="T36" fmla="*/ 697 w 1372"/>
                <a:gd name="T37" fmla="*/ 1222 h 1352"/>
                <a:gd name="T38" fmla="*/ 693 w 1372"/>
                <a:gd name="T39" fmla="*/ 1223 h 1352"/>
                <a:gd name="T40" fmla="*/ 693 w 1372"/>
                <a:gd name="T41" fmla="*/ 1223 h 1352"/>
                <a:gd name="T42" fmla="*/ 676 w 1372"/>
                <a:gd name="T43" fmla="*/ 1228 h 1352"/>
                <a:gd name="T44" fmla="*/ 676 w 1372"/>
                <a:gd name="T45" fmla="*/ 1228 h 1352"/>
                <a:gd name="T46" fmla="*/ 662 w 1372"/>
                <a:gd name="T47" fmla="*/ 1233 h 1352"/>
                <a:gd name="T48" fmla="*/ 662 w 1372"/>
                <a:gd name="T49" fmla="*/ 1233 h 1352"/>
                <a:gd name="T50" fmla="*/ 651 w 1372"/>
                <a:gd name="T51" fmla="*/ 1236 h 1352"/>
                <a:gd name="T52" fmla="*/ 651 w 1372"/>
                <a:gd name="T53" fmla="*/ 1236 h 1352"/>
                <a:gd name="T54" fmla="*/ 580 w 1372"/>
                <a:gd name="T55" fmla="*/ 1256 h 1352"/>
                <a:gd name="T56" fmla="*/ 509 w 1372"/>
                <a:gd name="T57" fmla="*/ 1274 h 1352"/>
                <a:gd name="T58" fmla="*/ 439 w 1372"/>
                <a:gd name="T59" fmla="*/ 1291 h 1352"/>
                <a:gd name="T60" fmla="*/ 368 w 1372"/>
                <a:gd name="T61" fmla="*/ 1306 h 1352"/>
                <a:gd name="T62" fmla="*/ 298 w 1372"/>
                <a:gd name="T63" fmla="*/ 1319 h 1352"/>
                <a:gd name="T64" fmla="*/ 230 w 1372"/>
                <a:gd name="T65" fmla="*/ 1332 h 1352"/>
                <a:gd name="T66" fmla="*/ 161 w 1372"/>
                <a:gd name="T67" fmla="*/ 1343 h 1352"/>
                <a:gd name="T68" fmla="*/ 95 w 1372"/>
                <a:gd name="T69" fmla="*/ 1352 h 1352"/>
                <a:gd name="T70" fmla="*/ 95 w 1372"/>
                <a:gd name="T71" fmla="*/ 1352 h 1352"/>
                <a:gd name="T72" fmla="*/ 0 w 1372"/>
                <a:gd name="T73" fmla="*/ 389 h 1352"/>
                <a:gd name="T74" fmla="*/ 0 w 1372"/>
                <a:gd name="T75" fmla="*/ 389 h 1352"/>
                <a:gd name="T76" fmla="*/ 86 w 1372"/>
                <a:gd name="T77" fmla="*/ 375 h 1352"/>
                <a:gd name="T78" fmla="*/ 172 w 1372"/>
                <a:gd name="T79" fmla="*/ 359 h 1352"/>
                <a:gd name="T80" fmla="*/ 255 w 1372"/>
                <a:gd name="T81" fmla="*/ 343 h 1352"/>
                <a:gd name="T82" fmla="*/ 335 w 1372"/>
                <a:gd name="T83" fmla="*/ 325 h 1352"/>
                <a:gd name="T84" fmla="*/ 414 w 1372"/>
                <a:gd name="T85" fmla="*/ 305 h 1352"/>
                <a:gd name="T86" fmla="*/ 490 w 1372"/>
                <a:gd name="T87" fmla="*/ 283 h 1352"/>
                <a:gd name="T88" fmla="*/ 563 w 1372"/>
                <a:gd name="T89" fmla="*/ 260 h 1352"/>
                <a:gd name="T90" fmla="*/ 634 w 1372"/>
                <a:gd name="T91" fmla="*/ 237 h 1352"/>
                <a:gd name="T92" fmla="*/ 703 w 1372"/>
                <a:gd name="T93" fmla="*/ 212 h 1352"/>
                <a:gd name="T94" fmla="*/ 769 w 1372"/>
                <a:gd name="T95" fmla="*/ 184 h 1352"/>
                <a:gd name="T96" fmla="*/ 832 w 1372"/>
                <a:gd name="T97" fmla="*/ 157 h 1352"/>
                <a:gd name="T98" fmla="*/ 892 w 1372"/>
                <a:gd name="T99" fmla="*/ 128 h 1352"/>
                <a:gd name="T100" fmla="*/ 949 w 1372"/>
                <a:gd name="T101" fmla="*/ 98 h 1352"/>
                <a:gd name="T102" fmla="*/ 976 w 1372"/>
                <a:gd name="T103" fmla="*/ 82 h 1352"/>
                <a:gd name="T104" fmla="*/ 1003 w 1372"/>
                <a:gd name="T105" fmla="*/ 67 h 1352"/>
                <a:gd name="T106" fmla="*/ 1029 w 1372"/>
                <a:gd name="T107" fmla="*/ 50 h 1352"/>
                <a:gd name="T108" fmla="*/ 1054 w 1372"/>
                <a:gd name="T109" fmla="*/ 34 h 1352"/>
                <a:gd name="T110" fmla="*/ 1078 w 1372"/>
                <a:gd name="T111" fmla="*/ 18 h 1352"/>
                <a:gd name="T112" fmla="*/ 1101 w 1372"/>
                <a:gd name="T113" fmla="*/ 0 h 1352"/>
                <a:gd name="T114" fmla="*/ 1101 w 1372"/>
                <a:gd name="T115" fmla="*/ 0 h 1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72" h="1352">
                  <a:moveTo>
                    <a:pt x="1101" y="0"/>
                  </a:moveTo>
                  <a:lnTo>
                    <a:pt x="1101" y="0"/>
                  </a:lnTo>
                  <a:lnTo>
                    <a:pt x="1372" y="930"/>
                  </a:lnTo>
                  <a:lnTo>
                    <a:pt x="1371" y="930"/>
                  </a:lnTo>
                  <a:lnTo>
                    <a:pt x="1371" y="930"/>
                  </a:lnTo>
                  <a:lnTo>
                    <a:pt x="1329" y="955"/>
                  </a:lnTo>
                  <a:lnTo>
                    <a:pt x="1285" y="978"/>
                  </a:lnTo>
                  <a:lnTo>
                    <a:pt x="1241" y="1001"/>
                  </a:lnTo>
                  <a:lnTo>
                    <a:pt x="1198" y="1023"/>
                  </a:lnTo>
                  <a:lnTo>
                    <a:pt x="1154" y="1045"/>
                  </a:lnTo>
                  <a:lnTo>
                    <a:pt x="1110" y="1065"/>
                  </a:lnTo>
                  <a:lnTo>
                    <a:pt x="1068" y="1085"/>
                  </a:lnTo>
                  <a:lnTo>
                    <a:pt x="1024" y="1102"/>
                  </a:lnTo>
                  <a:lnTo>
                    <a:pt x="981" y="1120"/>
                  </a:lnTo>
                  <a:lnTo>
                    <a:pt x="940" y="1137"/>
                  </a:lnTo>
                  <a:lnTo>
                    <a:pt x="857" y="1168"/>
                  </a:lnTo>
                  <a:lnTo>
                    <a:pt x="776" y="1196"/>
                  </a:lnTo>
                  <a:lnTo>
                    <a:pt x="697" y="1222"/>
                  </a:lnTo>
                  <a:lnTo>
                    <a:pt x="697" y="1222"/>
                  </a:lnTo>
                  <a:lnTo>
                    <a:pt x="693" y="1223"/>
                  </a:lnTo>
                  <a:lnTo>
                    <a:pt x="693" y="1223"/>
                  </a:lnTo>
                  <a:lnTo>
                    <a:pt x="676" y="1228"/>
                  </a:lnTo>
                  <a:lnTo>
                    <a:pt x="676" y="1228"/>
                  </a:lnTo>
                  <a:lnTo>
                    <a:pt x="662" y="1233"/>
                  </a:lnTo>
                  <a:lnTo>
                    <a:pt x="662" y="1233"/>
                  </a:lnTo>
                  <a:lnTo>
                    <a:pt x="651" y="1236"/>
                  </a:lnTo>
                  <a:lnTo>
                    <a:pt x="651" y="1236"/>
                  </a:lnTo>
                  <a:lnTo>
                    <a:pt x="580" y="1256"/>
                  </a:lnTo>
                  <a:lnTo>
                    <a:pt x="509" y="1274"/>
                  </a:lnTo>
                  <a:lnTo>
                    <a:pt x="439" y="1291"/>
                  </a:lnTo>
                  <a:lnTo>
                    <a:pt x="368" y="1306"/>
                  </a:lnTo>
                  <a:lnTo>
                    <a:pt x="298" y="1319"/>
                  </a:lnTo>
                  <a:lnTo>
                    <a:pt x="230" y="1332"/>
                  </a:lnTo>
                  <a:lnTo>
                    <a:pt x="161" y="1343"/>
                  </a:lnTo>
                  <a:lnTo>
                    <a:pt x="95" y="1352"/>
                  </a:lnTo>
                  <a:lnTo>
                    <a:pt x="95" y="1352"/>
                  </a:lnTo>
                  <a:lnTo>
                    <a:pt x="0" y="389"/>
                  </a:lnTo>
                  <a:lnTo>
                    <a:pt x="0" y="389"/>
                  </a:lnTo>
                  <a:lnTo>
                    <a:pt x="86" y="375"/>
                  </a:lnTo>
                  <a:lnTo>
                    <a:pt x="172" y="359"/>
                  </a:lnTo>
                  <a:lnTo>
                    <a:pt x="255" y="343"/>
                  </a:lnTo>
                  <a:lnTo>
                    <a:pt x="335" y="325"/>
                  </a:lnTo>
                  <a:lnTo>
                    <a:pt x="414" y="305"/>
                  </a:lnTo>
                  <a:lnTo>
                    <a:pt x="490" y="283"/>
                  </a:lnTo>
                  <a:lnTo>
                    <a:pt x="563" y="260"/>
                  </a:lnTo>
                  <a:lnTo>
                    <a:pt x="634" y="237"/>
                  </a:lnTo>
                  <a:lnTo>
                    <a:pt x="703" y="212"/>
                  </a:lnTo>
                  <a:lnTo>
                    <a:pt x="769" y="184"/>
                  </a:lnTo>
                  <a:lnTo>
                    <a:pt x="832" y="157"/>
                  </a:lnTo>
                  <a:lnTo>
                    <a:pt x="892" y="128"/>
                  </a:lnTo>
                  <a:lnTo>
                    <a:pt x="949" y="98"/>
                  </a:lnTo>
                  <a:lnTo>
                    <a:pt x="976" y="82"/>
                  </a:lnTo>
                  <a:lnTo>
                    <a:pt x="1003" y="67"/>
                  </a:lnTo>
                  <a:lnTo>
                    <a:pt x="1029" y="50"/>
                  </a:lnTo>
                  <a:lnTo>
                    <a:pt x="1054" y="34"/>
                  </a:lnTo>
                  <a:lnTo>
                    <a:pt x="1078" y="18"/>
                  </a:lnTo>
                  <a:lnTo>
                    <a:pt x="1101" y="0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4" name="Freeform 69"/>
            <p:cNvSpPr>
              <a:spLocks/>
            </p:cNvSpPr>
            <p:nvPr/>
          </p:nvSpPr>
          <p:spPr bwMode="auto">
            <a:xfrm flipH="1">
              <a:off x="6939163" y="2370733"/>
              <a:ext cx="158681" cy="161240"/>
            </a:xfrm>
            <a:custGeom>
              <a:avLst/>
              <a:gdLst>
                <a:gd name="T0" fmla="*/ 0 w 861"/>
                <a:gd name="T1" fmla="*/ 200 h 1125"/>
                <a:gd name="T2" fmla="*/ 0 w 861"/>
                <a:gd name="T3" fmla="*/ 200 h 1125"/>
                <a:gd name="T4" fmla="*/ 47 w 861"/>
                <a:gd name="T5" fmla="*/ 194 h 1125"/>
                <a:gd name="T6" fmla="*/ 93 w 861"/>
                <a:gd name="T7" fmla="*/ 186 h 1125"/>
                <a:gd name="T8" fmla="*/ 139 w 861"/>
                <a:gd name="T9" fmla="*/ 178 h 1125"/>
                <a:gd name="T10" fmla="*/ 182 w 861"/>
                <a:gd name="T11" fmla="*/ 168 h 1125"/>
                <a:gd name="T12" fmla="*/ 225 w 861"/>
                <a:gd name="T13" fmla="*/ 158 h 1125"/>
                <a:gd name="T14" fmla="*/ 267 w 861"/>
                <a:gd name="T15" fmla="*/ 146 h 1125"/>
                <a:gd name="T16" fmla="*/ 307 w 861"/>
                <a:gd name="T17" fmla="*/ 135 h 1125"/>
                <a:gd name="T18" fmla="*/ 347 w 861"/>
                <a:gd name="T19" fmla="*/ 122 h 1125"/>
                <a:gd name="T20" fmla="*/ 384 w 861"/>
                <a:gd name="T21" fmla="*/ 109 h 1125"/>
                <a:gd name="T22" fmla="*/ 420 w 861"/>
                <a:gd name="T23" fmla="*/ 95 h 1125"/>
                <a:gd name="T24" fmla="*/ 456 w 861"/>
                <a:gd name="T25" fmla="*/ 81 h 1125"/>
                <a:gd name="T26" fmla="*/ 490 w 861"/>
                <a:gd name="T27" fmla="*/ 66 h 1125"/>
                <a:gd name="T28" fmla="*/ 522 w 861"/>
                <a:gd name="T29" fmla="*/ 50 h 1125"/>
                <a:gd name="T30" fmla="*/ 553 w 861"/>
                <a:gd name="T31" fmla="*/ 34 h 1125"/>
                <a:gd name="T32" fmla="*/ 583 w 861"/>
                <a:gd name="T33" fmla="*/ 17 h 1125"/>
                <a:gd name="T34" fmla="*/ 610 w 861"/>
                <a:gd name="T35" fmla="*/ 0 h 1125"/>
                <a:gd name="T36" fmla="*/ 610 w 861"/>
                <a:gd name="T37" fmla="*/ 0 h 1125"/>
                <a:gd name="T38" fmla="*/ 861 w 861"/>
                <a:gd name="T39" fmla="*/ 863 h 1125"/>
                <a:gd name="T40" fmla="*/ 861 w 861"/>
                <a:gd name="T41" fmla="*/ 863 h 1125"/>
                <a:gd name="T42" fmla="*/ 827 w 861"/>
                <a:gd name="T43" fmla="*/ 886 h 1125"/>
                <a:gd name="T44" fmla="*/ 791 w 861"/>
                <a:gd name="T45" fmla="*/ 908 h 1125"/>
                <a:gd name="T46" fmla="*/ 752 w 861"/>
                <a:gd name="T47" fmla="*/ 929 h 1125"/>
                <a:gd name="T48" fmla="*/ 711 w 861"/>
                <a:gd name="T49" fmla="*/ 950 h 1125"/>
                <a:gd name="T50" fmla="*/ 669 w 861"/>
                <a:gd name="T51" fmla="*/ 968 h 1125"/>
                <a:gd name="T52" fmla="*/ 625 w 861"/>
                <a:gd name="T53" fmla="*/ 987 h 1125"/>
                <a:gd name="T54" fmla="*/ 578 w 861"/>
                <a:gd name="T55" fmla="*/ 1006 h 1125"/>
                <a:gd name="T56" fmla="*/ 531 w 861"/>
                <a:gd name="T57" fmla="*/ 1023 h 1125"/>
                <a:gd name="T58" fmla="*/ 481 w 861"/>
                <a:gd name="T59" fmla="*/ 1038 h 1125"/>
                <a:gd name="T60" fmla="*/ 430 w 861"/>
                <a:gd name="T61" fmla="*/ 1054 h 1125"/>
                <a:gd name="T62" fmla="*/ 377 w 861"/>
                <a:gd name="T63" fmla="*/ 1068 h 1125"/>
                <a:gd name="T64" fmla="*/ 323 w 861"/>
                <a:gd name="T65" fmla="*/ 1082 h 1125"/>
                <a:gd name="T66" fmla="*/ 267 w 861"/>
                <a:gd name="T67" fmla="*/ 1094 h 1125"/>
                <a:gd name="T68" fmla="*/ 209 w 861"/>
                <a:gd name="T69" fmla="*/ 1105 h 1125"/>
                <a:gd name="T70" fmla="*/ 151 w 861"/>
                <a:gd name="T71" fmla="*/ 1115 h 1125"/>
                <a:gd name="T72" fmla="*/ 91 w 861"/>
                <a:gd name="T73" fmla="*/ 1125 h 1125"/>
                <a:gd name="T74" fmla="*/ 91 w 861"/>
                <a:gd name="T75" fmla="*/ 1125 h 1125"/>
                <a:gd name="T76" fmla="*/ 0 w 861"/>
                <a:gd name="T77" fmla="*/ 200 h 1125"/>
                <a:gd name="T78" fmla="*/ 0 w 861"/>
                <a:gd name="T79" fmla="*/ 200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1" h="1125">
                  <a:moveTo>
                    <a:pt x="0" y="200"/>
                  </a:moveTo>
                  <a:lnTo>
                    <a:pt x="0" y="200"/>
                  </a:lnTo>
                  <a:lnTo>
                    <a:pt x="47" y="194"/>
                  </a:lnTo>
                  <a:lnTo>
                    <a:pt x="93" y="186"/>
                  </a:lnTo>
                  <a:lnTo>
                    <a:pt x="139" y="178"/>
                  </a:lnTo>
                  <a:lnTo>
                    <a:pt x="182" y="168"/>
                  </a:lnTo>
                  <a:lnTo>
                    <a:pt x="225" y="158"/>
                  </a:lnTo>
                  <a:lnTo>
                    <a:pt x="267" y="146"/>
                  </a:lnTo>
                  <a:lnTo>
                    <a:pt x="307" y="135"/>
                  </a:lnTo>
                  <a:lnTo>
                    <a:pt x="347" y="122"/>
                  </a:lnTo>
                  <a:lnTo>
                    <a:pt x="384" y="109"/>
                  </a:lnTo>
                  <a:lnTo>
                    <a:pt x="420" y="95"/>
                  </a:lnTo>
                  <a:lnTo>
                    <a:pt x="456" y="81"/>
                  </a:lnTo>
                  <a:lnTo>
                    <a:pt x="490" y="66"/>
                  </a:lnTo>
                  <a:lnTo>
                    <a:pt x="522" y="50"/>
                  </a:lnTo>
                  <a:lnTo>
                    <a:pt x="553" y="34"/>
                  </a:lnTo>
                  <a:lnTo>
                    <a:pt x="583" y="17"/>
                  </a:lnTo>
                  <a:lnTo>
                    <a:pt x="610" y="0"/>
                  </a:lnTo>
                  <a:lnTo>
                    <a:pt x="610" y="0"/>
                  </a:lnTo>
                  <a:lnTo>
                    <a:pt x="861" y="863"/>
                  </a:lnTo>
                  <a:lnTo>
                    <a:pt x="861" y="863"/>
                  </a:lnTo>
                  <a:lnTo>
                    <a:pt x="827" y="886"/>
                  </a:lnTo>
                  <a:lnTo>
                    <a:pt x="791" y="908"/>
                  </a:lnTo>
                  <a:lnTo>
                    <a:pt x="752" y="929"/>
                  </a:lnTo>
                  <a:lnTo>
                    <a:pt x="711" y="950"/>
                  </a:lnTo>
                  <a:lnTo>
                    <a:pt x="669" y="968"/>
                  </a:lnTo>
                  <a:lnTo>
                    <a:pt x="625" y="987"/>
                  </a:lnTo>
                  <a:lnTo>
                    <a:pt x="578" y="1006"/>
                  </a:lnTo>
                  <a:lnTo>
                    <a:pt x="531" y="1023"/>
                  </a:lnTo>
                  <a:lnTo>
                    <a:pt x="481" y="1038"/>
                  </a:lnTo>
                  <a:lnTo>
                    <a:pt x="430" y="1054"/>
                  </a:lnTo>
                  <a:lnTo>
                    <a:pt x="377" y="1068"/>
                  </a:lnTo>
                  <a:lnTo>
                    <a:pt x="323" y="1082"/>
                  </a:lnTo>
                  <a:lnTo>
                    <a:pt x="267" y="1094"/>
                  </a:lnTo>
                  <a:lnTo>
                    <a:pt x="209" y="1105"/>
                  </a:lnTo>
                  <a:lnTo>
                    <a:pt x="151" y="1115"/>
                  </a:lnTo>
                  <a:lnTo>
                    <a:pt x="91" y="1125"/>
                  </a:lnTo>
                  <a:lnTo>
                    <a:pt x="91" y="1125"/>
                  </a:lnTo>
                  <a:lnTo>
                    <a:pt x="0" y="20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5" name="Freeform 70"/>
            <p:cNvSpPr>
              <a:spLocks/>
            </p:cNvSpPr>
            <p:nvPr/>
          </p:nvSpPr>
          <p:spPr bwMode="auto">
            <a:xfrm flipH="1">
              <a:off x="6843696" y="2626136"/>
              <a:ext cx="219315" cy="180588"/>
            </a:xfrm>
            <a:custGeom>
              <a:avLst/>
              <a:gdLst>
                <a:gd name="T0" fmla="*/ 939 w 1192"/>
                <a:gd name="T1" fmla="*/ 0 h 1258"/>
                <a:gd name="T2" fmla="*/ 939 w 1192"/>
                <a:gd name="T3" fmla="*/ 0 h 1258"/>
                <a:gd name="T4" fmla="*/ 1192 w 1192"/>
                <a:gd name="T5" fmla="*/ 869 h 1258"/>
                <a:gd name="T6" fmla="*/ 1192 w 1192"/>
                <a:gd name="T7" fmla="*/ 869 h 1258"/>
                <a:gd name="T8" fmla="*/ 1169 w 1192"/>
                <a:gd name="T9" fmla="*/ 887 h 1258"/>
                <a:gd name="T10" fmla="*/ 1145 w 1192"/>
                <a:gd name="T11" fmla="*/ 903 h 1258"/>
                <a:gd name="T12" fmla="*/ 1120 w 1192"/>
                <a:gd name="T13" fmla="*/ 919 h 1258"/>
                <a:gd name="T14" fmla="*/ 1094 w 1192"/>
                <a:gd name="T15" fmla="*/ 936 h 1258"/>
                <a:gd name="T16" fmla="*/ 1067 w 1192"/>
                <a:gd name="T17" fmla="*/ 951 h 1258"/>
                <a:gd name="T18" fmla="*/ 1040 w 1192"/>
                <a:gd name="T19" fmla="*/ 967 h 1258"/>
                <a:gd name="T20" fmla="*/ 983 w 1192"/>
                <a:gd name="T21" fmla="*/ 997 h 1258"/>
                <a:gd name="T22" fmla="*/ 923 w 1192"/>
                <a:gd name="T23" fmla="*/ 1026 h 1258"/>
                <a:gd name="T24" fmla="*/ 860 w 1192"/>
                <a:gd name="T25" fmla="*/ 1053 h 1258"/>
                <a:gd name="T26" fmla="*/ 794 w 1192"/>
                <a:gd name="T27" fmla="*/ 1081 h 1258"/>
                <a:gd name="T28" fmla="*/ 725 w 1192"/>
                <a:gd name="T29" fmla="*/ 1106 h 1258"/>
                <a:gd name="T30" fmla="*/ 654 w 1192"/>
                <a:gd name="T31" fmla="*/ 1129 h 1258"/>
                <a:gd name="T32" fmla="*/ 581 w 1192"/>
                <a:gd name="T33" fmla="*/ 1152 h 1258"/>
                <a:gd name="T34" fmla="*/ 505 w 1192"/>
                <a:gd name="T35" fmla="*/ 1174 h 1258"/>
                <a:gd name="T36" fmla="*/ 426 w 1192"/>
                <a:gd name="T37" fmla="*/ 1194 h 1258"/>
                <a:gd name="T38" fmla="*/ 346 w 1192"/>
                <a:gd name="T39" fmla="*/ 1212 h 1258"/>
                <a:gd name="T40" fmla="*/ 263 w 1192"/>
                <a:gd name="T41" fmla="*/ 1228 h 1258"/>
                <a:gd name="T42" fmla="*/ 177 w 1192"/>
                <a:gd name="T43" fmla="*/ 1244 h 1258"/>
                <a:gd name="T44" fmla="*/ 91 w 1192"/>
                <a:gd name="T45" fmla="*/ 1258 h 1258"/>
                <a:gd name="T46" fmla="*/ 91 w 1192"/>
                <a:gd name="T47" fmla="*/ 1258 h 1258"/>
                <a:gd name="T48" fmla="*/ 0 w 1192"/>
                <a:gd name="T49" fmla="*/ 329 h 1258"/>
                <a:gd name="T50" fmla="*/ 0 w 1192"/>
                <a:gd name="T51" fmla="*/ 329 h 1258"/>
                <a:gd name="T52" fmla="*/ 73 w 1192"/>
                <a:gd name="T53" fmla="*/ 318 h 1258"/>
                <a:gd name="T54" fmla="*/ 146 w 1192"/>
                <a:gd name="T55" fmla="*/ 305 h 1258"/>
                <a:gd name="T56" fmla="*/ 216 w 1192"/>
                <a:gd name="T57" fmla="*/ 291 h 1258"/>
                <a:gd name="T58" fmla="*/ 284 w 1192"/>
                <a:gd name="T59" fmla="*/ 275 h 1258"/>
                <a:gd name="T60" fmla="*/ 352 w 1192"/>
                <a:gd name="T61" fmla="*/ 258 h 1258"/>
                <a:gd name="T62" fmla="*/ 416 w 1192"/>
                <a:gd name="T63" fmla="*/ 241 h 1258"/>
                <a:gd name="T64" fmla="*/ 480 w 1192"/>
                <a:gd name="T65" fmla="*/ 221 h 1258"/>
                <a:gd name="T66" fmla="*/ 540 w 1192"/>
                <a:gd name="T67" fmla="*/ 200 h 1258"/>
                <a:gd name="T68" fmla="*/ 598 w 1192"/>
                <a:gd name="T69" fmla="*/ 179 h 1258"/>
                <a:gd name="T70" fmla="*/ 654 w 1192"/>
                <a:gd name="T71" fmla="*/ 156 h 1258"/>
                <a:gd name="T72" fmla="*/ 709 w 1192"/>
                <a:gd name="T73" fmla="*/ 132 h 1258"/>
                <a:gd name="T74" fmla="*/ 761 w 1192"/>
                <a:gd name="T75" fmla="*/ 108 h 1258"/>
                <a:gd name="T76" fmla="*/ 809 w 1192"/>
                <a:gd name="T77" fmla="*/ 82 h 1258"/>
                <a:gd name="T78" fmla="*/ 855 w 1192"/>
                <a:gd name="T79" fmla="*/ 56 h 1258"/>
                <a:gd name="T80" fmla="*/ 899 w 1192"/>
                <a:gd name="T81" fmla="*/ 28 h 1258"/>
                <a:gd name="T82" fmla="*/ 939 w 1192"/>
                <a:gd name="T83" fmla="*/ 0 h 1258"/>
                <a:gd name="T84" fmla="*/ 939 w 1192"/>
                <a:gd name="T85" fmla="*/ 0 h 1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92" h="1258">
                  <a:moveTo>
                    <a:pt x="939" y="0"/>
                  </a:moveTo>
                  <a:lnTo>
                    <a:pt x="939" y="0"/>
                  </a:lnTo>
                  <a:lnTo>
                    <a:pt x="1192" y="869"/>
                  </a:lnTo>
                  <a:lnTo>
                    <a:pt x="1192" y="869"/>
                  </a:lnTo>
                  <a:lnTo>
                    <a:pt x="1169" y="887"/>
                  </a:lnTo>
                  <a:lnTo>
                    <a:pt x="1145" y="903"/>
                  </a:lnTo>
                  <a:lnTo>
                    <a:pt x="1120" y="919"/>
                  </a:lnTo>
                  <a:lnTo>
                    <a:pt x="1094" y="936"/>
                  </a:lnTo>
                  <a:lnTo>
                    <a:pt x="1067" y="951"/>
                  </a:lnTo>
                  <a:lnTo>
                    <a:pt x="1040" y="967"/>
                  </a:lnTo>
                  <a:lnTo>
                    <a:pt x="983" y="997"/>
                  </a:lnTo>
                  <a:lnTo>
                    <a:pt x="923" y="1026"/>
                  </a:lnTo>
                  <a:lnTo>
                    <a:pt x="860" y="1053"/>
                  </a:lnTo>
                  <a:lnTo>
                    <a:pt x="794" y="1081"/>
                  </a:lnTo>
                  <a:lnTo>
                    <a:pt x="725" y="1106"/>
                  </a:lnTo>
                  <a:lnTo>
                    <a:pt x="654" y="1129"/>
                  </a:lnTo>
                  <a:lnTo>
                    <a:pt x="581" y="1152"/>
                  </a:lnTo>
                  <a:lnTo>
                    <a:pt x="505" y="1174"/>
                  </a:lnTo>
                  <a:lnTo>
                    <a:pt x="426" y="1194"/>
                  </a:lnTo>
                  <a:lnTo>
                    <a:pt x="346" y="1212"/>
                  </a:lnTo>
                  <a:lnTo>
                    <a:pt x="263" y="1228"/>
                  </a:lnTo>
                  <a:lnTo>
                    <a:pt x="177" y="1244"/>
                  </a:lnTo>
                  <a:lnTo>
                    <a:pt x="91" y="1258"/>
                  </a:lnTo>
                  <a:lnTo>
                    <a:pt x="91" y="1258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73" y="318"/>
                  </a:lnTo>
                  <a:lnTo>
                    <a:pt x="146" y="305"/>
                  </a:lnTo>
                  <a:lnTo>
                    <a:pt x="216" y="291"/>
                  </a:lnTo>
                  <a:lnTo>
                    <a:pt x="284" y="275"/>
                  </a:lnTo>
                  <a:lnTo>
                    <a:pt x="352" y="258"/>
                  </a:lnTo>
                  <a:lnTo>
                    <a:pt x="416" y="241"/>
                  </a:lnTo>
                  <a:lnTo>
                    <a:pt x="480" y="221"/>
                  </a:lnTo>
                  <a:lnTo>
                    <a:pt x="540" y="200"/>
                  </a:lnTo>
                  <a:lnTo>
                    <a:pt x="598" y="179"/>
                  </a:lnTo>
                  <a:lnTo>
                    <a:pt x="654" y="156"/>
                  </a:lnTo>
                  <a:lnTo>
                    <a:pt x="709" y="132"/>
                  </a:lnTo>
                  <a:lnTo>
                    <a:pt x="761" y="108"/>
                  </a:lnTo>
                  <a:lnTo>
                    <a:pt x="809" y="82"/>
                  </a:lnTo>
                  <a:lnTo>
                    <a:pt x="855" y="56"/>
                  </a:lnTo>
                  <a:lnTo>
                    <a:pt x="899" y="28"/>
                  </a:lnTo>
                  <a:lnTo>
                    <a:pt x="939" y="0"/>
                  </a:lnTo>
                  <a:lnTo>
                    <a:pt x="939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6" name="Freeform 71"/>
            <p:cNvSpPr>
              <a:spLocks/>
            </p:cNvSpPr>
            <p:nvPr/>
          </p:nvSpPr>
          <p:spPr bwMode="auto">
            <a:xfrm flipH="1">
              <a:off x="6890140" y="2494565"/>
              <a:ext cx="190933" cy="178009"/>
            </a:xfrm>
            <a:custGeom>
              <a:avLst/>
              <a:gdLst>
                <a:gd name="T0" fmla="*/ 0 w 1036"/>
                <a:gd name="T1" fmla="*/ 262 h 1245"/>
                <a:gd name="T2" fmla="*/ 0 w 1036"/>
                <a:gd name="T3" fmla="*/ 262 h 1245"/>
                <a:gd name="T4" fmla="*/ 60 w 1036"/>
                <a:gd name="T5" fmla="*/ 252 h 1245"/>
                <a:gd name="T6" fmla="*/ 118 w 1036"/>
                <a:gd name="T7" fmla="*/ 242 h 1245"/>
                <a:gd name="T8" fmla="*/ 176 w 1036"/>
                <a:gd name="T9" fmla="*/ 231 h 1245"/>
                <a:gd name="T10" fmla="*/ 232 w 1036"/>
                <a:gd name="T11" fmla="*/ 219 h 1245"/>
                <a:gd name="T12" fmla="*/ 286 w 1036"/>
                <a:gd name="T13" fmla="*/ 205 h 1245"/>
                <a:gd name="T14" fmla="*/ 339 w 1036"/>
                <a:gd name="T15" fmla="*/ 191 h 1245"/>
                <a:gd name="T16" fmla="*/ 390 w 1036"/>
                <a:gd name="T17" fmla="*/ 175 h 1245"/>
                <a:gd name="T18" fmla="*/ 440 w 1036"/>
                <a:gd name="T19" fmla="*/ 160 h 1245"/>
                <a:gd name="T20" fmla="*/ 487 w 1036"/>
                <a:gd name="T21" fmla="*/ 143 h 1245"/>
                <a:gd name="T22" fmla="*/ 534 w 1036"/>
                <a:gd name="T23" fmla="*/ 124 h 1245"/>
                <a:gd name="T24" fmla="*/ 578 w 1036"/>
                <a:gd name="T25" fmla="*/ 105 h 1245"/>
                <a:gd name="T26" fmla="*/ 620 w 1036"/>
                <a:gd name="T27" fmla="*/ 87 h 1245"/>
                <a:gd name="T28" fmla="*/ 661 w 1036"/>
                <a:gd name="T29" fmla="*/ 66 h 1245"/>
                <a:gd name="T30" fmla="*/ 700 w 1036"/>
                <a:gd name="T31" fmla="*/ 45 h 1245"/>
                <a:gd name="T32" fmla="*/ 736 w 1036"/>
                <a:gd name="T33" fmla="*/ 23 h 1245"/>
                <a:gd name="T34" fmla="*/ 770 w 1036"/>
                <a:gd name="T35" fmla="*/ 0 h 1245"/>
                <a:gd name="T36" fmla="*/ 770 w 1036"/>
                <a:gd name="T37" fmla="*/ 0 h 1245"/>
                <a:gd name="T38" fmla="*/ 1036 w 1036"/>
                <a:gd name="T39" fmla="*/ 916 h 1245"/>
                <a:gd name="T40" fmla="*/ 1036 w 1036"/>
                <a:gd name="T41" fmla="*/ 916 h 1245"/>
                <a:gd name="T42" fmla="*/ 996 w 1036"/>
                <a:gd name="T43" fmla="*/ 944 h 1245"/>
                <a:gd name="T44" fmla="*/ 952 w 1036"/>
                <a:gd name="T45" fmla="*/ 972 h 1245"/>
                <a:gd name="T46" fmla="*/ 906 w 1036"/>
                <a:gd name="T47" fmla="*/ 998 h 1245"/>
                <a:gd name="T48" fmla="*/ 858 w 1036"/>
                <a:gd name="T49" fmla="*/ 1024 h 1245"/>
                <a:gd name="T50" fmla="*/ 806 w 1036"/>
                <a:gd name="T51" fmla="*/ 1048 h 1245"/>
                <a:gd name="T52" fmla="*/ 751 w 1036"/>
                <a:gd name="T53" fmla="*/ 1072 h 1245"/>
                <a:gd name="T54" fmla="*/ 695 w 1036"/>
                <a:gd name="T55" fmla="*/ 1095 h 1245"/>
                <a:gd name="T56" fmla="*/ 637 w 1036"/>
                <a:gd name="T57" fmla="*/ 1116 h 1245"/>
                <a:gd name="T58" fmla="*/ 577 w 1036"/>
                <a:gd name="T59" fmla="*/ 1137 h 1245"/>
                <a:gd name="T60" fmla="*/ 513 w 1036"/>
                <a:gd name="T61" fmla="*/ 1157 h 1245"/>
                <a:gd name="T62" fmla="*/ 449 w 1036"/>
                <a:gd name="T63" fmla="*/ 1174 h 1245"/>
                <a:gd name="T64" fmla="*/ 381 w 1036"/>
                <a:gd name="T65" fmla="*/ 1191 h 1245"/>
                <a:gd name="T66" fmla="*/ 313 w 1036"/>
                <a:gd name="T67" fmla="*/ 1207 h 1245"/>
                <a:gd name="T68" fmla="*/ 243 w 1036"/>
                <a:gd name="T69" fmla="*/ 1221 h 1245"/>
                <a:gd name="T70" fmla="*/ 170 w 1036"/>
                <a:gd name="T71" fmla="*/ 1234 h 1245"/>
                <a:gd name="T72" fmla="*/ 97 w 1036"/>
                <a:gd name="T73" fmla="*/ 1245 h 1245"/>
                <a:gd name="T74" fmla="*/ 97 w 1036"/>
                <a:gd name="T75" fmla="*/ 1245 h 1245"/>
                <a:gd name="T76" fmla="*/ 0 w 1036"/>
                <a:gd name="T77" fmla="*/ 262 h 1245"/>
                <a:gd name="T78" fmla="*/ 0 w 1036"/>
                <a:gd name="T79" fmla="*/ 26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36" h="1245">
                  <a:moveTo>
                    <a:pt x="0" y="262"/>
                  </a:moveTo>
                  <a:lnTo>
                    <a:pt x="0" y="262"/>
                  </a:lnTo>
                  <a:lnTo>
                    <a:pt x="60" y="252"/>
                  </a:lnTo>
                  <a:lnTo>
                    <a:pt x="118" y="242"/>
                  </a:lnTo>
                  <a:lnTo>
                    <a:pt x="176" y="231"/>
                  </a:lnTo>
                  <a:lnTo>
                    <a:pt x="232" y="219"/>
                  </a:lnTo>
                  <a:lnTo>
                    <a:pt x="286" y="205"/>
                  </a:lnTo>
                  <a:lnTo>
                    <a:pt x="339" y="191"/>
                  </a:lnTo>
                  <a:lnTo>
                    <a:pt x="390" y="175"/>
                  </a:lnTo>
                  <a:lnTo>
                    <a:pt x="440" y="160"/>
                  </a:lnTo>
                  <a:lnTo>
                    <a:pt x="487" y="143"/>
                  </a:lnTo>
                  <a:lnTo>
                    <a:pt x="534" y="124"/>
                  </a:lnTo>
                  <a:lnTo>
                    <a:pt x="578" y="105"/>
                  </a:lnTo>
                  <a:lnTo>
                    <a:pt x="620" y="87"/>
                  </a:lnTo>
                  <a:lnTo>
                    <a:pt x="661" y="66"/>
                  </a:lnTo>
                  <a:lnTo>
                    <a:pt x="700" y="45"/>
                  </a:lnTo>
                  <a:lnTo>
                    <a:pt x="736" y="23"/>
                  </a:lnTo>
                  <a:lnTo>
                    <a:pt x="770" y="0"/>
                  </a:lnTo>
                  <a:lnTo>
                    <a:pt x="770" y="0"/>
                  </a:lnTo>
                  <a:lnTo>
                    <a:pt x="1036" y="916"/>
                  </a:lnTo>
                  <a:lnTo>
                    <a:pt x="1036" y="916"/>
                  </a:lnTo>
                  <a:lnTo>
                    <a:pt x="996" y="944"/>
                  </a:lnTo>
                  <a:lnTo>
                    <a:pt x="952" y="972"/>
                  </a:lnTo>
                  <a:lnTo>
                    <a:pt x="906" y="998"/>
                  </a:lnTo>
                  <a:lnTo>
                    <a:pt x="858" y="1024"/>
                  </a:lnTo>
                  <a:lnTo>
                    <a:pt x="806" y="1048"/>
                  </a:lnTo>
                  <a:lnTo>
                    <a:pt x="751" y="1072"/>
                  </a:lnTo>
                  <a:lnTo>
                    <a:pt x="695" y="1095"/>
                  </a:lnTo>
                  <a:lnTo>
                    <a:pt x="637" y="1116"/>
                  </a:lnTo>
                  <a:lnTo>
                    <a:pt x="577" y="1137"/>
                  </a:lnTo>
                  <a:lnTo>
                    <a:pt x="513" y="1157"/>
                  </a:lnTo>
                  <a:lnTo>
                    <a:pt x="449" y="1174"/>
                  </a:lnTo>
                  <a:lnTo>
                    <a:pt x="381" y="1191"/>
                  </a:lnTo>
                  <a:lnTo>
                    <a:pt x="313" y="1207"/>
                  </a:lnTo>
                  <a:lnTo>
                    <a:pt x="243" y="1221"/>
                  </a:lnTo>
                  <a:lnTo>
                    <a:pt x="170" y="1234"/>
                  </a:lnTo>
                  <a:lnTo>
                    <a:pt x="97" y="1245"/>
                  </a:lnTo>
                  <a:lnTo>
                    <a:pt x="97" y="1245"/>
                  </a:lnTo>
                  <a:lnTo>
                    <a:pt x="0" y="262"/>
                  </a:lnTo>
                  <a:lnTo>
                    <a:pt x="0" y="26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7" name="Freeform 72"/>
            <p:cNvSpPr>
              <a:spLocks/>
            </p:cNvSpPr>
            <p:nvPr/>
          </p:nvSpPr>
          <p:spPr bwMode="auto">
            <a:xfrm flipH="1">
              <a:off x="6985606" y="2240451"/>
              <a:ext cx="130299" cy="158660"/>
            </a:xfrm>
            <a:custGeom>
              <a:avLst/>
              <a:gdLst>
                <a:gd name="T0" fmla="*/ 0 w 706"/>
                <a:gd name="T1" fmla="*/ 117 h 1110"/>
                <a:gd name="T2" fmla="*/ 0 w 706"/>
                <a:gd name="T3" fmla="*/ 117 h 1110"/>
                <a:gd name="T4" fmla="*/ 63 w 706"/>
                <a:gd name="T5" fmla="*/ 108 h 1110"/>
                <a:gd name="T6" fmla="*/ 124 w 706"/>
                <a:gd name="T7" fmla="*/ 98 h 1110"/>
                <a:gd name="T8" fmla="*/ 184 w 706"/>
                <a:gd name="T9" fmla="*/ 85 h 1110"/>
                <a:gd name="T10" fmla="*/ 241 w 706"/>
                <a:gd name="T11" fmla="*/ 71 h 1110"/>
                <a:gd name="T12" fmla="*/ 295 w 706"/>
                <a:gd name="T13" fmla="*/ 55 h 1110"/>
                <a:gd name="T14" fmla="*/ 347 w 706"/>
                <a:gd name="T15" fmla="*/ 38 h 1110"/>
                <a:gd name="T16" fmla="*/ 396 w 706"/>
                <a:gd name="T17" fmla="*/ 20 h 1110"/>
                <a:gd name="T18" fmla="*/ 442 w 706"/>
                <a:gd name="T19" fmla="*/ 0 h 1110"/>
                <a:gd name="T20" fmla="*/ 442 w 706"/>
                <a:gd name="T21" fmla="*/ 0 h 1110"/>
                <a:gd name="T22" fmla="*/ 706 w 706"/>
                <a:gd name="T23" fmla="*/ 910 h 1110"/>
                <a:gd name="T24" fmla="*/ 706 w 706"/>
                <a:gd name="T25" fmla="*/ 910 h 1110"/>
                <a:gd name="T26" fmla="*/ 679 w 706"/>
                <a:gd name="T27" fmla="*/ 927 h 1110"/>
                <a:gd name="T28" fmla="*/ 649 w 706"/>
                <a:gd name="T29" fmla="*/ 944 h 1110"/>
                <a:gd name="T30" fmla="*/ 618 w 706"/>
                <a:gd name="T31" fmla="*/ 960 h 1110"/>
                <a:gd name="T32" fmla="*/ 586 w 706"/>
                <a:gd name="T33" fmla="*/ 976 h 1110"/>
                <a:gd name="T34" fmla="*/ 552 w 706"/>
                <a:gd name="T35" fmla="*/ 991 h 1110"/>
                <a:gd name="T36" fmla="*/ 516 w 706"/>
                <a:gd name="T37" fmla="*/ 1005 h 1110"/>
                <a:gd name="T38" fmla="*/ 480 w 706"/>
                <a:gd name="T39" fmla="*/ 1019 h 1110"/>
                <a:gd name="T40" fmla="*/ 443 w 706"/>
                <a:gd name="T41" fmla="*/ 1032 h 1110"/>
                <a:gd name="T42" fmla="*/ 403 w 706"/>
                <a:gd name="T43" fmla="*/ 1045 h 1110"/>
                <a:gd name="T44" fmla="*/ 363 w 706"/>
                <a:gd name="T45" fmla="*/ 1056 h 1110"/>
                <a:gd name="T46" fmla="*/ 321 w 706"/>
                <a:gd name="T47" fmla="*/ 1068 h 1110"/>
                <a:gd name="T48" fmla="*/ 278 w 706"/>
                <a:gd name="T49" fmla="*/ 1078 h 1110"/>
                <a:gd name="T50" fmla="*/ 235 w 706"/>
                <a:gd name="T51" fmla="*/ 1088 h 1110"/>
                <a:gd name="T52" fmla="*/ 189 w 706"/>
                <a:gd name="T53" fmla="*/ 1096 h 1110"/>
                <a:gd name="T54" fmla="*/ 143 w 706"/>
                <a:gd name="T55" fmla="*/ 1104 h 1110"/>
                <a:gd name="T56" fmla="*/ 96 w 706"/>
                <a:gd name="T57" fmla="*/ 1110 h 1110"/>
                <a:gd name="T58" fmla="*/ 96 w 706"/>
                <a:gd name="T59" fmla="*/ 1110 h 1110"/>
                <a:gd name="T60" fmla="*/ 0 w 706"/>
                <a:gd name="T61" fmla="*/ 117 h 1110"/>
                <a:gd name="T62" fmla="*/ 0 w 706"/>
                <a:gd name="T63" fmla="*/ 117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06" h="1110">
                  <a:moveTo>
                    <a:pt x="0" y="117"/>
                  </a:moveTo>
                  <a:lnTo>
                    <a:pt x="0" y="117"/>
                  </a:lnTo>
                  <a:lnTo>
                    <a:pt x="63" y="108"/>
                  </a:lnTo>
                  <a:lnTo>
                    <a:pt x="124" y="98"/>
                  </a:lnTo>
                  <a:lnTo>
                    <a:pt x="184" y="85"/>
                  </a:lnTo>
                  <a:lnTo>
                    <a:pt x="241" y="71"/>
                  </a:lnTo>
                  <a:lnTo>
                    <a:pt x="295" y="55"/>
                  </a:lnTo>
                  <a:lnTo>
                    <a:pt x="347" y="38"/>
                  </a:lnTo>
                  <a:lnTo>
                    <a:pt x="396" y="20"/>
                  </a:lnTo>
                  <a:lnTo>
                    <a:pt x="442" y="0"/>
                  </a:lnTo>
                  <a:lnTo>
                    <a:pt x="442" y="0"/>
                  </a:lnTo>
                  <a:lnTo>
                    <a:pt x="706" y="910"/>
                  </a:lnTo>
                  <a:lnTo>
                    <a:pt x="706" y="910"/>
                  </a:lnTo>
                  <a:lnTo>
                    <a:pt x="679" y="927"/>
                  </a:lnTo>
                  <a:lnTo>
                    <a:pt x="649" y="944"/>
                  </a:lnTo>
                  <a:lnTo>
                    <a:pt x="618" y="960"/>
                  </a:lnTo>
                  <a:lnTo>
                    <a:pt x="586" y="976"/>
                  </a:lnTo>
                  <a:lnTo>
                    <a:pt x="552" y="991"/>
                  </a:lnTo>
                  <a:lnTo>
                    <a:pt x="516" y="1005"/>
                  </a:lnTo>
                  <a:lnTo>
                    <a:pt x="480" y="1019"/>
                  </a:lnTo>
                  <a:lnTo>
                    <a:pt x="443" y="1032"/>
                  </a:lnTo>
                  <a:lnTo>
                    <a:pt x="403" y="1045"/>
                  </a:lnTo>
                  <a:lnTo>
                    <a:pt x="363" y="1056"/>
                  </a:lnTo>
                  <a:lnTo>
                    <a:pt x="321" y="1068"/>
                  </a:lnTo>
                  <a:lnTo>
                    <a:pt x="278" y="1078"/>
                  </a:lnTo>
                  <a:lnTo>
                    <a:pt x="235" y="1088"/>
                  </a:lnTo>
                  <a:lnTo>
                    <a:pt x="189" y="1096"/>
                  </a:lnTo>
                  <a:lnTo>
                    <a:pt x="143" y="1104"/>
                  </a:lnTo>
                  <a:lnTo>
                    <a:pt x="96" y="1110"/>
                  </a:lnTo>
                  <a:lnTo>
                    <a:pt x="96" y="1110"/>
                  </a:lnTo>
                  <a:lnTo>
                    <a:pt x="0" y="11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8" name="Freeform 73"/>
            <p:cNvSpPr>
              <a:spLocks/>
            </p:cNvSpPr>
            <p:nvPr/>
          </p:nvSpPr>
          <p:spPr bwMode="auto">
            <a:xfrm flipH="1">
              <a:off x="7474550" y="2903468"/>
              <a:ext cx="15481" cy="5160"/>
            </a:xfrm>
            <a:custGeom>
              <a:avLst/>
              <a:gdLst>
                <a:gd name="T0" fmla="*/ 0 w 85"/>
                <a:gd name="T1" fmla="*/ 1 h 38"/>
                <a:gd name="T2" fmla="*/ 1 w 85"/>
                <a:gd name="T3" fmla="*/ 0 h 38"/>
                <a:gd name="T4" fmla="*/ 1 w 85"/>
                <a:gd name="T5" fmla="*/ 0 h 38"/>
                <a:gd name="T6" fmla="*/ 43 w 85"/>
                <a:gd name="T7" fmla="*/ 18 h 38"/>
                <a:gd name="T8" fmla="*/ 85 w 85"/>
                <a:gd name="T9" fmla="*/ 35 h 38"/>
                <a:gd name="T10" fmla="*/ 84 w 85"/>
                <a:gd name="T11" fmla="*/ 38 h 38"/>
                <a:gd name="T12" fmla="*/ 84 w 85"/>
                <a:gd name="T13" fmla="*/ 38 h 38"/>
                <a:gd name="T14" fmla="*/ 42 w 85"/>
                <a:gd name="T15" fmla="*/ 21 h 38"/>
                <a:gd name="T16" fmla="*/ 0 w 85"/>
                <a:gd name="T17" fmla="*/ 2 h 38"/>
                <a:gd name="T18" fmla="*/ 1 w 85"/>
                <a:gd name="T19" fmla="*/ 0 h 38"/>
                <a:gd name="T20" fmla="*/ 0 w 85"/>
                <a:gd name="T21" fmla="*/ 1 h 38"/>
                <a:gd name="T22" fmla="*/ 1 w 85"/>
                <a:gd name="T23" fmla="*/ 0 h 38"/>
                <a:gd name="T24" fmla="*/ 1 w 85"/>
                <a:gd name="T25" fmla="*/ 0 h 38"/>
                <a:gd name="T26" fmla="*/ 43 w 85"/>
                <a:gd name="T27" fmla="*/ 19 h 38"/>
                <a:gd name="T28" fmla="*/ 85 w 85"/>
                <a:gd name="T29" fmla="*/ 35 h 38"/>
                <a:gd name="T30" fmla="*/ 84 w 85"/>
                <a:gd name="T31" fmla="*/ 36 h 38"/>
                <a:gd name="T32" fmla="*/ 84 w 85"/>
                <a:gd name="T33" fmla="*/ 38 h 38"/>
                <a:gd name="T34" fmla="*/ 84 w 85"/>
                <a:gd name="T35" fmla="*/ 38 h 38"/>
                <a:gd name="T36" fmla="*/ 42 w 85"/>
                <a:gd name="T37" fmla="*/ 20 h 38"/>
                <a:gd name="T38" fmla="*/ 0 w 85"/>
                <a:gd name="T39" fmla="*/ 2 h 38"/>
                <a:gd name="T40" fmla="*/ 0 w 85"/>
                <a:gd name="T41" fmla="*/ 1 h 38"/>
                <a:gd name="T42" fmla="*/ 1 w 85"/>
                <a:gd name="T43" fmla="*/ 0 h 38"/>
                <a:gd name="T44" fmla="*/ 0 w 85"/>
                <a:gd name="T45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38">
                  <a:moveTo>
                    <a:pt x="0" y="1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43" y="18"/>
                  </a:lnTo>
                  <a:lnTo>
                    <a:pt x="85" y="35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42" y="21"/>
                  </a:lnTo>
                  <a:lnTo>
                    <a:pt x="0" y="2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43" y="19"/>
                  </a:lnTo>
                  <a:lnTo>
                    <a:pt x="85" y="35"/>
                  </a:lnTo>
                  <a:lnTo>
                    <a:pt x="84" y="36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42" y="20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79" name="Freeform 74"/>
            <p:cNvSpPr>
              <a:spLocks/>
            </p:cNvSpPr>
            <p:nvPr/>
          </p:nvSpPr>
          <p:spPr bwMode="auto">
            <a:xfrm flipH="1">
              <a:off x="7533895" y="2885409"/>
              <a:ext cx="0" cy="1290"/>
            </a:xfrm>
            <a:custGeom>
              <a:avLst/>
              <a:gdLst>
                <a:gd name="T0" fmla="*/ 1 w 2"/>
                <a:gd name="T1" fmla="*/ 2 h 4"/>
                <a:gd name="T2" fmla="*/ 0 w 2"/>
                <a:gd name="T3" fmla="*/ 2 h 4"/>
                <a:gd name="T4" fmla="*/ 0 w 2"/>
                <a:gd name="T5" fmla="*/ 2 h 4"/>
                <a:gd name="T6" fmla="*/ 0 w 2"/>
                <a:gd name="T7" fmla="*/ 0 h 4"/>
                <a:gd name="T8" fmla="*/ 2 w 2"/>
                <a:gd name="T9" fmla="*/ 1 h 4"/>
                <a:gd name="T10" fmla="*/ 1 w 2"/>
                <a:gd name="T11" fmla="*/ 4 h 4"/>
                <a:gd name="T12" fmla="*/ 1 w 2"/>
                <a:gd name="T13" fmla="*/ 4 h 4"/>
                <a:gd name="T14" fmla="*/ 0 w 2"/>
                <a:gd name="T15" fmla="*/ 3 h 4"/>
                <a:gd name="T16" fmla="*/ 0 w 2"/>
                <a:gd name="T17" fmla="*/ 2 h 4"/>
                <a:gd name="T18" fmla="*/ 1 w 2"/>
                <a:gd name="T19" fmla="*/ 2 h 4"/>
                <a:gd name="T20" fmla="*/ 2 w 2"/>
                <a:gd name="T21" fmla="*/ 1 h 4"/>
                <a:gd name="T22" fmla="*/ 2 w 2"/>
                <a:gd name="T23" fmla="*/ 1 h 4"/>
                <a:gd name="T24" fmla="*/ 1 w 2"/>
                <a:gd name="T25" fmla="*/ 3 h 4"/>
                <a:gd name="T26" fmla="*/ 1 w 2"/>
                <a:gd name="T27" fmla="*/ 4 h 4"/>
                <a:gd name="T28" fmla="*/ 0 w 2"/>
                <a:gd name="T29" fmla="*/ 4 h 4"/>
                <a:gd name="T30" fmla="*/ 1 w 2"/>
                <a:gd name="T31" fmla="*/ 2 h 4"/>
                <a:gd name="T32" fmla="*/ 2 w 2"/>
                <a:gd name="T33" fmla="*/ 2 h 4"/>
                <a:gd name="T34" fmla="*/ 2 w 2"/>
                <a:gd name="T35" fmla="*/ 2 h 4"/>
                <a:gd name="T36" fmla="*/ 1 w 2"/>
                <a:gd name="T37" fmla="*/ 2 h 4"/>
                <a:gd name="T38" fmla="*/ 2 w 2"/>
                <a:gd name="T39" fmla="*/ 1 h 4"/>
                <a:gd name="T40" fmla="*/ 1 w 2"/>
                <a:gd name="T4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" h="4">
                  <a:moveTo>
                    <a:pt x="1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0" name="Freeform 75"/>
            <p:cNvSpPr>
              <a:spLocks/>
            </p:cNvSpPr>
            <p:nvPr/>
          </p:nvSpPr>
          <p:spPr bwMode="auto">
            <a:xfrm flipH="1">
              <a:off x="7064301" y="2021165"/>
              <a:ext cx="202544" cy="101904"/>
            </a:xfrm>
            <a:custGeom>
              <a:avLst/>
              <a:gdLst>
                <a:gd name="T0" fmla="*/ 955 w 1095"/>
                <a:gd name="T1" fmla="*/ 464 h 713"/>
                <a:gd name="T2" fmla="*/ 942 w 1095"/>
                <a:gd name="T3" fmla="*/ 423 h 713"/>
                <a:gd name="T4" fmla="*/ 915 w 1095"/>
                <a:gd name="T5" fmla="*/ 375 h 713"/>
                <a:gd name="T6" fmla="*/ 881 w 1095"/>
                <a:gd name="T7" fmla="*/ 344 h 713"/>
                <a:gd name="T8" fmla="*/ 840 w 1095"/>
                <a:gd name="T9" fmla="*/ 327 h 713"/>
                <a:gd name="T10" fmla="*/ 797 w 1095"/>
                <a:gd name="T11" fmla="*/ 325 h 713"/>
                <a:gd name="T12" fmla="*/ 767 w 1095"/>
                <a:gd name="T13" fmla="*/ 332 h 713"/>
                <a:gd name="T14" fmla="*/ 746 w 1095"/>
                <a:gd name="T15" fmla="*/ 342 h 713"/>
                <a:gd name="T16" fmla="*/ 731 w 1095"/>
                <a:gd name="T17" fmla="*/ 358 h 713"/>
                <a:gd name="T18" fmla="*/ 718 w 1095"/>
                <a:gd name="T19" fmla="*/ 386 h 713"/>
                <a:gd name="T20" fmla="*/ 709 w 1095"/>
                <a:gd name="T21" fmla="*/ 438 h 713"/>
                <a:gd name="T22" fmla="*/ 713 w 1095"/>
                <a:gd name="T23" fmla="*/ 519 h 713"/>
                <a:gd name="T24" fmla="*/ 719 w 1095"/>
                <a:gd name="T25" fmla="*/ 600 h 713"/>
                <a:gd name="T26" fmla="*/ 687 w 1095"/>
                <a:gd name="T27" fmla="*/ 706 h 713"/>
                <a:gd name="T28" fmla="*/ 552 w 1095"/>
                <a:gd name="T29" fmla="*/ 713 h 713"/>
                <a:gd name="T30" fmla="*/ 458 w 1095"/>
                <a:gd name="T31" fmla="*/ 709 h 713"/>
                <a:gd name="T32" fmla="*/ 325 w 1095"/>
                <a:gd name="T33" fmla="*/ 692 h 713"/>
                <a:gd name="T34" fmla="*/ 207 w 1095"/>
                <a:gd name="T35" fmla="*/ 663 h 713"/>
                <a:gd name="T36" fmla="*/ 109 w 1095"/>
                <a:gd name="T37" fmla="*/ 623 h 713"/>
                <a:gd name="T38" fmla="*/ 35 w 1095"/>
                <a:gd name="T39" fmla="*/ 575 h 713"/>
                <a:gd name="T40" fmla="*/ 8 w 1095"/>
                <a:gd name="T41" fmla="*/ 548 h 713"/>
                <a:gd name="T42" fmla="*/ 44 w 1095"/>
                <a:gd name="T43" fmla="*/ 416 h 713"/>
                <a:gd name="T44" fmla="*/ 72 w 1095"/>
                <a:gd name="T45" fmla="*/ 341 h 713"/>
                <a:gd name="T46" fmla="*/ 89 w 1095"/>
                <a:gd name="T47" fmla="*/ 288 h 713"/>
                <a:gd name="T48" fmla="*/ 114 w 1095"/>
                <a:gd name="T49" fmla="*/ 238 h 713"/>
                <a:gd name="T50" fmla="*/ 144 w 1095"/>
                <a:gd name="T51" fmla="*/ 191 h 713"/>
                <a:gd name="T52" fmla="*/ 181 w 1095"/>
                <a:gd name="T53" fmla="*/ 148 h 713"/>
                <a:gd name="T54" fmla="*/ 223 w 1095"/>
                <a:gd name="T55" fmla="*/ 110 h 713"/>
                <a:gd name="T56" fmla="*/ 271 w 1095"/>
                <a:gd name="T57" fmla="*/ 76 h 713"/>
                <a:gd name="T58" fmla="*/ 323 w 1095"/>
                <a:gd name="T59" fmla="*/ 48 h 713"/>
                <a:gd name="T60" fmla="*/ 379 w 1095"/>
                <a:gd name="T61" fmla="*/ 26 h 713"/>
                <a:gd name="T62" fmla="*/ 439 w 1095"/>
                <a:gd name="T63" fmla="*/ 11 h 713"/>
                <a:gd name="T64" fmla="*/ 502 w 1095"/>
                <a:gd name="T65" fmla="*/ 2 h 713"/>
                <a:gd name="T66" fmla="*/ 544 w 1095"/>
                <a:gd name="T67" fmla="*/ 0 h 713"/>
                <a:gd name="T68" fmla="*/ 604 w 1095"/>
                <a:gd name="T69" fmla="*/ 4 h 713"/>
                <a:gd name="T70" fmla="*/ 662 w 1095"/>
                <a:gd name="T71" fmla="*/ 14 h 713"/>
                <a:gd name="T72" fmla="*/ 717 w 1095"/>
                <a:gd name="T73" fmla="*/ 29 h 713"/>
                <a:gd name="T74" fmla="*/ 769 w 1095"/>
                <a:gd name="T75" fmla="*/ 50 h 713"/>
                <a:gd name="T76" fmla="*/ 818 w 1095"/>
                <a:gd name="T77" fmla="*/ 76 h 713"/>
                <a:gd name="T78" fmla="*/ 862 w 1095"/>
                <a:gd name="T79" fmla="*/ 107 h 713"/>
                <a:gd name="T80" fmla="*/ 903 w 1095"/>
                <a:gd name="T81" fmla="*/ 143 h 713"/>
                <a:gd name="T82" fmla="*/ 938 w 1095"/>
                <a:gd name="T83" fmla="*/ 181 h 713"/>
                <a:gd name="T84" fmla="*/ 968 w 1095"/>
                <a:gd name="T85" fmla="*/ 224 h 713"/>
                <a:gd name="T86" fmla="*/ 992 w 1095"/>
                <a:gd name="T87" fmla="*/ 270 h 713"/>
                <a:gd name="T88" fmla="*/ 1005 w 1095"/>
                <a:gd name="T89" fmla="*/ 302 h 713"/>
                <a:gd name="T90" fmla="*/ 1095 w 1095"/>
                <a:gd name="T91" fmla="*/ 550 h 713"/>
                <a:gd name="T92" fmla="*/ 1066 w 1095"/>
                <a:gd name="T93" fmla="*/ 578 h 713"/>
                <a:gd name="T94" fmla="*/ 1029 w 1095"/>
                <a:gd name="T95" fmla="*/ 606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5" h="713">
                  <a:moveTo>
                    <a:pt x="1000" y="622"/>
                  </a:moveTo>
                  <a:lnTo>
                    <a:pt x="1000" y="622"/>
                  </a:lnTo>
                  <a:lnTo>
                    <a:pt x="955" y="464"/>
                  </a:lnTo>
                  <a:lnTo>
                    <a:pt x="955" y="464"/>
                  </a:lnTo>
                  <a:lnTo>
                    <a:pt x="949" y="442"/>
                  </a:lnTo>
                  <a:lnTo>
                    <a:pt x="942" y="423"/>
                  </a:lnTo>
                  <a:lnTo>
                    <a:pt x="934" y="405"/>
                  </a:lnTo>
                  <a:lnTo>
                    <a:pt x="925" y="390"/>
                  </a:lnTo>
                  <a:lnTo>
                    <a:pt x="915" y="375"/>
                  </a:lnTo>
                  <a:lnTo>
                    <a:pt x="904" y="364"/>
                  </a:lnTo>
                  <a:lnTo>
                    <a:pt x="892" y="352"/>
                  </a:lnTo>
                  <a:lnTo>
                    <a:pt x="881" y="344"/>
                  </a:lnTo>
                  <a:lnTo>
                    <a:pt x="867" y="337"/>
                  </a:lnTo>
                  <a:lnTo>
                    <a:pt x="855" y="332"/>
                  </a:lnTo>
                  <a:lnTo>
                    <a:pt x="840" y="327"/>
                  </a:lnTo>
                  <a:lnTo>
                    <a:pt x="827" y="325"/>
                  </a:lnTo>
                  <a:lnTo>
                    <a:pt x="812" y="324"/>
                  </a:lnTo>
                  <a:lnTo>
                    <a:pt x="797" y="325"/>
                  </a:lnTo>
                  <a:lnTo>
                    <a:pt x="782" y="327"/>
                  </a:lnTo>
                  <a:lnTo>
                    <a:pt x="767" y="332"/>
                  </a:lnTo>
                  <a:lnTo>
                    <a:pt x="767" y="332"/>
                  </a:lnTo>
                  <a:lnTo>
                    <a:pt x="759" y="335"/>
                  </a:lnTo>
                  <a:lnTo>
                    <a:pt x="752" y="338"/>
                  </a:lnTo>
                  <a:lnTo>
                    <a:pt x="746" y="342"/>
                  </a:lnTo>
                  <a:lnTo>
                    <a:pt x="741" y="347"/>
                  </a:lnTo>
                  <a:lnTo>
                    <a:pt x="735" y="352"/>
                  </a:lnTo>
                  <a:lnTo>
                    <a:pt x="731" y="358"/>
                  </a:lnTo>
                  <a:lnTo>
                    <a:pt x="727" y="364"/>
                  </a:lnTo>
                  <a:lnTo>
                    <a:pt x="723" y="371"/>
                  </a:lnTo>
                  <a:lnTo>
                    <a:pt x="718" y="386"/>
                  </a:lnTo>
                  <a:lnTo>
                    <a:pt x="714" y="401"/>
                  </a:lnTo>
                  <a:lnTo>
                    <a:pt x="710" y="419"/>
                  </a:lnTo>
                  <a:lnTo>
                    <a:pt x="709" y="438"/>
                  </a:lnTo>
                  <a:lnTo>
                    <a:pt x="708" y="458"/>
                  </a:lnTo>
                  <a:lnTo>
                    <a:pt x="709" y="478"/>
                  </a:lnTo>
                  <a:lnTo>
                    <a:pt x="713" y="519"/>
                  </a:lnTo>
                  <a:lnTo>
                    <a:pt x="716" y="561"/>
                  </a:lnTo>
                  <a:lnTo>
                    <a:pt x="719" y="600"/>
                  </a:lnTo>
                  <a:lnTo>
                    <a:pt x="719" y="600"/>
                  </a:lnTo>
                  <a:lnTo>
                    <a:pt x="728" y="700"/>
                  </a:lnTo>
                  <a:lnTo>
                    <a:pt x="728" y="700"/>
                  </a:lnTo>
                  <a:lnTo>
                    <a:pt x="687" y="706"/>
                  </a:lnTo>
                  <a:lnTo>
                    <a:pt x="643" y="710"/>
                  </a:lnTo>
                  <a:lnTo>
                    <a:pt x="598" y="712"/>
                  </a:lnTo>
                  <a:lnTo>
                    <a:pt x="552" y="713"/>
                  </a:lnTo>
                  <a:lnTo>
                    <a:pt x="552" y="713"/>
                  </a:lnTo>
                  <a:lnTo>
                    <a:pt x="505" y="712"/>
                  </a:lnTo>
                  <a:lnTo>
                    <a:pt x="458" y="709"/>
                  </a:lnTo>
                  <a:lnTo>
                    <a:pt x="412" y="705"/>
                  </a:lnTo>
                  <a:lnTo>
                    <a:pt x="367" y="699"/>
                  </a:lnTo>
                  <a:lnTo>
                    <a:pt x="325" y="692"/>
                  </a:lnTo>
                  <a:lnTo>
                    <a:pt x="283" y="684"/>
                  </a:lnTo>
                  <a:lnTo>
                    <a:pt x="245" y="674"/>
                  </a:lnTo>
                  <a:lnTo>
                    <a:pt x="207" y="663"/>
                  </a:lnTo>
                  <a:lnTo>
                    <a:pt x="172" y="651"/>
                  </a:lnTo>
                  <a:lnTo>
                    <a:pt x="140" y="638"/>
                  </a:lnTo>
                  <a:lnTo>
                    <a:pt x="109" y="623"/>
                  </a:lnTo>
                  <a:lnTo>
                    <a:pt x="82" y="609"/>
                  </a:lnTo>
                  <a:lnTo>
                    <a:pt x="57" y="592"/>
                  </a:lnTo>
                  <a:lnTo>
                    <a:pt x="35" y="575"/>
                  </a:lnTo>
                  <a:lnTo>
                    <a:pt x="24" y="566"/>
                  </a:lnTo>
                  <a:lnTo>
                    <a:pt x="16" y="558"/>
                  </a:lnTo>
                  <a:lnTo>
                    <a:pt x="8" y="548"/>
                  </a:lnTo>
                  <a:lnTo>
                    <a:pt x="0" y="539"/>
                  </a:lnTo>
                  <a:lnTo>
                    <a:pt x="0" y="539"/>
                  </a:lnTo>
                  <a:lnTo>
                    <a:pt x="44" y="416"/>
                  </a:lnTo>
                  <a:lnTo>
                    <a:pt x="72" y="341"/>
                  </a:lnTo>
                  <a:lnTo>
                    <a:pt x="72" y="341"/>
                  </a:lnTo>
                  <a:lnTo>
                    <a:pt x="72" y="341"/>
                  </a:lnTo>
                  <a:lnTo>
                    <a:pt x="77" y="323"/>
                  </a:lnTo>
                  <a:lnTo>
                    <a:pt x="83" y="305"/>
                  </a:lnTo>
                  <a:lnTo>
                    <a:pt x="89" y="288"/>
                  </a:lnTo>
                  <a:lnTo>
                    <a:pt x="96" y="270"/>
                  </a:lnTo>
                  <a:lnTo>
                    <a:pt x="104" y="253"/>
                  </a:lnTo>
                  <a:lnTo>
                    <a:pt x="114" y="238"/>
                  </a:lnTo>
                  <a:lnTo>
                    <a:pt x="123" y="221"/>
                  </a:lnTo>
                  <a:lnTo>
                    <a:pt x="133" y="205"/>
                  </a:lnTo>
                  <a:lnTo>
                    <a:pt x="144" y="191"/>
                  </a:lnTo>
                  <a:lnTo>
                    <a:pt x="155" y="176"/>
                  </a:lnTo>
                  <a:lnTo>
                    <a:pt x="168" y="162"/>
                  </a:lnTo>
                  <a:lnTo>
                    <a:pt x="181" y="148"/>
                  </a:lnTo>
                  <a:lnTo>
                    <a:pt x="195" y="135"/>
                  </a:lnTo>
                  <a:lnTo>
                    <a:pt x="208" y="122"/>
                  </a:lnTo>
                  <a:lnTo>
                    <a:pt x="223" y="110"/>
                  </a:lnTo>
                  <a:lnTo>
                    <a:pt x="239" y="98"/>
                  </a:lnTo>
                  <a:lnTo>
                    <a:pt x="254" y="87"/>
                  </a:lnTo>
                  <a:lnTo>
                    <a:pt x="271" y="76"/>
                  </a:lnTo>
                  <a:lnTo>
                    <a:pt x="287" y="66"/>
                  </a:lnTo>
                  <a:lnTo>
                    <a:pt x="305" y="57"/>
                  </a:lnTo>
                  <a:lnTo>
                    <a:pt x="323" y="48"/>
                  </a:lnTo>
                  <a:lnTo>
                    <a:pt x="341" y="41"/>
                  </a:lnTo>
                  <a:lnTo>
                    <a:pt x="360" y="34"/>
                  </a:lnTo>
                  <a:lnTo>
                    <a:pt x="379" y="26"/>
                  </a:lnTo>
                  <a:lnTo>
                    <a:pt x="399" y="21"/>
                  </a:lnTo>
                  <a:lnTo>
                    <a:pt x="418" y="16"/>
                  </a:lnTo>
                  <a:lnTo>
                    <a:pt x="439" y="11"/>
                  </a:lnTo>
                  <a:lnTo>
                    <a:pt x="459" y="7"/>
                  </a:lnTo>
                  <a:lnTo>
                    <a:pt x="480" y="4"/>
                  </a:lnTo>
                  <a:lnTo>
                    <a:pt x="502" y="2"/>
                  </a:lnTo>
                  <a:lnTo>
                    <a:pt x="522" y="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565" y="1"/>
                  </a:lnTo>
                  <a:lnTo>
                    <a:pt x="585" y="2"/>
                  </a:lnTo>
                  <a:lnTo>
                    <a:pt x="604" y="4"/>
                  </a:lnTo>
                  <a:lnTo>
                    <a:pt x="624" y="6"/>
                  </a:lnTo>
                  <a:lnTo>
                    <a:pt x="643" y="10"/>
                  </a:lnTo>
                  <a:lnTo>
                    <a:pt x="662" y="14"/>
                  </a:lnTo>
                  <a:lnTo>
                    <a:pt x="680" y="18"/>
                  </a:lnTo>
                  <a:lnTo>
                    <a:pt x="699" y="23"/>
                  </a:lnTo>
                  <a:lnTo>
                    <a:pt x="717" y="29"/>
                  </a:lnTo>
                  <a:lnTo>
                    <a:pt x="734" y="36"/>
                  </a:lnTo>
                  <a:lnTo>
                    <a:pt x="752" y="43"/>
                  </a:lnTo>
                  <a:lnTo>
                    <a:pt x="769" y="50"/>
                  </a:lnTo>
                  <a:lnTo>
                    <a:pt x="785" y="59"/>
                  </a:lnTo>
                  <a:lnTo>
                    <a:pt x="802" y="67"/>
                  </a:lnTo>
                  <a:lnTo>
                    <a:pt x="818" y="76"/>
                  </a:lnTo>
                  <a:lnTo>
                    <a:pt x="833" y="86"/>
                  </a:lnTo>
                  <a:lnTo>
                    <a:pt x="848" y="96"/>
                  </a:lnTo>
                  <a:lnTo>
                    <a:pt x="862" y="107"/>
                  </a:lnTo>
                  <a:lnTo>
                    <a:pt x="876" y="119"/>
                  </a:lnTo>
                  <a:lnTo>
                    <a:pt x="889" y="130"/>
                  </a:lnTo>
                  <a:lnTo>
                    <a:pt x="903" y="143"/>
                  </a:lnTo>
                  <a:lnTo>
                    <a:pt x="914" y="155"/>
                  </a:lnTo>
                  <a:lnTo>
                    <a:pt x="927" y="168"/>
                  </a:lnTo>
                  <a:lnTo>
                    <a:pt x="938" y="181"/>
                  </a:lnTo>
                  <a:lnTo>
                    <a:pt x="949" y="196"/>
                  </a:lnTo>
                  <a:lnTo>
                    <a:pt x="958" y="210"/>
                  </a:lnTo>
                  <a:lnTo>
                    <a:pt x="968" y="224"/>
                  </a:lnTo>
                  <a:lnTo>
                    <a:pt x="977" y="240"/>
                  </a:lnTo>
                  <a:lnTo>
                    <a:pt x="985" y="254"/>
                  </a:lnTo>
                  <a:lnTo>
                    <a:pt x="992" y="270"/>
                  </a:lnTo>
                  <a:lnTo>
                    <a:pt x="998" y="287"/>
                  </a:lnTo>
                  <a:lnTo>
                    <a:pt x="1005" y="302"/>
                  </a:lnTo>
                  <a:lnTo>
                    <a:pt x="1005" y="302"/>
                  </a:lnTo>
                  <a:lnTo>
                    <a:pt x="1039" y="395"/>
                  </a:lnTo>
                  <a:lnTo>
                    <a:pt x="1095" y="550"/>
                  </a:lnTo>
                  <a:lnTo>
                    <a:pt x="1095" y="550"/>
                  </a:lnTo>
                  <a:lnTo>
                    <a:pt x="1087" y="560"/>
                  </a:lnTo>
                  <a:lnTo>
                    <a:pt x="1076" y="570"/>
                  </a:lnTo>
                  <a:lnTo>
                    <a:pt x="1066" y="578"/>
                  </a:lnTo>
                  <a:lnTo>
                    <a:pt x="1055" y="588"/>
                  </a:lnTo>
                  <a:lnTo>
                    <a:pt x="1042" y="597"/>
                  </a:lnTo>
                  <a:lnTo>
                    <a:pt x="1029" y="606"/>
                  </a:lnTo>
                  <a:lnTo>
                    <a:pt x="1000" y="622"/>
                  </a:lnTo>
                  <a:lnTo>
                    <a:pt x="1000" y="6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1" name="Freeform 76"/>
            <p:cNvSpPr>
              <a:spLocks/>
            </p:cNvSpPr>
            <p:nvPr/>
          </p:nvSpPr>
          <p:spPr bwMode="auto">
            <a:xfrm flipH="1">
              <a:off x="7082363" y="2067602"/>
              <a:ext cx="54184" cy="54177"/>
            </a:xfrm>
            <a:custGeom>
              <a:avLst/>
              <a:gdLst>
                <a:gd name="T0" fmla="*/ 59 w 292"/>
                <a:gd name="T1" fmla="*/ 8 h 376"/>
                <a:gd name="T2" fmla="*/ 59 w 292"/>
                <a:gd name="T3" fmla="*/ 8 h 376"/>
                <a:gd name="T4" fmla="*/ 74 w 292"/>
                <a:gd name="T5" fmla="*/ 3 h 376"/>
                <a:gd name="T6" fmla="*/ 89 w 292"/>
                <a:gd name="T7" fmla="*/ 1 h 376"/>
                <a:gd name="T8" fmla="*/ 104 w 292"/>
                <a:gd name="T9" fmla="*/ 0 h 376"/>
                <a:gd name="T10" fmla="*/ 119 w 292"/>
                <a:gd name="T11" fmla="*/ 1 h 376"/>
                <a:gd name="T12" fmla="*/ 132 w 292"/>
                <a:gd name="T13" fmla="*/ 3 h 376"/>
                <a:gd name="T14" fmla="*/ 147 w 292"/>
                <a:gd name="T15" fmla="*/ 8 h 376"/>
                <a:gd name="T16" fmla="*/ 159 w 292"/>
                <a:gd name="T17" fmla="*/ 13 h 376"/>
                <a:gd name="T18" fmla="*/ 173 w 292"/>
                <a:gd name="T19" fmla="*/ 20 h 376"/>
                <a:gd name="T20" fmla="*/ 184 w 292"/>
                <a:gd name="T21" fmla="*/ 28 h 376"/>
                <a:gd name="T22" fmla="*/ 196 w 292"/>
                <a:gd name="T23" fmla="*/ 40 h 376"/>
                <a:gd name="T24" fmla="*/ 207 w 292"/>
                <a:gd name="T25" fmla="*/ 51 h 376"/>
                <a:gd name="T26" fmla="*/ 217 w 292"/>
                <a:gd name="T27" fmla="*/ 66 h 376"/>
                <a:gd name="T28" fmla="*/ 226 w 292"/>
                <a:gd name="T29" fmla="*/ 81 h 376"/>
                <a:gd name="T30" fmla="*/ 234 w 292"/>
                <a:gd name="T31" fmla="*/ 99 h 376"/>
                <a:gd name="T32" fmla="*/ 241 w 292"/>
                <a:gd name="T33" fmla="*/ 118 h 376"/>
                <a:gd name="T34" fmla="*/ 247 w 292"/>
                <a:gd name="T35" fmla="*/ 140 h 376"/>
                <a:gd name="T36" fmla="*/ 247 w 292"/>
                <a:gd name="T37" fmla="*/ 140 h 376"/>
                <a:gd name="T38" fmla="*/ 292 w 292"/>
                <a:gd name="T39" fmla="*/ 298 h 376"/>
                <a:gd name="T40" fmla="*/ 292 w 292"/>
                <a:gd name="T41" fmla="*/ 298 h 376"/>
                <a:gd name="T42" fmla="*/ 264 w 292"/>
                <a:gd name="T43" fmla="*/ 311 h 376"/>
                <a:gd name="T44" fmla="*/ 235 w 292"/>
                <a:gd name="T45" fmla="*/ 323 h 376"/>
                <a:gd name="T46" fmla="*/ 203 w 292"/>
                <a:gd name="T47" fmla="*/ 335 h 376"/>
                <a:gd name="T48" fmla="*/ 170 w 292"/>
                <a:gd name="T49" fmla="*/ 345 h 376"/>
                <a:gd name="T50" fmla="*/ 136 w 292"/>
                <a:gd name="T51" fmla="*/ 354 h 376"/>
                <a:gd name="T52" fmla="*/ 98 w 292"/>
                <a:gd name="T53" fmla="*/ 363 h 376"/>
                <a:gd name="T54" fmla="*/ 60 w 292"/>
                <a:gd name="T55" fmla="*/ 370 h 376"/>
                <a:gd name="T56" fmla="*/ 20 w 292"/>
                <a:gd name="T57" fmla="*/ 376 h 376"/>
                <a:gd name="T58" fmla="*/ 20 w 292"/>
                <a:gd name="T59" fmla="*/ 376 h 376"/>
                <a:gd name="T60" fmla="*/ 11 w 292"/>
                <a:gd name="T61" fmla="*/ 276 h 376"/>
                <a:gd name="T62" fmla="*/ 11 w 292"/>
                <a:gd name="T63" fmla="*/ 276 h 376"/>
                <a:gd name="T64" fmla="*/ 8 w 292"/>
                <a:gd name="T65" fmla="*/ 237 h 376"/>
                <a:gd name="T66" fmla="*/ 5 w 292"/>
                <a:gd name="T67" fmla="*/ 195 h 376"/>
                <a:gd name="T68" fmla="*/ 1 w 292"/>
                <a:gd name="T69" fmla="*/ 154 h 376"/>
                <a:gd name="T70" fmla="*/ 0 w 292"/>
                <a:gd name="T71" fmla="*/ 134 h 376"/>
                <a:gd name="T72" fmla="*/ 1 w 292"/>
                <a:gd name="T73" fmla="*/ 114 h 376"/>
                <a:gd name="T74" fmla="*/ 2 w 292"/>
                <a:gd name="T75" fmla="*/ 95 h 376"/>
                <a:gd name="T76" fmla="*/ 6 w 292"/>
                <a:gd name="T77" fmla="*/ 77 h 376"/>
                <a:gd name="T78" fmla="*/ 10 w 292"/>
                <a:gd name="T79" fmla="*/ 62 h 376"/>
                <a:gd name="T80" fmla="*/ 15 w 292"/>
                <a:gd name="T81" fmla="*/ 47 h 376"/>
                <a:gd name="T82" fmla="*/ 19 w 292"/>
                <a:gd name="T83" fmla="*/ 40 h 376"/>
                <a:gd name="T84" fmla="*/ 23 w 292"/>
                <a:gd name="T85" fmla="*/ 34 h 376"/>
                <a:gd name="T86" fmla="*/ 27 w 292"/>
                <a:gd name="T87" fmla="*/ 28 h 376"/>
                <a:gd name="T88" fmla="*/ 33 w 292"/>
                <a:gd name="T89" fmla="*/ 23 h 376"/>
                <a:gd name="T90" fmla="*/ 38 w 292"/>
                <a:gd name="T91" fmla="*/ 18 h 376"/>
                <a:gd name="T92" fmla="*/ 44 w 292"/>
                <a:gd name="T93" fmla="*/ 14 h 376"/>
                <a:gd name="T94" fmla="*/ 51 w 292"/>
                <a:gd name="T95" fmla="*/ 11 h 376"/>
                <a:gd name="T96" fmla="*/ 59 w 292"/>
                <a:gd name="T97" fmla="*/ 8 h 376"/>
                <a:gd name="T98" fmla="*/ 59 w 292"/>
                <a:gd name="T99" fmla="*/ 8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376">
                  <a:moveTo>
                    <a:pt x="59" y="8"/>
                  </a:moveTo>
                  <a:lnTo>
                    <a:pt x="59" y="8"/>
                  </a:lnTo>
                  <a:lnTo>
                    <a:pt x="74" y="3"/>
                  </a:lnTo>
                  <a:lnTo>
                    <a:pt x="89" y="1"/>
                  </a:lnTo>
                  <a:lnTo>
                    <a:pt x="104" y="0"/>
                  </a:lnTo>
                  <a:lnTo>
                    <a:pt x="119" y="1"/>
                  </a:lnTo>
                  <a:lnTo>
                    <a:pt x="132" y="3"/>
                  </a:lnTo>
                  <a:lnTo>
                    <a:pt x="147" y="8"/>
                  </a:lnTo>
                  <a:lnTo>
                    <a:pt x="159" y="13"/>
                  </a:lnTo>
                  <a:lnTo>
                    <a:pt x="173" y="20"/>
                  </a:lnTo>
                  <a:lnTo>
                    <a:pt x="184" y="28"/>
                  </a:lnTo>
                  <a:lnTo>
                    <a:pt x="196" y="40"/>
                  </a:lnTo>
                  <a:lnTo>
                    <a:pt x="207" y="51"/>
                  </a:lnTo>
                  <a:lnTo>
                    <a:pt x="217" y="66"/>
                  </a:lnTo>
                  <a:lnTo>
                    <a:pt x="226" y="81"/>
                  </a:lnTo>
                  <a:lnTo>
                    <a:pt x="234" y="99"/>
                  </a:lnTo>
                  <a:lnTo>
                    <a:pt x="241" y="118"/>
                  </a:lnTo>
                  <a:lnTo>
                    <a:pt x="247" y="140"/>
                  </a:lnTo>
                  <a:lnTo>
                    <a:pt x="247" y="140"/>
                  </a:lnTo>
                  <a:lnTo>
                    <a:pt x="292" y="298"/>
                  </a:lnTo>
                  <a:lnTo>
                    <a:pt x="292" y="298"/>
                  </a:lnTo>
                  <a:lnTo>
                    <a:pt x="264" y="311"/>
                  </a:lnTo>
                  <a:lnTo>
                    <a:pt x="235" y="323"/>
                  </a:lnTo>
                  <a:lnTo>
                    <a:pt x="203" y="335"/>
                  </a:lnTo>
                  <a:lnTo>
                    <a:pt x="170" y="345"/>
                  </a:lnTo>
                  <a:lnTo>
                    <a:pt x="136" y="354"/>
                  </a:lnTo>
                  <a:lnTo>
                    <a:pt x="98" y="363"/>
                  </a:lnTo>
                  <a:lnTo>
                    <a:pt x="60" y="370"/>
                  </a:lnTo>
                  <a:lnTo>
                    <a:pt x="20" y="376"/>
                  </a:lnTo>
                  <a:lnTo>
                    <a:pt x="20" y="3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8" y="237"/>
                  </a:lnTo>
                  <a:lnTo>
                    <a:pt x="5" y="195"/>
                  </a:lnTo>
                  <a:lnTo>
                    <a:pt x="1" y="154"/>
                  </a:lnTo>
                  <a:lnTo>
                    <a:pt x="0" y="134"/>
                  </a:lnTo>
                  <a:lnTo>
                    <a:pt x="1" y="114"/>
                  </a:lnTo>
                  <a:lnTo>
                    <a:pt x="2" y="95"/>
                  </a:lnTo>
                  <a:lnTo>
                    <a:pt x="6" y="77"/>
                  </a:lnTo>
                  <a:lnTo>
                    <a:pt x="10" y="62"/>
                  </a:lnTo>
                  <a:lnTo>
                    <a:pt x="15" y="47"/>
                  </a:lnTo>
                  <a:lnTo>
                    <a:pt x="19" y="40"/>
                  </a:lnTo>
                  <a:lnTo>
                    <a:pt x="23" y="34"/>
                  </a:lnTo>
                  <a:lnTo>
                    <a:pt x="27" y="28"/>
                  </a:lnTo>
                  <a:lnTo>
                    <a:pt x="33" y="23"/>
                  </a:lnTo>
                  <a:lnTo>
                    <a:pt x="38" y="18"/>
                  </a:lnTo>
                  <a:lnTo>
                    <a:pt x="44" y="14"/>
                  </a:lnTo>
                  <a:lnTo>
                    <a:pt x="51" y="11"/>
                  </a:lnTo>
                  <a:lnTo>
                    <a:pt x="59" y="8"/>
                  </a:lnTo>
                  <a:lnTo>
                    <a:pt x="59" y="8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2" name="Freeform 77"/>
            <p:cNvSpPr>
              <a:spLocks noEditPoints="1"/>
            </p:cNvSpPr>
            <p:nvPr/>
          </p:nvSpPr>
          <p:spPr bwMode="auto">
            <a:xfrm flipH="1">
              <a:off x="6793383" y="2067602"/>
              <a:ext cx="740511" cy="877144"/>
            </a:xfrm>
            <a:custGeom>
              <a:avLst/>
              <a:gdLst>
                <a:gd name="T0" fmla="*/ 1012 w 4017"/>
                <a:gd name="T1" fmla="*/ 3103 h 6116"/>
                <a:gd name="T2" fmla="*/ 883 w 4017"/>
                <a:gd name="T3" fmla="*/ 3044 h 6116"/>
                <a:gd name="T4" fmla="*/ 627 w 4017"/>
                <a:gd name="T5" fmla="*/ 3975 h 6116"/>
                <a:gd name="T6" fmla="*/ 775 w 4017"/>
                <a:gd name="T7" fmla="*/ 4047 h 6116"/>
                <a:gd name="T8" fmla="*/ 318 w 4017"/>
                <a:gd name="T9" fmla="*/ 5869 h 6116"/>
                <a:gd name="T10" fmla="*/ 234 w 4017"/>
                <a:gd name="T11" fmla="*/ 5834 h 6116"/>
                <a:gd name="T12" fmla="*/ 75 w 4017"/>
                <a:gd name="T13" fmla="*/ 5753 h 6116"/>
                <a:gd name="T14" fmla="*/ 0 w 4017"/>
                <a:gd name="T15" fmla="*/ 5709 h 6116"/>
                <a:gd name="T16" fmla="*/ 358 w 4017"/>
                <a:gd name="T17" fmla="*/ 4837 h 6116"/>
                <a:gd name="T18" fmla="*/ 484 w 4017"/>
                <a:gd name="T19" fmla="*/ 4905 h 6116"/>
                <a:gd name="T20" fmla="*/ 2645 w 4017"/>
                <a:gd name="T21" fmla="*/ 5153 h 6116"/>
                <a:gd name="T22" fmla="*/ 2806 w 4017"/>
                <a:gd name="T23" fmla="*/ 6107 h 6116"/>
                <a:gd name="T24" fmla="*/ 3084 w 4017"/>
                <a:gd name="T25" fmla="*/ 6055 h 6116"/>
                <a:gd name="T26" fmla="*/ 3296 w 4017"/>
                <a:gd name="T27" fmla="*/ 6000 h 6116"/>
                <a:gd name="T28" fmla="*/ 3321 w 4017"/>
                <a:gd name="T29" fmla="*/ 5992 h 6116"/>
                <a:gd name="T30" fmla="*/ 3342 w 4017"/>
                <a:gd name="T31" fmla="*/ 5986 h 6116"/>
                <a:gd name="T32" fmla="*/ 3626 w 4017"/>
                <a:gd name="T33" fmla="*/ 5884 h 6116"/>
                <a:gd name="T34" fmla="*/ 3799 w 4017"/>
                <a:gd name="T35" fmla="*/ 5809 h 6116"/>
                <a:gd name="T36" fmla="*/ 3974 w 4017"/>
                <a:gd name="T37" fmla="*/ 5719 h 6116"/>
                <a:gd name="T38" fmla="*/ 3746 w 4017"/>
                <a:gd name="T39" fmla="*/ 4764 h 6116"/>
                <a:gd name="T40" fmla="*/ 3674 w 4017"/>
                <a:gd name="T41" fmla="*/ 4814 h 6116"/>
                <a:gd name="T42" fmla="*/ 3537 w 4017"/>
                <a:gd name="T43" fmla="*/ 4892 h 6116"/>
                <a:gd name="T44" fmla="*/ 3279 w 4017"/>
                <a:gd name="T45" fmla="*/ 5001 h 6116"/>
                <a:gd name="T46" fmla="*/ 2980 w 4017"/>
                <a:gd name="T47" fmla="*/ 5089 h 6116"/>
                <a:gd name="T48" fmla="*/ 2645 w 4017"/>
                <a:gd name="T49" fmla="*/ 5153 h 6116"/>
                <a:gd name="T50" fmla="*/ 2517 w 4017"/>
                <a:gd name="T51" fmla="*/ 3231 h 6116"/>
                <a:gd name="T52" fmla="*/ 2743 w 4017"/>
                <a:gd name="T53" fmla="*/ 3184 h 6116"/>
                <a:gd name="T54" fmla="*/ 2944 w 4017"/>
                <a:gd name="T55" fmla="*/ 3122 h 6116"/>
                <a:gd name="T56" fmla="*/ 3118 w 4017"/>
                <a:gd name="T57" fmla="*/ 3045 h 6116"/>
                <a:gd name="T58" fmla="*/ 3227 w 4017"/>
                <a:gd name="T59" fmla="*/ 2979 h 6116"/>
                <a:gd name="T60" fmla="*/ 3409 w 4017"/>
                <a:gd name="T61" fmla="*/ 3951 h 6116"/>
                <a:gd name="T62" fmla="*/ 3208 w 4017"/>
                <a:gd name="T63" fmla="*/ 4051 h 6116"/>
                <a:gd name="T64" fmla="*/ 2970 w 4017"/>
                <a:gd name="T65" fmla="*/ 4136 h 6116"/>
                <a:gd name="T66" fmla="*/ 2700 w 4017"/>
                <a:gd name="T67" fmla="*/ 4200 h 6116"/>
                <a:gd name="T68" fmla="*/ 2457 w 4017"/>
                <a:gd name="T69" fmla="*/ 3241 h 6116"/>
                <a:gd name="T70" fmla="*/ 2333 w 4017"/>
                <a:gd name="T71" fmla="*/ 1314 h 6116"/>
                <a:gd name="T72" fmla="*/ 2565 w 4017"/>
                <a:gd name="T73" fmla="*/ 1261 h 6116"/>
                <a:gd name="T74" fmla="*/ 2712 w 4017"/>
                <a:gd name="T75" fmla="*/ 1206 h 6116"/>
                <a:gd name="T76" fmla="*/ 2919 w 4017"/>
                <a:gd name="T77" fmla="*/ 2150 h 6116"/>
                <a:gd name="T78" fmla="*/ 2786 w 4017"/>
                <a:gd name="T79" fmla="*/ 2211 h 6116"/>
                <a:gd name="T80" fmla="*/ 2633 w 4017"/>
                <a:gd name="T81" fmla="*/ 2262 h 6116"/>
                <a:gd name="T82" fmla="*/ 2459 w 4017"/>
                <a:gd name="T83" fmla="*/ 2302 h 6116"/>
                <a:gd name="T84" fmla="*/ 2270 w 4017"/>
                <a:gd name="T85" fmla="*/ 1323 h 6116"/>
                <a:gd name="T86" fmla="*/ 2231 w 4017"/>
                <a:gd name="T87" fmla="*/ 3 h 6116"/>
                <a:gd name="T88" fmla="*/ 2289 w 4017"/>
                <a:gd name="T89" fmla="*/ 3 h 6116"/>
                <a:gd name="T90" fmla="*/ 2341 w 4017"/>
                <a:gd name="T91" fmla="*/ 28 h 6116"/>
                <a:gd name="T92" fmla="*/ 2383 w 4017"/>
                <a:gd name="T93" fmla="*/ 81 h 6116"/>
                <a:gd name="T94" fmla="*/ 2404 w 4017"/>
                <a:gd name="T95" fmla="*/ 140 h 6116"/>
                <a:gd name="T96" fmla="*/ 2392 w 4017"/>
                <a:gd name="T97" fmla="*/ 323 h 6116"/>
                <a:gd name="T98" fmla="*/ 2255 w 4017"/>
                <a:gd name="T99" fmla="*/ 363 h 6116"/>
                <a:gd name="T100" fmla="*/ 2168 w 4017"/>
                <a:gd name="T101" fmla="*/ 276 h 6116"/>
                <a:gd name="T102" fmla="*/ 2158 w 4017"/>
                <a:gd name="T103" fmla="*/ 154 h 6116"/>
                <a:gd name="T104" fmla="*/ 2163 w 4017"/>
                <a:gd name="T105" fmla="*/ 77 h 6116"/>
                <a:gd name="T106" fmla="*/ 2180 w 4017"/>
                <a:gd name="T107" fmla="*/ 34 h 6116"/>
                <a:gd name="T108" fmla="*/ 2201 w 4017"/>
                <a:gd name="T109" fmla="*/ 14 h 6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017" h="6116">
                  <a:moveTo>
                    <a:pt x="775" y="4047"/>
                  </a:moveTo>
                  <a:lnTo>
                    <a:pt x="775" y="4047"/>
                  </a:lnTo>
                  <a:lnTo>
                    <a:pt x="1012" y="3103"/>
                  </a:lnTo>
                  <a:lnTo>
                    <a:pt x="1012" y="3103"/>
                  </a:lnTo>
                  <a:lnTo>
                    <a:pt x="977" y="3089"/>
                  </a:lnTo>
                  <a:lnTo>
                    <a:pt x="945" y="3074"/>
                  </a:lnTo>
                  <a:lnTo>
                    <a:pt x="913" y="3059"/>
                  </a:lnTo>
                  <a:lnTo>
                    <a:pt x="883" y="3044"/>
                  </a:lnTo>
                  <a:lnTo>
                    <a:pt x="883" y="3044"/>
                  </a:lnTo>
                  <a:lnTo>
                    <a:pt x="582" y="3949"/>
                  </a:lnTo>
                  <a:lnTo>
                    <a:pt x="582" y="3949"/>
                  </a:lnTo>
                  <a:lnTo>
                    <a:pt x="627" y="3975"/>
                  </a:lnTo>
                  <a:lnTo>
                    <a:pt x="674" y="4000"/>
                  </a:lnTo>
                  <a:lnTo>
                    <a:pt x="723" y="4024"/>
                  </a:lnTo>
                  <a:lnTo>
                    <a:pt x="775" y="4047"/>
                  </a:lnTo>
                  <a:lnTo>
                    <a:pt x="775" y="4047"/>
                  </a:lnTo>
                  <a:close/>
                  <a:moveTo>
                    <a:pt x="552" y="4937"/>
                  </a:moveTo>
                  <a:lnTo>
                    <a:pt x="552" y="4937"/>
                  </a:lnTo>
                  <a:lnTo>
                    <a:pt x="319" y="5869"/>
                  </a:lnTo>
                  <a:lnTo>
                    <a:pt x="318" y="5869"/>
                  </a:lnTo>
                  <a:lnTo>
                    <a:pt x="318" y="5869"/>
                  </a:lnTo>
                  <a:lnTo>
                    <a:pt x="276" y="5852"/>
                  </a:lnTo>
                  <a:lnTo>
                    <a:pt x="234" y="5834"/>
                  </a:lnTo>
                  <a:lnTo>
                    <a:pt x="234" y="5834"/>
                  </a:lnTo>
                  <a:lnTo>
                    <a:pt x="190" y="5813"/>
                  </a:lnTo>
                  <a:lnTo>
                    <a:pt x="149" y="5792"/>
                  </a:lnTo>
                  <a:lnTo>
                    <a:pt x="110" y="5772"/>
                  </a:lnTo>
                  <a:lnTo>
                    <a:pt x="75" y="5753"/>
                  </a:lnTo>
                  <a:lnTo>
                    <a:pt x="23" y="5723"/>
                  </a:lnTo>
                  <a:lnTo>
                    <a:pt x="0" y="5710"/>
                  </a:lnTo>
                  <a:lnTo>
                    <a:pt x="0" y="5709"/>
                  </a:lnTo>
                  <a:lnTo>
                    <a:pt x="0" y="5709"/>
                  </a:lnTo>
                  <a:lnTo>
                    <a:pt x="301" y="4801"/>
                  </a:lnTo>
                  <a:lnTo>
                    <a:pt x="301" y="4801"/>
                  </a:lnTo>
                  <a:lnTo>
                    <a:pt x="329" y="4819"/>
                  </a:lnTo>
                  <a:lnTo>
                    <a:pt x="358" y="4837"/>
                  </a:lnTo>
                  <a:lnTo>
                    <a:pt x="388" y="4855"/>
                  </a:lnTo>
                  <a:lnTo>
                    <a:pt x="418" y="4871"/>
                  </a:lnTo>
                  <a:lnTo>
                    <a:pt x="450" y="4888"/>
                  </a:lnTo>
                  <a:lnTo>
                    <a:pt x="484" y="4905"/>
                  </a:lnTo>
                  <a:lnTo>
                    <a:pt x="517" y="4921"/>
                  </a:lnTo>
                  <a:lnTo>
                    <a:pt x="552" y="4937"/>
                  </a:lnTo>
                  <a:lnTo>
                    <a:pt x="552" y="4937"/>
                  </a:lnTo>
                  <a:close/>
                  <a:moveTo>
                    <a:pt x="2645" y="5153"/>
                  </a:moveTo>
                  <a:lnTo>
                    <a:pt x="2645" y="5153"/>
                  </a:lnTo>
                  <a:lnTo>
                    <a:pt x="2740" y="6116"/>
                  </a:lnTo>
                  <a:lnTo>
                    <a:pt x="2740" y="6116"/>
                  </a:lnTo>
                  <a:lnTo>
                    <a:pt x="2806" y="6107"/>
                  </a:lnTo>
                  <a:lnTo>
                    <a:pt x="2875" y="6096"/>
                  </a:lnTo>
                  <a:lnTo>
                    <a:pt x="2943" y="6083"/>
                  </a:lnTo>
                  <a:lnTo>
                    <a:pt x="3013" y="6070"/>
                  </a:lnTo>
                  <a:lnTo>
                    <a:pt x="3084" y="6055"/>
                  </a:lnTo>
                  <a:lnTo>
                    <a:pt x="3154" y="6038"/>
                  </a:lnTo>
                  <a:lnTo>
                    <a:pt x="3225" y="6020"/>
                  </a:lnTo>
                  <a:lnTo>
                    <a:pt x="3296" y="6000"/>
                  </a:lnTo>
                  <a:lnTo>
                    <a:pt x="3296" y="6000"/>
                  </a:lnTo>
                  <a:lnTo>
                    <a:pt x="3307" y="5997"/>
                  </a:lnTo>
                  <a:lnTo>
                    <a:pt x="3307" y="5997"/>
                  </a:lnTo>
                  <a:lnTo>
                    <a:pt x="3321" y="5992"/>
                  </a:lnTo>
                  <a:lnTo>
                    <a:pt x="3321" y="5992"/>
                  </a:lnTo>
                  <a:lnTo>
                    <a:pt x="3338" y="5987"/>
                  </a:lnTo>
                  <a:lnTo>
                    <a:pt x="3338" y="5987"/>
                  </a:lnTo>
                  <a:lnTo>
                    <a:pt x="3342" y="5986"/>
                  </a:lnTo>
                  <a:lnTo>
                    <a:pt x="3342" y="5986"/>
                  </a:lnTo>
                  <a:lnTo>
                    <a:pt x="3421" y="5960"/>
                  </a:lnTo>
                  <a:lnTo>
                    <a:pt x="3502" y="5932"/>
                  </a:lnTo>
                  <a:lnTo>
                    <a:pt x="3585" y="5901"/>
                  </a:lnTo>
                  <a:lnTo>
                    <a:pt x="3626" y="5884"/>
                  </a:lnTo>
                  <a:lnTo>
                    <a:pt x="3669" y="5866"/>
                  </a:lnTo>
                  <a:lnTo>
                    <a:pt x="3713" y="5849"/>
                  </a:lnTo>
                  <a:lnTo>
                    <a:pt x="3755" y="5829"/>
                  </a:lnTo>
                  <a:lnTo>
                    <a:pt x="3799" y="5809"/>
                  </a:lnTo>
                  <a:lnTo>
                    <a:pt x="3843" y="5787"/>
                  </a:lnTo>
                  <a:lnTo>
                    <a:pt x="3886" y="5765"/>
                  </a:lnTo>
                  <a:lnTo>
                    <a:pt x="3930" y="5742"/>
                  </a:lnTo>
                  <a:lnTo>
                    <a:pt x="3974" y="5719"/>
                  </a:lnTo>
                  <a:lnTo>
                    <a:pt x="4016" y="5694"/>
                  </a:lnTo>
                  <a:lnTo>
                    <a:pt x="4017" y="5694"/>
                  </a:lnTo>
                  <a:lnTo>
                    <a:pt x="4017" y="5694"/>
                  </a:lnTo>
                  <a:lnTo>
                    <a:pt x="3746" y="4764"/>
                  </a:lnTo>
                  <a:lnTo>
                    <a:pt x="3746" y="4764"/>
                  </a:lnTo>
                  <a:lnTo>
                    <a:pt x="3723" y="4782"/>
                  </a:lnTo>
                  <a:lnTo>
                    <a:pt x="3699" y="4798"/>
                  </a:lnTo>
                  <a:lnTo>
                    <a:pt x="3674" y="4814"/>
                  </a:lnTo>
                  <a:lnTo>
                    <a:pt x="3648" y="4831"/>
                  </a:lnTo>
                  <a:lnTo>
                    <a:pt x="3621" y="4846"/>
                  </a:lnTo>
                  <a:lnTo>
                    <a:pt x="3594" y="4862"/>
                  </a:lnTo>
                  <a:lnTo>
                    <a:pt x="3537" y="4892"/>
                  </a:lnTo>
                  <a:lnTo>
                    <a:pt x="3477" y="4921"/>
                  </a:lnTo>
                  <a:lnTo>
                    <a:pt x="3414" y="4948"/>
                  </a:lnTo>
                  <a:lnTo>
                    <a:pt x="3348" y="4976"/>
                  </a:lnTo>
                  <a:lnTo>
                    <a:pt x="3279" y="5001"/>
                  </a:lnTo>
                  <a:lnTo>
                    <a:pt x="3208" y="5024"/>
                  </a:lnTo>
                  <a:lnTo>
                    <a:pt x="3135" y="5047"/>
                  </a:lnTo>
                  <a:lnTo>
                    <a:pt x="3059" y="5069"/>
                  </a:lnTo>
                  <a:lnTo>
                    <a:pt x="2980" y="5089"/>
                  </a:lnTo>
                  <a:lnTo>
                    <a:pt x="2900" y="5107"/>
                  </a:lnTo>
                  <a:lnTo>
                    <a:pt x="2817" y="5123"/>
                  </a:lnTo>
                  <a:lnTo>
                    <a:pt x="2731" y="5139"/>
                  </a:lnTo>
                  <a:lnTo>
                    <a:pt x="2645" y="5153"/>
                  </a:lnTo>
                  <a:lnTo>
                    <a:pt x="2645" y="5153"/>
                  </a:lnTo>
                  <a:close/>
                  <a:moveTo>
                    <a:pt x="2457" y="3241"/>
                  </a:moveTo>
                  <a:lnTo>
                    <a:pt x="2457" y="3241"/>
                  </a:lnTo>
                  <a:lnTo>
                    <a:pt x="2517" y="3231"/>
                  </a:lnTo>
                  <a:lnTo>
                    <a:pt x="2575" y="3221"/>
                  </a:lnTo>
                  <a:lnTo>
                    <a:pt x="2633" y="3210"/>
                  </a:lnTo>
                  <a:lnTo>
                    <a:pt x="2689" y="3198"/>
                  </a:lnTo>
                  <a:lnTo>
                    <a:pt x="2743" y="3184"/>
                  </a:lnTo>
                  <a:lnTo>
                    <a:pt x="2796" y="3170"/>
                  </a:lnTo>
                  <a:lnTo>
                    <a:pt x="2847" y="3154"/>
                  </a:lnTo>
                  <a:lnTo>
                    <a:pt x="2897" y="3139"/>
                  </a:lnTo>
                  <a:lnTo>
                    <a:pt x="2944" y="3122"/>
                  </a:lnTo>
                  <a:lnTo>
                    <a:pt x="2991" y="3103"/>
                  </a:lnTo>
                  <a:lnTo>
                    <a:pt x="3035" y="3084"/>
                  </a:lnTo>
                  <a:lnTo>
                    <a:pt x="3077" y="3066"/>
                  </a:lnTo>
                  <a:lnTo>
                    <a:pt x="3118" y="3045"/>
                  </a:lnTo>
                  <a:lnTo>
                    <a:pt x="3157" y="3024"/>
                  </a:lnTo>
                  <a:lnTo>
                    <a:pt x="3193" y="3002"/>
                  </a:lnTo>
                  <a:lnTo>
                    <a:pt x="3227" y="2979"/>
                  </a:lnTo>
                  <a:lnTo>
                    <a:pt x="3227" y="2979"/>
                  </a:lnTo>
                  <a:lnTo>
                    <a:pt x="3493" y="3895"/>
                  </a:lnTo>
                  <a:lnTo>
                    <a:pt x="3493" y="3895"/>
                  </a:lnTo>
                  <a:lnTo>
                    <a:pt x="3453" y="3923"/>
                  </a:lnTo>
                  <a:lnTo>
                    <a:pt x="3409" y="3951"/>
                  </a:lnTo>
                  <a:lnTo>
                    <a:pt x="3363" y="3977"/>
                  </a:lnTo>
                  <a:lnTo>
                    <a:pt x="3315" y="4003"/>
                  </a:lnTo>
                  <a:lnTo>
                    <a:pt x="3263" y="4027"/>
                  </a:lnTo>
                  <a:lnTo>
                    <a:pt x="3208" y="4051"/>
                  </a:lnTo>
                  <a:lnTo>
                    <a:pt x="3152" y="4074"/>
                  </a:lnTo>
                  <a:lnTo>
                    <a:pt x="3094" y="4095"/>
                  </a:lnTo>
                  <a:lnTo>
                    <a:pt x="3034" y="4116"/>
                  </a:lnTo>
                  <a:lnTo>
                    <a:pt x="2970" y="4136"/>
                  </a:lnTo>
                  <a:lnTo>
                    <a:pt x="2906" y="4153"/>
                  </a:lnTo>
                  <a:lnTo>
                    <a:pt x="2838" y="4170"/>
                  </a:lnTo>
                  <a:lnTo>
                    <a:pt x="2770" y="4186"/>
                  </a:lnTo>
                  <a:lnTo>
                    <a:pt x="2700" y="4200"/>
                  </a:lnTo>
                  <a:lnTo>
                    <a:pt x="2627" y="4213"/>
                  </a:lnTo>
                  <a:lnTo>
                    <a:pt x="2554" y="4224"/>
                  </a:lnTo>
                  <a:lnTo>
                    <a:pt x="2554" y="4224"/>
                  </a:lnTo>
                  <a:lnTo>
                    <a:pt x="2457" y="3241"/>
                  </a:lnTo>
                  <a:lnTo>
                    <a:pt x="2457" y="3241"/>
                  </a:lnTo>
                  <a:close/>
                  <a:moveTo>
                    <a:pt x="2270" y="1323"/>
                  </a:moveTo>
                  <a:lnTo>
                    <a:pt x="2270" y="1323"/>
                  </a:lnTo>
                  <a:lnTo>
                    <a:pt x="2333" y="1314"/>
                  </a:lnTo>
                  <a:lnTo>
                    <a:pt x="2394" y="1304"/>
                  </a:lnTo>
                  <a:lnTo>
                    <a:pt x="2454" y="1291"/>
                  </a:lnTo>
                  <a:lnTo>
                    <a:pt x="2511" y="1277"/>
                  </a:lnTo>
                  <a:lnTo>
                    <a:pt x="2565" y="1261"/>
                  </a:lnTo>
                  <a:lnTo>
                    <a:pt x="2617" y="1244"/>
                  </a:lnTo>
                  <a:lnTo>
                    <a:pt x="2666" y="1226"/>
                  </a:lnTo>
                  <a:lnTo>
                    <a:pt x="2712" y="1206"/>
                  </a:lnTo>
                  <a:lnTo>
                    <a:pt x="2712" y="1206"/>
                  </a:lnTo>
                  <a:lnTo>
                    <a:pt x="2976" y="2116"/>
                  </a:lnTo>
                  <a:lnTo>
                    <a:pt x="2976" y="2116"/>
                  </a:lnTo>
                  <a:lnTo>
                    <a:pt x="2949" y="2133"/>
                  </a:lnTo>
                  <a:lnTo>
                    <a:pt x="2919" y="2150"/>
                  </a:lnTo>
                  <a:lnTo>
                    <a:pt x="2888" y="2166"/>
                  </a:lnTo>
                  <a:lnTo>
                    <a:pt x="2856" y="2182"/>
                  </a:lnTo>
                  <a:lnTo>
                    <a:pt x="2822" y="2197"/>
                  </a:lnTo>
                  <a:lnTo>
                    <a:pt x="2786" y="2211"/>
                  </a:lnTo>
                  <a:lnTo>
                    <a:pt x="2750" y="2225"/>
                  </a:lnTo>
                  <a:lnTo>
                    <a:pt x="2713" y="2238"/>
                  </a:lnTo>
                  <a:lnTo>
                    <a:pt x="2673" y="2251"/>
                  </a:lnTo>
                  <a:lnTo>
                    <a:pt x="2633" y="2262"/>
                  </a:lnTo>
                  <a:lnTo>
                    <a:pt x="2591" y="2274"/>
                  </a:lnTo>
                  <a:lnTo>
                    <a:pt x="2548" y="2284"/>
                  </a:lnTo>
                  <a:lnTo>
                    <a:pt x="2505" y="2294"/>
                  </a:lnTo>
                  <a:lnTo>
                    <a:pt x="2459" y="2302"/>
                  </a:lnTo>
                  <a:lnTo>
                    <a:pt x="2413" y="2310"/>
                  </a:lnTo>
                  <a:lnTo>
                    <a:pt x="2366" y="2316"/>
                  </a:lnTo>
                  <a:lnTo>
                    <a:pt x="2366" y="2316"/>
                  </a:lnTo>
                  <a:lnTo>
                    <a:pt x="2270" y="1323"/>
                  </a:lnTo>
                  <a:lnTo>
                    <a:pt x="2270" y="1323"/>
                  </a:lnTo>
                  <a:close/>
                  <a:moveTo>
                    <a:pt x="2216" y="8"/>
                  </a:moveTo>
                  <a:lnTo>
                    <a:pt x="2216" y="8"/>
                  </a:lnTo>
                  <a:lnTo>
                    <a:pt x="2231" y="3"/>
                  </a:lnTo>
                  <a:lnTo>
                    <a:pt x="2246" y="1"/>
                  </a:lnTo>
                  <a:lnTo>
                    <a:pt x="2261" y="0"/>
                  </a:lnTo>
                  <a:lnTo>
                    <a:pt x="2276" y="1"/>
                  </a:lnTo>
                  <a:lnTo>
                    <a:pt x="2289" y="3"/>
                  </a:lnTo>
                  <a:lnTo>
                    <a:pt x="2304" y="8"/>
                  </a:lnTo>
                  <a:lnTo>
                    <a:pt x="2316" y="13"/>
                  </a:lnTo>
                  <a:lnTo>
                    <a:pt x="2330" y="20"/>
                  </a:lnTo>
                  <a:lnTo>
                    <a:pt x="2341" y="28"/>
                  </a:lnTo>
                  <a:lnTo>
                    <a:pt x="2353" y="40"/>
                  </a:lnTo>
                  <a:lnTo>
                    <a:pt x="2364" y="51"/>
                  </a:lnTo>
                  <a:lnTo>
                    <a:pt x="2374" y="66"/>
                  </a:lnTo>
                  <a:lnTo>
                    <a:pt x="2383" y="81"/>
                  </a:lnTo>
                  <a:lnTo>
                    <a:pt x="2391" y="99"/>
                  </a:lnTo>
                  <a:lnTo>
                    <a:pt x="2398" y="118"/>
                  </a:lnTo>
                  <a:lnTo>
                    <a:pt x="2404" y="140"/>
                  </a:lnTo>
                  <a:lnTo>
                    <a:pt x="2404" y="140"/>
                  </a:lnTo>
                  <a:lnTo>
                    <a:pt x="2449" y="298"/>
                  </a:lnTo>
                  <a:lnTo>
                    <a:pt x="2449" y="298"/>
                  </a:lnTo>
                  <a:lnTo>
                    <a:pt x="2421" y="311"/>
                  </a:lnTo>
                  <a:lnTo>
                    <a:pt x="2392" y="323"/>
                  </a:lnTo>
                  <a:lnTo>
                    <a:pt x="2360" y="335"/>
                  </a:lnTo>
                  <a:lnTo>
                    <a:pt x="2327" y="345"/>
                  </a:lnTo>
                  <a:lnTo>
                    <a:pt x="2293" y="354"/>
                  </a:lnTo>
                  <a:lnTo>
                    <a:pt x="2255" y="363"/>
                  </a:lnTo>
                  <a:lnTo>
                    <a:pt x="2217" y="370"/>
                  </a:lnTo>
                  <a:lnTo>
                    <a:pt x="2177" y="376"/>
                  </a:lnTo>
                  <a:lnTo>
                    <a:pt x="2177" y="376"/>
                  </a:lnTo>
                  <a:lnTo>
                    <a:pt x="2168" y="276"/>
                  </a:lnTo>
                  <a:lnTo>
                    <a:pt x="2168" y="276"/>
                  </a:lnTo>
                  <a:lnTo>
                    <a:pt x="2165" y="237"/>
                  </a:lnTo>
                  <a:lnTo>
                    <a:pt x="2162" y="195"/>
                  </a:lnTo>
                  <a:lnTo>
                    <a:pt x="2158" y="154"/>
                  </a:lnTo>
                  <a:lnTo>
                    <a:pt x="2157" y="134"/>
                  </a:lnTo>
                  <a:lnTo>
                    <a:pt x="2158" y="114"/>
                  </a:lnTo>
                  <a:lnTo>
                    <a:pt x="2159" y="95"/>
                  </a:lnTo>
                  <a:lnTo>
                    <a:pt x="2163" y="77"/>
                  </a:lnTo>
                  <a:lnTo>
                    <a:pt x="2167" y="62"/>
                  </a:lnTo>
                  <a:lnTo>
                    <a:pt x="2172" y="47"/>
                  </a:lnTo>
                  <a:lnTo>
                    <a:pt x="2176" y="40"/>
                  </a:lnTo>
                  <a:lnTo>
                    <a:pt x="2180" y="34"/>
                  </a:lnTo>
                  <a:lnTo>
                    <a:pt x="2184" y="28"/>
                  </a:lnTo>
                  <a:lnTo>
                    <a:pt x="2190" y="23"/>
                  </a:lnTo>
                  <a:lnTo>
                    <a:pt x="2195" y="18"/>
                  </a:lnTo>
                  <a:lnTo>
                    <a:pt x="2201" y="14"/>
                  </a:lnTo>
                  <a:lnTo>
                    <a:pt x="2208" y="11"/>
                  </a:lnTo>
                  <a:lnTo>
                    <a:pt x="2216" y="8"/>
                  </a:lnTo>
                  <a:lnTo>
                    <a:pt x="2216" y="8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3" name="Freeform 78"/>
            <p:cNvSpPr>
              <a:spLocks/>
            </p:cNvSpPr>
            <p:nvPr/>
          </p:nvSpPr>
          <p:spPr bwMode="auto">
            <a:xfrm flipH="1">
              <a:off x="7033339" y="2110170"/>
              <a:ext cx="99337" cy="147051"/>
            </a:xfrm>
            <a:custGeom>
              <a:avLst/>
              <a:gdLst>
                <a:gd name="T0" fmla="*/ 272 w 535"/>
                <a:gd name="T1" fmla="*/ 0 h 1025"/>
                <a:gd name="T2" fmla="*/ 272 w 535"/>
                <a:gd name="T3" fmla="*/ 0 h 1025"/>
                <a:gd name="T4" fmla="*/ 535 w 535"/>
                <a:gd name="T5" fmla="*/ 908 h 1025"/>
                <a:gd name="T6" fmla="*/ 535 w 535"/>
                <a:gd name="T7" fmla="*/ 908 h 1025"/>
                <a:gd name="T8" fmla="*/ 489 w 535"/>
                <a:gd name="T9" fmla="*/ 928 h 1025"/>
                <a:gd name="T10" fmla="*/ 440 w 535"/>
                <a:gd name="T11" fmla="*/ 946 h 1025"/>
                <a:gd name="T12" fmla="*/ 388 w 535"/>
                <a:gd name="T13" fmla="*/ 963 h 1025"/>
                <a:gd name="T14" fmla="*/ 334 w 535"/>
                <a:gd name="T15" fmla="*/ 979 h 1025"/>
                <a:gd name="T16" fmla="*/ 277 w 535"/>
                <a:gd name="T17" fmla="*/ 993 h 1025"/>
                <a:gd name="T18" fmla="*/ 217 w 535"/>
                <a:gd name="T19" fmla="*/ 1006 h 1025"/>
                <a:gd name="T20" fmla="*/ 156 w 535"/>
                <a:gd name="T21" fmla="*/ 1016 h 1025"/>
                <a:gd name="T22" fmla="*/ 93 w 535"/>
                <a:gd name="T23" fmla="*/ 1025 h 1025"/>
                <a:gd name="T24" fmla="*/ 93 w 535"/>
                <a:gd name="T25" fmla="*/ 1025 h 1025"/>
                <a:gd name="T26" fmla="*/ 0 w 535"/>
                <a:gd name="T27" fmla="*/ 78 h 1025"/>
                <a:gd name="T28" fmla="*/ 0 w 535"/>
                <a:gd name="T29" fmla="*/ 78 h 1025"/>
                <a:gd name="T30" fmla="*/ 40 w 535"/>
                <a:gd name="T31" fmla="*/ 72 h 1025"/>
                <a:gd name="T32" fmla="*/ 78 w 535"/>
                <a:gd name="T33" fmla="*/ 65 h 1025"/>
                <a:gd name="T34" fmla="*/ 116 w 535"/>
                <a:gd name="T35" fmla="*/ 56 h 1025"/>
                <a:gd name="T36" fmla="*/ 150 w 535"/>
                <a:gd name="T37" fmla="*/ 47 h 1025"/>
                <a:gd name="T38" fmla="*/ 183 w 535"/>
                <a:gd name="T39" fmla="*/ 37 h 1025"/>
                <a:gd name="T40" fmla="*/ 215 w 535"/>
                <a:gd name="T41" fmla="*/ 25 h 1025"/>
                <a:gd name="T42" fmla="*/ 244 w 535"/>
                <a:gd name="T43" fmla="*/ 13 h 1025"/>
                <a:gd name="T44" fmla="*/ 272 w 535"/>
                <a:gd name="T45" fmla="*/ 0 h 1025"/>
                <a:gd name="T46" fmla="*/ 272 w 535"/>
                <a:gd name="T47" fmla="*/ 0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5" h="1025">
                  <a:moveTo>
                    <a:pt x="272" y="0"/>
                  </a:moveTo>
                  <a:lnTo>
                    <a:pt x="272" y="0"/>
                  </a:lnTo>
                  <a:lnTo>
                    <a:pt x="535" y="908"/>
                  </a:lnTo>
                  <a:lnTo>
                    <a:pt x="535" y="908"/>
                  </a:lnTo>
                  <a:lnTo>
                    <a:pt x="489" y="928"/>
                  </a:lnTo>
                  <a:lnTo>
                    <a:pt x="440" y="946"/>
                  </a:lnTo>
                  <a:lnTo>
                    <a:pt x="388" y="963"/>
                  </a:lnTo>
                  <a:lnTo>
                    <a:pt x="334" y="979"/>
                  </a:lnTo>
                  <a:lnTo>
                    <a:pt x="277" y="993"/>
                  </a:lnTo>
                  <a:lnTo>
                    <a:pt x="217" y="1006"/>
                  </a:lnTo>
                  <a:lnTo>
                    <a:pt x="156" y="1016"/>
                  </a:lnTo>
                  <a:lnTo>
                    <a:pt x="93" y="1025"/>
                  </a:lnTo>
                  <a:lnTo>
                    <a:pt x="93" y="102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0" y="72"/>
                  </a:lnTo>
                  <a:lnTo>
                    <a:pt x="78" y="65"/>
                  </a:lnTo>
                  <a:lnTo>
                    <a:pt x="116" y="56"/>
                  </a:lnTo>
                  <a:lnTo>
                    <a:pt x="150" y="47"/>
                  </a:lnTo>
                  <a:lnTo>
                    <a:pt x="183" y="37"/>
                  </a:lnTo>
                  <a:lnTo>
                    <a:pt x="215" y="25"/>
                  </a:lnTo>
                  <a:lnTo>
                    <a:pt x="244" y="13"/>
                  </a:lnTo>
                  <a:lnTo>
                    <a:pt x="272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4" name="Freeform 79"/>
            <p:cNvSpPr>
              <a:spLocks noEditPoints="1"/>
            </p:cNvSpPr>
            <p:nvPr/>
          </p:nvSpPr>
          <p:spPr bwMode="auto">
            <a:xfrm flipH="1">
              <a:off x="6843696" y="2110170"/>
              <a:ext cx="634724" cy="696555"/>
            </a:xfrm>
            <a:custGeom>
              <a:avLst/>
              <a:gdLst>
                <a:gd name="T0" fmla="*/ 612 w 3445"/>
                <a:gd name="T1" fmla="*/ 2761 h 4855"/>
                <a:gd name="T2" fmla="*/ 711 w 3445"/>
                <a:gd name="T3" fmla="*/ 2805 h 4855"/>
                <a:gd name="T4" fmla="*/ 806 w 3445"/>
                <a:gd name="T5" fmla="*/ 2430 h 4855"/>
                <a:gd name="T6" fmla="*/ 817 w 3445"/>
                <a:gd name="T7" fmla="*/ 2381 h 4855"/>
                <a:gd name="T8" fmla="*/ 821 w 3445"/>
                <a:gd name="T9" fmla="*/ 2341 h 4855"/>
                <a:gd name="T10" fmla="*/ 818 w 3445"/>
                <a:gd name="T11" fmla="*/ 2313 h 4855"/>
                <a:gd name="T12" fmla="*/ 810 w 3445"/>
                <a:gd name="T13" fmla="*/ 2295 h 4855"/>
                <a:gd name="T14" fmla="*/ 798 w 3445"/>
                <a:gd name="T15" fmla="*/ 2285 h 4855"/>
                <a:gd name="T16" fmla="*/ 782 w 3445"/>
                <a:gd name="T17" fmla="*/ 2285 h 4855"/>
                <a:gd name="T18" fmla="*/ 765 w 3445"/>
                <a:gd name="T19" fmla="*/ 2294 h 4855"/>
                <a:gd name="T20" fmla="*/ 746 w 3445"/>
                <a:gd name="T21" fmla="*/ 2310 h 4855"/>
                <a:gd name="T22" fmla="*/ 711 w 3445"/>
                <a:gd name="T23" fmla="*/ 2369 h 4855"/>
                <a:gd name="T24" fmla="*/ 661 w 3445"/>
                <a:gd name="T25" fmla="*/ 2509 h 4855"/>
                <a:gd name="T26" fmla="*/ 474 w 3445"/>
                <a:gd name="T27" fmla="*/ 3749 h 4855"/>
                <a:gd name="T28" fmla="*/ 251 w 3445"/>
                <a:gd name="T29" fmla="*/ 4639 h 4855"/>
                <a:gd name="T30" fmla="*/ 149 w 3445"/>
                <a:gd name="T31" fmla="*/ 4590 h 4855"/>
                <a:gd name="T32" fmla="*/ 57 w 3445"/>
                <a:gd name="T33" fmla="*/ 4539 h 4855"/>
                <a:gd name="T34" fmla="*/ 0 w 3445"/>
                <a:gd name="T35" fmla="*/ 4503 h 4855"/>
                <a:gd name="T36" fmla="*/ 326 w 3445"/>
                <a:gd name="T37" fmla="*/ 3677 h 4855"/>
                <a:gd name="T38" fmla="*/ 474 w 3445"/>
                <a:gd name="T39" fmla="*/ 3749 h 4855"/>
                <a:gd name="T40" fmla="*/ 2156 w 3445"/>
                <a:gd name="T41" fmla="*/ 2943 h 4855"/>
                <a:gd name="T42" fmla="*/ 2332 w 3445"/>
                <a:gd name="T43" fmla="*/ 2912 h 4855"/>
                <a:gd name="T44" fmla="*/ 2495 w 3445"/>
                <a:gd name="T45" fmla="*/ 2872 h 4855"/>
                <a:gd name="T46" fmla="*/ 2643 w 3445"/>
                <a:gd name="T47" fmla="*/ 2824 h 4855"/>
                <a:gd name="T48" fmla="*/ 2776 w 3445"/>
                <a:gd name="T49" fmla="*/ 2768 h 4855"/>
                <a:gd name="T50" fmla="*/ 2892 w 3445"/>
                <a:gd name="T51" fmla="*/ 2704 h 4855"/>
                <a:gd name="T52" fmla="*/ 2675 w 3445"/>
                <a:gd name="T53" fmla="*/ 1818 h 4855"/>
                <a:gd name="T54" fmla="*/ 2618 w 3445"/>
                <a:gd name="T55" fmla="*/ 1852 h 4855"/>
                <a:gd name="T56" fmla="*/ 2521 w 3445"/>
                <a:gd name="T57" fmla="*/ 1899 h 4855"/>
                <a:gd name="T58" fmla="*/ 2412 w 3445"/>
                <a:gd name="T59" fmla="*/ 1940 h 4855"/>
                <a:gd name="T60" fmla="*/ 2290 w 3445"/>
                <a:gd name="T61" fmla="*/ 1976 h 4855"/>
                <a:gd name="T62" fmla="*/ 2158 w 3445"/>
                <a:gd name="T63" fmla="*/ 2004 h 4855"/>
                <a:gd name="T64" fmla="*/ 2065 w 3445"/>
                <a:gd name="T65" fmla="*/ 2018 h 4855"/>
                <a:gd name="T66" fmla="*/ 3192 w 3445"/>
                <a:gd name="T67" fmla="*/ 3597 h 4855"/>
                <a:gd name="T68" fmla="*/ 3445 w 3445"/>
                <a:gd name="T69" fmla="*/ 4466 h 4855"/>
                <a:gd name="T70" fmla="*/ 3373 w 3445"/>
                <a:gd name="T71" fmla="*/ 4516 h 4855"/>
                <a:gd name="T72" fmla="*/ 3293 w 3445"/>
                <a:gd name="T73" fmla="*/ 4564 h 4855"/>
                <a:gd name="T74" fmla="*/ 3113 w 3445"/>
                <a:gd name="T75" fmla="*/ 4650 h 4855"/>
                <a:gd name="T76" fmla="*/ 2907 w 3445"/>
                <a:gd name="T77" fmla="*/ 4726 h 4855"/>
                <a:gd name="T78" fmla="*/ 2679 w 3445"/>
                <a:gd name="T79" fmla="*/ 4791 h 4855"/>
                <a:gd name="T80" fmla="*/ 2430 w 3445"/>
                <a:gd name="T81" fmla="*/ 4841 h 4855"/>
                <a:gd name="T82" fmla="*/ 2253 w 3445"/>
                <a:gd name="T83" fmla="*/ 3926 h 4855"/>
                <a:gd name="T84" fmla="*/ 2399 w 3445"/>
                <a:gd name="T85" fmla="*/ 3902 h 4855"/>
                <a:gd name="T86" fmla="*/ 2605 w 3445"/>
                <a:gd name="T87" fmla="*/ 3855 h 4855"/>
                <a:gd name="T88" fmla="*/ 2793 w 3445"/>
                <a:gd name="T89" fmla="*/ 3797 h 4855"/>
                <a:gd name="T90" fmla="*/ 2962 w 3445"/>
                <a:gd name="T91" fmla="*/ 3729 h 4855"/>
                <a:gd name="T92" fmla="*/ 3108 w 3445"/>
                <a:gd name="T93" fmla="*/ 3653 h 4855"/>
                <a:gd name="T94" fmla="*/ 3192 w 3445"/>
                <a:gd name="T95" fmla="*/ 3597 h 4855"/>
                <a:gd name="T96" fmla="*/ 2411 w 3445"/>
                <a:gd name="T97" fmla="*/ 908 h 4855"/>
                <a:gd name="T98" fmla="*/ 2316 w 3445"/>
                <a:gd name="T99" fmla="*/ 946 h 4855"/>
                <a:gd name="T100" fmla="*/ 2153 w 3445"/>
                <a:gd name="T101" fmla="*/ 993 h 4855"/>
                <a:gd name="T102" fmla="*/ 1969 w 3445"/>
                <a:gd name="T103" fmla="*/ 1025 h 4855"/>
                <a:gd name="T104" fmla="*/ 1876 w 3445"/>
                <a:gd name="T105" fmla="*/ 78 h 4855"/>
                <a:gd name="T106" fmla="*/ 1992 w 3445"/>
                <a:gd name="T107" fmla="*/ 56 h 4855"/>
                <a:gd name="T108" fmla="*/ 2091 w 3445"/>
                <a:gd name="T109" fmla="*/ 25 h 4855"/>
                <a:gd name="T110" fmla="*/ 2148 w 3445"/>
                <a:gd name="T111" fmla="*/ 0 h 4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45" h="4855">
                  <a:moveTo>
                    <a:pt x="582" y="2746"/>
                  </a:moveTo>
                  <a:lnTo>
                    <a:pt x="582" y="2746"/>
                  </a:lnTo>
                  <a:lnTo>
                    <a:pt x="612" y="2761"/>
                  </a:lnTo>
                  <a:lnTo>
                    <a:pt x="644" y="2776"/>
                  </a:lnTo>
                  <a:lnTo>
                    <a:pt x="676" y="2791"/>
                  </a:lnTo>
                  <a:lnTo>
                    <a:pt x="711" y="2805"/>
                  </a:lnTo>
                  <a:lnTo>
                    <a:pt x="711" y="2805"/>
                  </a:lnTo>
                  <a:lnTo>
                    <a:pt x="773" y="2557"/>
                  </a:lnTo>
                  <a:lnTo>
                    <a:pt x="806" y="2430"/>
                  </a:lnTo>
                  <a:lnTo>
                    <a:pt x="806" y="2430"/>
                  </a:lnTo>
                  <a:lnTo>
                    <a:pt x="815" y="2396"/>
                  </a:lnTo>
                  <a:lnTo>
                    <a:pt x="817" y="2381"/>
                  </a:lnTo>
                  <a:lnTo>
                    <a:pt x="819" y="2366"/>
                  </a:lnTo>
                  <a:lnTo>
                    <a:pt x="820" y="2354"/>
                  </a:lnTo>
                  <a:lnTo>
                    <a:pt x="821" y="2341"/>
                  </a:lnTo>
                  <a:lnTo>
                    <a:pt x="820" y="2331"/>
                  </a:lnTo>
                  <a:lnTo>
                    <a:pt x="820" y="2322"/>
                  </a:lnTo>
                  <a:lnTo>
                    <a:pt x="818" y="2313"/>
                  </a:lnTo>
                  <a:lnTo>
                    <a:pt x="816" y="2306"/>
                  </a:lnTo>
                  <a:lnTo>
                    <a:pt x="813" y="2300"/>
                  </a:lnTo>
                  <a:lnTo>
                    <a:pt x="810" y="2295"/>
                  </a:lnTo>
                  <a:lnTo>
                    <a:pt x="806" y="2290"/>
                  </a:lnTo>
                  <a:lnTo>
                    <a:pt x="802" y="2287"/>
                  </a:lnTo>
                  <a:lnTo>
                    <a:pt x="798" y="2285"/>
                  </a:lnTo>
                  <a:lnTo>
                    <a:pt x="793" y="2284"/>
                  </a:lnTo>
                  <a:lnTo>
                    <a:pt x="788" y="2284"/>
                  </a:lnTo>
                  <a:lnTo>
                    <a:pt x="782" y="2285"/>
                  </a:lnTo>
                  <a:lnTo>
                    <a:pt x="776" y="2286"/>
                  </a:lnTo>
                  <a:lnTo>
                    <a:pt x="771" y="2289"/>
                  </a:lnTo>
                  <a:lnTo>
                    <a:pt x="765" y="2294"/>
                  </a:lnTo>
                  <a:lnTo>
                    <a:pt x="759" y="2298"/>
                  </a:lnTo>
                  <a:lnTo>
                    <a:pt x="752" y="2304"/>
                  </a:lnTo>
                  <a:lnTo>
                    <a:pt x="746" y="2310"/>
                  </a:lnTo>
                  <a:lnTo>
                    <a:pt x="734" y="2327"/>
                  </a:lnTo>
                  <a:lnTo>
                    <a:pt x="722" y="2346"/>
                  </a:lnTo>
                  <a:lnTo>
                    <a:pt x="711" y="2369"/>
                  </a:lnTo>
                  <a:lnTo>
                    <a:pt x="700" y="2395"/>
                  </a:lnTo>
                  <a:lnTo>
                    <a:pt x="700" y="2395"/>
                  </a:lnTo>
                  <a:lnTo>
                    <a:pt x="661" y="2509"/>
                  </a:lnTo>
                  <a:lnTo>
                    <a:pt x="582" y="2746"/>
                  </a:lnTo>
                  <a:lnTo>
                    <a:pt x="582" y="2746"/>
                  </a:lnTo>
                  <a:close/>
                  <a:moveTo>
                    <a:pt x="474" y="3749"/>
                  </a:moveTo>
                  <a:lnTo>
                    <a:pt x="474" y="3749"/>
                  </a:lnTo>
                  <a:lnTo>
                    <a:pt x="251" y="4639"/>
                  </a:lnTo>
                  <a:lnTo>
                    <a:pt x="251" y="4639"/>
                  </a:lnTo>
                  <a:lnTo>
                    <a:pt x="216" y="4623"/>
                  </a:lnTo>
                  <a:lnTo>
                    <a:pt x="183" y="4607"/>
                  </a:lnTo>
                  <a:lnTo>
                    <a:pt x="149" y="4590"/>
                  </a:lnTo>
                  <a:lnTo>
                    <a:pt x="117" y="4573"/>
                  </a:lnTo>
                  <a:lnTo>
                    <a:pt x="87" y="4557"/>
                  </a:lnTo>
                  <a:lnTo>
                    <a:pt x="57" y="4539"/>
                  </a:lnTo>
                  <a:lnTo>
                    <a:pt x="28" y="4521"/>
                  </a:lnTo>
                  <a:lnTo>
                    <a:pt x="0" y="4503"/>
                  </a:lnTo>
                  <a:lnTo>
                    <a:pt x="0" y="4503"/>
                  </a:lnTo>
                  <a:lnTo>
                    <a:pt x="281" y="3651"/>
                  </a:lnTo>
                  <a:lnTo>
                    <a:pt x="281" y="3651"/>
                  </a:lnTo>
                  <a:lnTo>
                    <a:pt x="326" y="3677"/>
                  </a:lnTo>
                  <a:lnTo>
                    <a:pt x="373" y="3702"/>
                  </a:lnTo>
                  <a:lnTo>
                    <a:pt x="422" y="3726"/>
                  </a:lnTo>
                  <a:lnTo>
                    <a:pt x="474" y="3749"/>
                  </a:lnTo>
                  <a:lnTo>
                    <a:pt x="474" y="3749"/>
                  </a:lnTo>
                  <a:close/>
                  <a:moveTo>
                    <a:pt x="2156" y="2943"/>
                  </a:moveTo>
                  <a:lnTo>
                    <a:pt x="2156" y="2943"/>
                  </a:lnTo>
                  <a:lnTo>
                    <a:pt x="2216" y="2933"/>
                  </a:lnTo>
                  <a:lnTo>
                    <a:pt x="2274" y="2923"/>
                  </a:lnTo>
                  <a:lnTo>
                    <a:pt x="2332" y="2912"/>
                  </a:lnTo>
                  <a:lnTo>
                    <a:pt x="2388" y="2900"/>
                  </a:lnTo>
                  <a:lnTo>
                    <a:pt x="2442" y="2886"/>
                  </a:lnTo>
                  <a:lnTo>
                    <a:pt x="2495" y="2872"/>
                  </a:lnTo>
                  <a:lnTo>
                    <a:pt x="2546" y="2856"/>
                  </a:lnTo>
                  <a:lnTo>
                    <a:pt x="2596" y="2841"/>
                  </a:lnTo>
                  <a:lnTo>
                    <a:pt x="2643" y="2824"/>
                  </a:lnTo>
                  <a:lnTo>
                    <a:pt x="2690" y="2805"/>
                  </a:lnTo>
                  <a:lnTo>
                    <a:pt x="2734" y="2786"/>
                  </a:lnTo>
                  <a:lnTo>
                    <a:pt x="2776" y="2768"/>
                  </a:lnTo>
                  <a:lnTo>
                    <a:pt x="2817" y="2747"/>
                  </a:lnTo>
                  <a:lnTo>
                    <a:pt x="2856" y="2726"/>
                  </a:lnTo>
                  <a:lnTo>
                    <a:pt x="2892" y="2704"/>
                  </a:lnTo>
                  <a:lnTo>
                    <a:pt x="2926" y="2681"/>
                  </a:lnTo>
                  <a:lnTo>
                    <a:pt x="2926" y="2681"/>
                  </a:lnTo>
                  <a:lnTo>
                    <a:pt x="2675" y="1818"/>
                  </a:lnTo>
                  <a:lnTo>
                    <a:pt x="2675" y="1818"/>
                  </a:lnTo>
                  <a:lnTo>
                    <a:pt x="2648" y="1835"/>
                  </a:lnTo>
                  <a:lnTo>
                    <a:pt x="2618" y="1852"/>
                  </a:lnTo>
                  <a:lnTo>
                    <a:pt x="2587" y="1868"/>
                  </a:lnTo>
                  <a:lnTo>
                    <a:pt x="2555" y="1884"/>
                  </a:lnTo>
                  <a:lnTo>
                    <a:pt x="2521" y="1899"/>
                  </a:lnTo>
                  <a:lnTo>
                    <a:pt x="2485" y="1913"/>
                  </a:lnTo>
                  <a:lnTo>
                    <a:pt x="2449" y="1927"/>
                  </a:lnTo>
                  <a:lnTo>
                    <a:pt x="2412" y="1940"/>
                  </a:lnTo>
                  <a:lnTo>
                    <a:pt x="2372" y="1953"/>
                  </a:lnTo>
                  <a:lnTo>
                    <a:pt x="2332" y="1964"/>
                  </a:lnTo>
                  <a:lnTo>
                    <a:pt x="2290" y="1976"/>
                  </a:lnTo>
                  <a:lnTo>
                    <a:pt x="2247" y="1986"/>
                  </a:lnTo>
                  <a:lnTo>
                    <a:pt x="2204" y="1996"/>
                  </a:lnTo>
                  <a:lnTo>
                    <a:pt x="2158" y="2004"/>
                  </a:lnTo>
                  <a:lnTo>
                    <a:pt x="2112" y="2012"/>
                  </a:lnTo>
                  <a:lnTo>
                    <a:pt x="2065" y="2018"/>
                  </a:lnTo>
                  <a:lnTo>
                    <a:pt x="2065" y="2018"/>
                  </a:lnTo>
                  <a:lnTo>
                    <a:pt x="2156" y="2943"/>
                  </a:lnTo>
                  <a:lnTo>
                    <a:pt x="2156" y="2943"/>
                  </a:lnTo>
                  <a:close/>
                  <a:moveTo>
                    <a:pt x="3192" y="3597"/>
                  </a:moveTo>
                  <a:lnTo>
                    <a:pt x="3192" y="3597"/>
                  </a:lnTo>
                  <a:lnTo>
                    <a:pt x="3445" y="4466"/>
                  </a:lnTo>
                  <a:lnTo>
                    <a:pt x="3445" y="4466"/>
                  </a:lnTo>
                  <a:lnTo>
                    <a:pt x="3422" y="4484"/>
                  </a:lnTo>
                  <a:lnTo>
                    <a:pt x="3398" y="4500"/>
                  </a:lnTo>
                  <a:lnTo>
                    <a:pt x="3373" y="4516"/>
                  </a:lnTo>
                  <a:lnTo>
                    <a:pt x="3347" y="4533"/>
                  </a:lnTo>
                  <a:lnTo>
                    <a:pt x="3320" y="4548"/>
                  </a:lnTo>
                  <a:lnTo>
                    <a:pt x="3293" y="4564"/>
                  </a:lnTo>
                  <a:lnTo>
                    <a:pt x="3236" y="4594"/>
                  </a:lnTo>
                  <a:lnTo>
                    <a:pt x="3176" y="4623"/>
                  </a:lnTo>
                  <a:lnTo>
                    <a:pt x="3113" y="4650"/>
                  </a:lnTo>
                  <a:lnTo>
                    <a:pt x="3047" y="4678"/>
                  </a:lnTo>
                  <a:lnTo>
                    <a:pt x="2978" y="4703"/>
                  </a:lnTo>
                  <a:lnTo>
                    <a:pt x="2907" y="4726"/>
                  </a:lnTo>
                  <a:lnTo>
                    <a:pt x="2834" y="4749"/>
                  </a:lnTo>
                  <a:lnTo>
                    <a:pt x="2758" y="4771"/>
                  </a:lnTo>
                  <a:lnTo>
                    <a:pt x="2679" y="4791"/>
                  </a:lnTo>
                  <a:lnTo>
                    <a:pt x="2599" y="4809"/>
                  </a:lnTo>
                  <a:lnTo>
                    <a:pt x="2516" y="4825"/>
                  </a:lnTo>
                  <a:lnTo>
                    <a:pt x="2430" y="4841"/>
                  </a:lnTo>
                  <a:lnTo>
                    <a:pt x="2344" y="4855"/>
                  </a:lnTo>
                  <a:lnTo>
                    <a:pt x="2344" y="4855"/>
                  </a:lnTo>
                  <a:lnTo>
                    <a:pt x="2253" y="3926"/>
                  </a:lnTo>
                  <a:lnTo>
                    <a:pt x="2253" y="3926"/>
                  </a:lnTo>
                  <a:lnTo>
                    <a:pt x="2326" y="3915"/>
                  </a:lnTo>
                  <a:lnTo>
                    <a:pt x="2399" y="3902"/>
                  </a:lnTo>
                  <a:lnTo>
                    <a:pt x="2469" y="3888"/>
                  </a:lnTo>
                  <a:lnTo>
                    <a:pt x="2537" y="3872"/>
                  </a:lnTo>
                  <a:lnTo>
                    <a:pt x="2605" y="3855"/>
                  </a:lnTo>
                  <a:lnTo>
                    <a:pt x="2669" y="3838"/>
                  </a:lnTo>
                  <a:lnTo>
                    <a:pt x="2733" y="3818"/>
                  </a:lnTo>
                  <a:lnTo>
                    <a:pt x="2793" y="3797"/>
                  </a:lnTo>
                  <a:lnTo>
                    <a:pt x="2851" y="3776"/>
                  </a:lnTo>
                  <a:lnTo>
                    <a:pt x="2907" y="3753"/>
                  </a:lnTo>
                  <a:lnTo>
                    <a:pt x="2962" y="3729"/>
                  </a:lnTo>
                  <a:lnTo>
                    <a:pt x="3014" y="3705"/>
                  </a:lnTo>
                  <a:lnTo>
                    <a:pt x="3062" y="3679"/>
                  </a:lnTo>
                  <a:lnTo>
                    <a:pt x="3108" y="3653"/>
                  </a:lnTo>
                  <a:lnTo>
                    <a:pt x="3152" y="3625"/>
                  </a:lnTo>
                  <a:lnTo>
                    <a:pt x="3192" y="3597"/>
                  </a:lnTo>
                  <a:lnTo>
                    <a:pt x="3192" y="3597"/>
                  </a:lnTo>
                  <a:close/>
                  <a:moveTo>
                    <a:pt x="2148" y="0"/>
                  </a:moveTo>
                  <a:lnTo>
                    <a:pt x="2148" y="0"/>
                  </a:lnTo>
                  <a:lnTo>
                    <a:pt x="2411" y="908"/>
                  </a:lnTo>
                  <a:lnTo>
                    <a:pt x="2411" y="908"/>
                  </a:lnTo>
                  <a:lnTo>
                    <a:pt x="2365" y="928"/>
                  </a:lnTo>
                  <a:lnTo>
                    <a:pt x="2316" y="946"/>
                  </a:lnTo>
                  <a:lnTo>
                    <a:pt x="2264" y="963"/>
                  </a:lnTo>
                  <a:lnTo>
                    <a:pt x="2210" y="979"/>
                  </a:lnTo>
                  <a:lnTo>
                    <a:pt x="2153" y="993"/>
                  </a:lnTo>
                  <a:lnTo>
                    <a:pt x="2093" y="1006"/>
                  </a:lnTo>
                  <a:lnTo>
                    <a:pt x="2032" y="1016"/>
                  </a:lnTo>
                  <a:lnTo>
                    <a:pt x="1969" y="1025"/>
                  </a:lnTo>
                  <a:lnTo>
                    <a:pt x="1969" y="1025"/>
                  </a:lnTo>
                  <a:lnTo>
                    <a:pt x="1876" y="78"/>
                  </a:lnTo>
                  <a:lnTo>
                    <a:pt x="1876" y="78"/>
                  </a:lnTo>
                  <a:lnTo>
                    <a:pt x="1916" y="72"/>
                  </a:lnTo>
                  <a:lnTo>
                    <a:pt x="1954" y="65"/>
                  </a:lnTo>
                  <a:lnTo>
                    <a:pt x="1992" y="56"/>
                  </a:lnTo>
                  <a:lnTo>
                    <a:pt x="2026" y="47"/>
                  </a:lnTo>
                  <a:lnTo>
                    <a:pt x="2059" y="37"/>
                  </a:lnTo>
                  <a:lnTo>
                    <a:pt x="2091" y="25"/>
                  </a:lnTo>
                  <a:lnTo>
                    <a:pt x="2120" y="13"/>
                  </a:lnTo>
                  <a:lnTo>
                    <a:pt x="2148" y="0"/>
                  </a:lnTo>
                  <a:lnTo>
                    <a:pt x="2148" y="0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5" name="Freeform 80"/>
            <p:cNvSpPr>
              <a:spLocks noEditPoints="1"/>
            </p:cNvSpPr>
            <p:nvPr/>
          </p:nvSpPr>
          <p:spPr bwMode="auto">
            <a:xfrm flipH="1">
              <a:off x="6793383" y="2030195"/>
              <a:ext cx="1063034" cy="1071921"/>
            </a:xfrm>
            <a:custGeom>
              <a:avLst/>
              <a:gdLst>
                <a:gd name="T0" fmla="*/ 3292 w 5765"/>
                <a:gd name="T1" fmla="*/ 6405 h 7478"/>
                <a:gd name="T2" fmla="*/ 2428 w 5765"/>
                <a:gd name="T3" fmla="*/ 6250 h 7478"/>
                <a:gd name="T4" fmla="*/ 1985 w 5765"/>
                <a:gd name="T5" fmla="*/ 6088 h 7478"/>
                <a:gd name="T6" fmla="*/ 1611 w 5765"/>
                <a:gd name="T7" fmla="*/ 5851 h 7478"/>
                <a:gd name="T8" fmla="*/ 1479 w 5765"/>
                <a:gd name="T9" fmla="*/ 5664 h 7478"/>
                <a:gd name="T10" fmla="*/ 1454 w 5765"/>
                <a:gd name="T11" fmla="*/ 5448 h 7478"/>
                <a:gd name="T12" fmla="*/ 79 w 5765"/>
                <a:gd name="T13" fmla="*/ 5569 h 7478"/>
                <a:gd name="T14" fmla="*/ 5 w 5765"/>
                <a:gd name="T15" fmla="*/ 5685 h 7478"/>
                <a:gd name="T16" fmla="*/ 32 w 5765"/>
                <a:gd name="T17" fmla="*/ 5817 h 7478"/>
                <a:gd name="T18" fmla="*/ 3352 w 5765"/>
                <a:gd name="T19" fmla="*/ 7411 h 7478"/>
                <a:gd name="T20" fmla="*/ 3699 w 5765"/>
                <a:gd name="T21" fmla="*/ 7477 h 7478"/>
                <a:gd name="T22" fmla="*/ 1921 w 5765"/>
                <a:gd name="T23" fmla="*/ 4965 h 7478"/>
                <a:gd name="T24" fmla="*/ 1738 w 5765"/>
                <a:gd name="T25" fmla="*/ 4683 h 7478"/>
                <a:gd name="T26" fmla="*/ 2057 w 5765"/>
                <a:gd name="T27" fmla="*/ 3950 h 7478"/>
                <a:gd name="T28" fmla="*/ 2298 w 5765"/>
                <a:gd name="T29" fmla="*/ 4192 h 7478"/>
                <a:gd name="T30" fmla="*/ 2446 w 5765"/>
                <a:gd name="T31" fmla="*/ 5259 h 7478"/>
                <a:gd name="T32" fmla="*/ 3334 w 5765"/>
                <a:gd name="T33" fmla="*/ 5445 h 7478"/>
                <a:gd name="T34" fmla="*/ 4160 w 5765"/>
                <a:gd name="T35" fmla="*/ 5445 h 7478"/>
                <a:gd name="T36" fmla="*/ 4033 w 5765"/>
                <a:gd name="T37" fmla="*/ 4518 h 7478"/>
                <a:gd name="T38" fmla="*/ 3316 w 5765"/>
                <a:gd name="T39" fmla="*/ 4505 h 7478"/>
                <a:gd name="T40" fmla="*/ 2585 w 5765"/>
                <a:gd name="T41" fmla="*/ 4336 h 7478"/>
                <a:gd name="T42" fmla="*/ 5456 w 5765"/>
                <a:gd name="T43" fmla="*/ 3909 h 7478"/>
                <a:gd name="T44" fmla="*/ 5293 w 5765"/>
                <a:gd name="T45" fmla="*/ 4121 h 7478"/>
                <a:gd name="T46" fmla="*/ 5628 w 5765"/>
                <a:gd name="T47" fmla="*/ 4912 h 7478"/>
                <a:gd name="T48" fmla="*/ 5762 w 5765"/>
                <a:gd name="T49" fmla="*/ 4652 h 7478"/>
                <a:gd name="T50" fmla="*/ 4029 w 5765"/>
                <a:gd name="T51" fmla="*/ 2593 h 7478"/>
                <a:gd name="T52" fmla="*/ 3928 w 5765"/>
                <a:gd name="T53" fmla="*/ 3533 h 7478"/>
                <a:gd name="T54" fmla="*/ 3338 w 5765"/>
                <a:gd name="T55" fmla="*/ 3512 h 7478"/>
                <a:gd name="T56" fmla="*/ 2762 w 5765"/>
                <a:gd name="T57" fmla="*/ 3368 h 7478"/>
                <a:gd name="T58" fmla="*/ 2871 w 5765"/>
                <a:gd name="T59" fmla="*/ 2894 h 7478"/>
                <a:gd name="T60" fmla="*/ 2839 w 5765"/>
                <a:gd name="T61" fmla="*/ 2847 h 7478"/>
                <a:gd name="T62" fmla="*/ 2762 w 5765"/>
                <a:gd name="T63" fmla="*/ 2932 h 7478"/>
                <a:gd name="T64" fmla="*/ 2485 w 5765"/>
                <a:gd name="T65" fmla="*/ 3214 h 7478"/>
                <a:gd name="T66" fmla="*/ 2320 w 5765"/>
                <a:gd name="T67" fmla="*/ 2993 h 7478"/>
                <a:gd name="T68" fmla="*/ 2681 w 5765"/>
                <a:gd name="T69" fmla="*/ 2304 h 7478"/>
                <a:gd name="T70" fmla="*/ 2980 w 5765"/>
                <a:gd name="T71" fmla="*/ 2481 h 7478"/>
                <a:gd name="T72" fmla="*/ 3432 w 5765"/>
                <a:gd name="T73" fmla="*/ 2588 h 7478"/>
                <a:gd name="T74" fmla="*/ 4901 w 5765"/>
                <a:gd name="T75" fmla="*/ 2190 h 7478"/>
                <a:gd name="T76" fmla="*/ 4813 w 5765"/>
                <a:gd name="T77" fmla="*/ 2314 h 7478"/>
                <a:gd name="T78" fmla="*/ 5052 w 5765"/>
                <a:gd name="T79" fmla="*/ 3186 h 7478"/>
                <a:gd name="T80" fmla="*/ 5174 w 5765"/>
                <a:gd name="T81" fmla="*/ 3023 h 7478"/>
                <a:gd name="T82" fmla="*/ 4580 w 5765"/>
                <a:gd name="T83" fmla="*/ 1402 h 7478"/>
                <a:gd name="T84" fmla="*/ 4228 w 5765"/>
                <a:gd name="T85" fmla="*/ 547 h 7478"/>
                <a:gd name="T86" fmla="*/ 2897 w 5765"/>
                <a:gd name="T87" fmla="*/ 1381 h 7478"/>
                <a:gd name="T88" fmla="*/ 3099 w 5765"/>
                <a:gd name="T89" fmla="*/ 1495 h 7478"/>
                <a:gd name="T90" fmla="*/ 3680 w 5765"/>
                <a:gd name="T91" fmla="*/ 1604 h 7478"/>
                <a:gd name="T92" fmla="*/ 3886 w 5765"/>
                <a:gd name="T93" fmla="*/ 647 h 7478"/>
                <a:gd name="T94" fmla="*/ 3482 w 5765"/>
                <a:gd name="T95" fmla="*/ 625 h 7478"/>
                <a:gd name="T96" fmla="*/ 3215 w 5765"/>
                <a:gd name="T97" fmla="*/ 499 h 7478"/>
                <a:gd name="T98" fmla="*/ 3435 w 5765"/>
                <a:gd name="T99" fmla="*/ 151 h 7478"/>
                <a:gd name="T100" fmla="*/ 3550 w 5765"/>
                <a:gd name="T101" fmla="*/ 241 h 7478"/>
                <a:gd name="T102" fmla="*/ 3816 w 5765"/>
                <a:gd name="T103" fmla="*/ 270 h 7478"/>
                <a:gd name="T104" fmla="*/ 4045 w 5765"/>
                <a:gd name="T105" fmla="*/ 189 h 7478"/>
                <a:gd name="T106" fmla="*/ 4068 w 5765"/>
                <a:gd name="T107" fmla="*/ 122 h 7478"/>
                <a:gd name="T108" fmla="*/ 3954 w 5765"/>
                <a:gd name="T109" fmla="*/ 31 h 7478"/>
                <a:gd name="T110" fmla="*/ 3688 w 5765"/>
                <a:gd name="T111" fmla="*/ 3 h 7478"/>
                <a:gd name="T112" fmla="*/ 3459 w 5765"/>
                <a:gd name="T113" fmla="*/ 83 h 7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65" h="7478">
                  <a:moveTo>
                    <a:pt x="3747" y="7478"/>
                  </a:moveTo>
                  <a:lnTo>
                    <a:pt x="3747" y="6431"/>
                  </a:lnTo>
                  <a:lnTo>
                    <a:pt x="3747" y="6431"/>
                  </a:lnTo>
                  <a:lnTo>
                    <a:pt x="3730" y="6431"/>
                  </a:lnTo>
                  <a:lnTo>
                    <a:pt x="3679" y="6430"/>
                  </a:lnTo>
                  <a:lnTo>
                    <a:pt x="3598" y="6427"/>
                  </a:lnTo>
                  <a:lnTo>
                    <a:pt x="3492" y="6421"/>
                  </a:lnTo>
                  <a:lnTo>
                    <a:pt x="3430" y="6417"/>
                  </a:lnTo>
                  <a:lnTo>
                    <a:pt x="3364" y="6412"/>
                  </a:lnTo>
                  <a:lnTo>
                    <a:pt x="3292" y="6405"/>
                  </a:lnTo>
                  <a:lnTo>
                    <a:pt x="3217" y="6397"/>
                  </a:lnTo>
                  <a:lnTo>
                    <a:pt x="3138" y="6388"/>
                  </a:lnTo>
                  <a:lnTo>
                    <a:pt x="3056" y="6377"/>
                  </a:lnTo>
                  <a:lnTo>
                    <a:pt x="2971" y="6365"/>
                  </a:lnTo>
                  <a:lnTo>
                    <a:pt x="2883" y="6351"/>
                  </a:lnTo>
                  <a:lnTo>
                    <a:pt x="2794" y="6335"/>
                  </a:lnTo>
                  <a:lnTo>
                    <a:pt x="2704" y="6317"/>
                  </a:lnTo>
                  <a:lnTo>
                    <a:pt x="2612" y="6297"/>
                  </a:lnTo>
                  <a:lnTo>
                    <a:pt x="2520" y="6274"/>
                  </a:lnTo>
                  <a:lnTo>
                    <a:pt x="2428" y="6250"/>
                  </a:lnTo>
                  <a:lnTo>
                    <a:pt x="2382" y="6237"/>
                  </a:lnTo>
                  <a:lnTo>
                    <a:pt x="2337" y="6223"/>
                  </a:lnTo>
                  <a:lnTo>
                    <a:pt x="2291" y="6208"/>
                  </a:lnTo>
                  <a:lnTo>
                    <a:pt x="2246" y="6193"/>
                  </a:lnTo>
                  <a:lnTo>
                    <a:pt x="2201" y="6177"/>
                  </a:lnTo>
                  <a:lnTo>
                    <a:pt x="2157" y="6161"/>
                  </a:lnTo>
                  <a:lnTo>
                    <a:pt x="2113" y="6144"/>
                  </a:lnTo>
                  <a:lnTo>
                    <a:pt x="2069" y="6126"/>
                  </a:lnTo>
                  <a:lnTo>
                    <a:pt x="2027" y="6107"/>
                  </a:lnTo>
                  <a:lnTo>
                    <a:pt x="1985" y="6088"/>
                  </a:lnTo>
                  <a:lnTo>
                    <a:pt x="1944" y="6068"/>
                  </a:lnTo>
                  <a:lnTo>
                    <a:pt x="1903" y="6047"/>
                  </a:lnTo>
                  <a:lnTo>
                    <a:pt x="1862" y="6025"/>
                  </a:lnTo>
                  <a:lnTo>
                    <a:pt x="1824" y="6003"/>
                  </a:lnTo>
                  <a:lnTo>
                    <a:pt x="1786" y="5979"/>
                  </a:lnTo>
                  <a:lnTo>
                    <a:pt x="1748" y="5955"/>
                  </a:lnTo>
                  <a:lnTo>
                    <a:pt x="1713" y="5930"/>
                  </a:lnTo>
                  <a:lnTo>
                    <a:pt x="1677" y="5905"/>
                  </a:lnTo>
                  <a:lnTo>
                    <a:pt x="1644" y="5878"/>
                  </a:lnTo>
                  <a:lnTo>
                    <a:pt x="1611" y="5851"/>
                  </a:lnTo>
                  <a:lnTo>
                    <a:pt x="1580" y="5822"/>
                  </a:lnTo>
                  <a:lnTo>
                    <a:pt x="1550" y="5793"/>
                  </a:lnTo>
                  <a:lnTo>
                    <a:pt x="1550" y="5793"/>
                  </a:lnTo>
                  <a:lnTo>
                    <a:pt x="1543" y="5784"/>
                  </a:lnTo>
                  <a:lnTo>
                    <a:pt x="1535" y="5774"/>
                  </a:lnTo>
                  <a:lnTo>
                    <a:pt x="1526" y="5759"/>
                  </a:lnTo>
                  <a:lnTo>
                    <a:pt x="1514" y="5741"/>
                  </a:lnTo>
                  <a:lnTo>
                    <a:pt x="1503" y="5719"/>
                  </a:lnTo>
                  <a:lnTo>
                    <a:pt x="1490" y="5693"/>
                  </a:lnTo>
                  <a:lnTo>
                    <a:pt x="1479" y="5664"/>
                  </a:lnTo>
                  <a:lnTo>
                    <a:pt x="1469" y="5631"/>
                  </a:lnTo>
                  <a:lnTo>
                    <a:pt x="1464" y="5614"/>
                  </a:lnTo>
                  <a:lnTo>
                    <a:pt x="1461" y="5595"/>
                  </a:lnTo>
                  <a:lnTo>
                    <a:pt x="1457" y="5576"/>
                  </a:lnTo>
                  <a:lnTo>
                    <a:pt x="1455" y="5556"/>
                  </a:lnTo>
                  <a:lnTo>
                    <a:pt x="1453" y="5536"/>
                  </a:lnTo>
                  <a:lnTo>
                    <a:pt x="1452" y="5515"/>
                  </a:lnTo>
                  <a:lnTo>
                    <a:pt x="1452" y="5493"/>
                  </a:lnTo>
                  <a:lnTo>
                    <a:pt x="1453" y="5471"/>
                  </a:lnTo>
                  <a:lnTo>
                    <a:pt x="1454" y="5448"/>
                  </a:lnTo>
                  <a:lnTo>
                    <a:pt x="1457" y="5424"/>
                  </a:lnTo>
                  <a:lnTo>
                    <a:pt x="1461" y="5399"/>
                  </a:lnTo>
                  <a:lnTo>
                    <a:pt x="1467" y="5374"/>
                  </a:lnTo>
                  <a:lnTo>
                    <a:pt x="1475" y="5349"/>
                  </a:lnTo>
                  <a:lnTo>
                    <a:pt x="1483" y="5323"/>
                  </a:lnTo>
                  <a:lnTo>
                    <a:pt x="1483" y="5323"/>
                  </a:lnTo>
                  <a:lnTo>
                    <a:pt x="1612" y="4955"/>
                  </a:lnTo>
                  <a:lnTo>
                    <a:pt x="1667" y="4799"/>
                  </a:lnTo>
                  <a:lnTo>
                    <a:pt x="79" y="5569"/>
                  </a:lnTo>
                  <a:lnTo>
                    <a:pt x="79" y="5569"/>
                  </a:lnTo>
                  <a:lnTo>
                    <a:pt x="76" y="5572"/>
                  </a:lnTo>
                  <a:lnTo>
                    <a:pt x="66" y="5581"/>
                  </a:lnTo>
                  <a:lnTo>
                    <a:pt x="52" y="5597"/>
                  </a:lnTo>
                  <a:lnTo>
                    <a:pt x="45" y="5606"/>
                  </a:lnTo>
                  <a:lnTo>
                    <a:pt x="37" y="5618"/>
                  </a:lnTo>
                  <a:lnTo>
                    <a:pt x="30" y="5629"/>
                  </a:lnTo>
                  <a:lnTo>
                    <a:pt x="22" y="5642"/>
                  </a:lnTo>
                  <a:lnTo>
                    <a:pt x="15" y="5655"/>
                  </a:lnTo>
                  <a:lnTo>
                    <a:pt x="10" y="5670"/>
                  </a:lnTo>
                  <a:lnTo>
                    <a:pt x="5" y="5685"/>
                  </a:lnTo>
                  <a:lnTo>
                    <a:pt x="1" y="5701"/>
                  </a:lnTo>
                  <a:lnTo>
                    <a:pt x="0" y="5718"/>
                  </a:lnTo>
                  <a:lnTo>
                    <a:pt x="1" y="5734"/>
                  </a:lnTo>
                  <a:lnTo>
                    <a:pt x="1" y="5734"/>
                  </a:lnTo>
                  <a:lnTo>
                    <a:pt x="4" y="5751"/>
                  </a:lnTo>
                  <a:lnTo>
                    <a:pt x="8" y="5767"/>
                  </a:lnTo>
                  <a:lnTo>
                    <a:pt x="12" y="5781"/>
                  </a:lnTo>
                  <a:lnTo>
                    <a:pt x="18" y="5794"/>
                  </a:lnTo>
                  <a:lnTo>
                    <a:pt x="24" y="5806"/>
                  </a:lnTo>
                  <a:lnTo>
                    <a:pt x="32" y="5817"/>
                  </a:lnTo>
                  <a:lnTo>
                    <a:pt x="39" y="5826"/>
                  </a:lnTo>
                  <a:lnTo>
                    <a:pt x="46" y="5834"/>
                  </a:lnTo>
                  <a:lnTo>
                    <a:pt x="61" y="5848"/>
                  </a:lnTo>
                  <a:lnTo>
                    <a:pt x="73" y="5857"/>
                  </a:lnTo>
                  <a:lnTo>
                    <a:pt x="82" y="5864"/>
                  </a:lnTo>
                  <a:lnTo>
                    <a:pt x="85" y="5866"/>
                  </a:lnTo>
                  <a:lnTo>
                    <a:pt x="3323" y="7398"/>
                  </a:lnTo>
                  <a:lnTo>
                    <a:pt x="3323" y="7398"/>
                  </a:lnTo>
                  <a:lnTo>
                    <a:pt x="3330" y="7401"/>
                  </a:lnTo>
                  <a:lnTo>
                    <a:pt x="3352" y="7411"/>
                  </a:lnTo>
                  <a:lnTo>
                    <a:pt x="3388" y="7422"/>
                  </a:lnTo>
                  <a:lnTo>
                    <a:pt x="3410" y="7430"/>
                  </a:lnTo>
                  <a:lnTo>
                    <a:pt x="3436" y="7437"/>
                  </a:lnTo>
                  <a:lnTo>
                    <a:pt x="3466" y="7444"/>
                  </a:lnTo>
                  <a:lnTo>
                    <a:pt x="3498" y="7452"/>
                  </a:lnTo>
                  <a:lnTo>
                    <a:pt x="3532" y="7458"/>
                  </a:lnTo>
                  <a:lnTo>
                    <a:pt x="3571" y="7464"/>
                  </a:lnTo>
                  <a:lnTo>
                    <a:pt x="3611" y="7469"/>
                  </a:lnTo>
                  <a:lnTo>
                    <a:pt x="3654" y="7473"/>
                  </a:lnTo>
                  <a:lnTo>
                    <a:pt x="3699" y="7477"/>
                  </a:lnTo>
                  <a:lnTo>
                    <a:pt x="3747" y="7478"/>
                  </a:lnTo>
                  <a:lnTo>
                    <a:pt x="3747" y="7478"/>
                  </a:lnTo>
                  <a:close/>
                  <a:moveTo>
                    <a:pt x="2332" y="4214"/>
                  </a:moveTo>
                  <a:lnTo>
                    <a:pt x="2332" y="4214"/>
                  </a:lnTo>
                  <a:lnTo>
                    <a:pt x="2051" y="5066"/>
                  </a:lnTo>
                  <a:lnTo>
                    <a:pt x="2051" y="5066"/>
                  </a:lnTo>
                  <a:lnTo>
                    <a:pt x="2015" y="5041"/>
                  </a:lnTo>
                  <a:lnTo>
                    <a:pt x="1982" y="5018"/>
                  </a:lnTo>
                  <a:lnTo>
                    <a:pt x="1950" y="4991"/>
                  </a:lnTo>
                  <a:lnTo>
                    <a:pt x="1921" y="4965"/>
                  </a:lnTo>
                  <a:lnTo>
                    <a:pt x="1893" y="4939"/>
                  </a:lnTo>
                  <a:lnTo>
                    <a:pt x="1867" y="4912"/>
                  </a:lnTo>
                  <a:lnTo>
                    <a:pt x="1843" y="4885"/>
                  </a:lnTo>
                  <a:lnTo>
                    <a:pt x="1822" y="4858"/>
                  </a:lnTo>
                  <a:lnTo>
                    <a:pt x="1802" y="4830"/>
                  </a:lnTo>
                  <a:lnTo>
                    <a:pt x="1784" y="4801"/>
                  </a:lnTo>
                  <a:lnTo>
                    <a:pt x="1770" y="4773"/>
                  </a:lnTo>
                  <a:lnTo>
                    <a:pt x="1756" y="4742"/>
                  </a:lnTo>
                  <a:lnTo>
                    <a:pt x="1746" y="4713"/>
                  </a:lnTo>
                  <a:lnTo>
                    <a:pt x="1738" y="4683"/>
                  </a:lnTo>
                  <a:lnTo>
                    <a:pt x="1732" y="4653"/>
                  </a:lnTo>
                  <a:lnTo>
                    <a:pt x="1728" y="4623"/>
                  </a:lnTo>
                  <a:lnTo>
                    <a:pt x="1728" y="4623"/>
                  </a:lnTo>
                  <a:lnTo>
                    <a:pt x="2015" y="3813"/>
                  </a:lnTo>
                  <a:lnTo>
                    <a:pt x="2015" y="3813"/>
                  </a:lnTo>
                  <a:lnTo>
                    <a:pt x="2018" y="3841"/>
                  </a:lnTo>
                  <a:lnTo>
                    <a:pt x="2025" y="3868"/>
                  </a:lnTo>
                  <a:lnTo>
                    <a:pt x="2033" y="3895"/>
                  </a:lnTo>
                  <a:lnTo>
                    <a:pt x="2043" y="3922"/>
                  </a:lnTo>
                  <a:lnTo>
                    <a:pt x="2057" y="3950"/>
                  </a:lnTo>
                  <a:lnTo>
                    <a:pt x="2071" y="3976"/>
                  </a:lnTo>
                  <a:lnTo>
                    <a:pt x="2089" y="4002"/>
                  </a:lnTo>
                  <a:lnTo>
                    <a:pt x="2108" y="4027"/>
                  </a:lnTo>
                  <a:lnTo>
                    <a:pt x="2130" y="4052"/>
                  </a:lnTo>
                  <a:lnTo>
                    <a:pt x="2153" y="4077"/>
                  </a:lnTo>
                  <a:lnTo>
                    <a:pt x="2178" y="4101"/>
                  </a:lnTo>
                  <a:lnTo>
                    <a:pt x="2206" y="4125"/>
                  </a:lnTo>
                  <a:lnTo>
                    <a:pt x="2235" y="4148"/>
                  </a:lnTo>
                  <a:lnTo>
                    <a:pt x="2265" y="4170"/>
                  </a:lnTo>
                  <a:lnTo>
                    <a:pt x="2298" y="4192"/>
                  </a:lnTo>
                  <a:lnTo>
                    <a:pt x="2332" y="4214"/>
                  </a:lnTo>
                  <a:lnTo>
                    <a:pt x="2332" y="4214"/>
                  </a:lnTo>
                  <a:close/>
                  <a:moveTo>
                    <a:pt x="2525" y="4312"/>
                  </a:moveTo>
                  <a:lnTo>
                    <a:pt x="2525" y="4312"/>
                  </a:lnTo>
                  <a:lnTo>
                    <a:pt x="2302" y="5202"/>
                  </a:lnTo>
                  <a:lnTo>
                    <a:pt x="2302" y="5202"/>
                  </a:lnTo>
                  <a:lnTo>
                    <a:pt x="2337" y="5217"/>
                  </a:lnTo>
                  <a:lnTo>
                    <a:pt x="2373" y="5231"/>
                  </a:lnTo>
                  <a:lnTo>
                    <a:pt x="2409" y="5246"/>
                  </a:lnTo>
                  <a:lnTo>
                    <a:pt x="2446" y="5259"/>
                  </a:lnTo>
                  <a:lnTo>
                    <a:pt x="2523" y="5285"/>
                  </a:lnTo>
                  <a:lnTo>
                    <a:pt x="2603" y="5310"/>
                  </a:lnTo>
                  <a:lnTo>
                    <a:pt x="2686" y="5334"/>
                  </a:lnTo>
                  <a:lnTo>
                    <a:pt x="2771" y="5355"/>
                  </a:lnTo>
                  <a:lnTo>
                    <a:pt x="2859" y="5375"/>
                  </a:lnTo>
                  <a:lnTo>
                    <a:pt x="2950" y="5393"/>
                  </a:lnTo>
                  <a:lnTo>
                    <a:pt x="3042" y="5409"/>
                  </a:lnTo>
                  <a:lnTo>
                    <a:pt x="3138" y="5423"/>
                  </a:lnTo>
                  <a:lnTo>
                    <a:pt x="3235" y="5435"/>
                  </a:lnTo>
                  <a:lnTo>
                    <a:pt x="3334" y="5445"/>
                  </a:lnTo>
                  <a:lnTo>
                    <a:pt x="3435" y="5453"/>
                  </a:lnTo>
                  <a:lnTo>
                    <a:pt x="3537" y="5458"/>
                  </a:lnTo>
                  <a:lnTo>
                    <a:pt x="3641" y="5462"/>
                  </a:lnTo>
                  <a:lnTo>
                    <a:pt x="3747" y="5463"/>
                  </a:lnTo>
                  <a:lnTo>
                    <a:pt x="3747" y="5463"/>
                  </a:lnTo>
                  <a:lnTo>
                    <a:pt x="3832" y="5462"/>
                  </a:lnTo>
                  <a:lnTo>
                    <a:pt x="3916" y="5460"/>
                  </a:lnTo>
                  <a:lnTo>
                    <a:pt x="3998" y="5456"/>
                  </a:lnTo>
                  <a:lnTo>
                    <a:pt x="4080" y="5452"/>
                  </a:lnTo>
                  <a:lnTo>
                    <a:pt x="4160" y="5445"/>
                  </a:lnTo>
                  <a:lnTo>
                    <a:pt x="4240" y="5437"/>
                  </a:lnTo>
                  <a:lnTo>
                    <a:pt x="4318" y="5428"/>
                  </a:lnTo>
                  <a:lnTo>
                    <a:pt x="4395" y="5418"/>
                  </a:lnTo>
                  <a:lnTo>
                    <a:pt x="4395" y="5418"/>
                  </a:lnTo>
                  <a:lnTo>
                    <a:pt x="4304" y="4489"/>
                  </a:lnTo>
                  <a:lnTo>
                    <a:pt x="4304" y="4489"/>
                  </a:lnTo>
                  <a:lnTo>
                    <a:pt x="4238" y="4499"/>
                  </a:lnTo>
                  <a:lnTo>
                    <a:pt x="4170" y="4506"/>
                  </a:lnTo>
                  <a:lnTo>
                    <a:pt x="4102" y="4513"/>
                  </a:lnTo>
                  <a:lnTo>
                    <a:pt x="4033" y="4518"/>
                  </a:lnTo>
                  <a:lnTo>
                    <a:pt x="3963" y="4523"/>
                  </a:lnTo>
                  <a:lnTo>
                    <a:pt x="3892" y="4526"/>
                  </a:lnTo>
                  <a:lnTo>
                    <a:pt x="3820" y="4528"/>
                  </a:lnTo>
                  <a:lnTo>
                    <a:pt x="3747" y="4529"/>
                  </a:lnTo>
                  <a:lnTo>
                    <a:pt x="3747" y="4529"/>
                  </a:lnTo>
                  <a:lnTo>
                    <a:pt x="3658" y="4528"/>
                  </a:lnTo>
                  <a:lnTo>
                    <a:pt x="3571" y="4525"/>
                  </a:lnTo>
                  <a:lnTo>
                    <a:pt x="3484" y="4521"/>
                  </a:lnTo>
                  <a:lnTo>
                    <a:pt x="3399" y="4513"/>
                  </a:lnTo>
                  <a:lnTo>
                    <a:pt x="3316" y="4505"/>
                  </a:lnTo>
                  <a:lnTo>
                    <a:pt x="3234" y="4496"/>
                  </a:lnTo>
                  <a:lnTo>
                    <a:pt x="3153" y="4484"/>
                  </a:lnTo>
                  <a:lnTo>
                    <a:pt x="3075" y="4471"/>
                  </a:lnTo>
                  <a:lnTo>
                    <a:pt x="2998" y="4456"/>
                  </a:lnTo>
                  <a:lnTo>
                    <a:pt x="2924" y="4439"/>
                  </a:lnTo>
                  <a:lnTo>
                    <a:pt x="2851" y="4422"/>
                  </a:lnTo>
                  <a:lnTo>
                    <a:pt x="2780" y="4402"/>
                  </a:lnTo>
                  <a:lnTo>
                    <a:pt x="2713" y="4382"/>
                  </a:lnTo>
                  <a:lnTo>
                    <a:pt x="2647" y="4360"/>
                  </a:lnTo>
                  <a:lnTo>
                    <a:pt x="2585" y="4336"/>
                  </a:lnTo>
                  <a:lnTo>
                    <a:pt x="2525" y="4312"/>
                  </a:lnTo>
                  <a:lnTo>
                    <a:pt x="2525" y="4312"/>
                  </a:lnTo>
                  <a:close/>
                  <a:moveTo>
                    <a:pt x="5765" y="4625"/>
                  </a:moveTo>
                  <a:lnTo>
                    <a:pt x="5765" y="4625"/>
                  </a:lnTo>
                  <a:lnTo>
                    <a:pt x="5479" y="3817"/>
                  </a:lnTo>
                  <a:lnTo>
                    <a:pt x="5479" y="3817"/>
                  </a:lnTo>
                  <a:lnTo>
                    <a:pt x="5476" y="3840"/>
                  </a:lnTo>
                  <a:lnTo>
                    <a:pt x="5471" y="3863"/>
                  </a:lnTo>
                  <a:lnTo>
                    <a:pt x="5465" y="3886"/>
                  </a:lnTo>
                  <a:lnTo>
                    <a:pt x="5456" y="3909"/>
                  </a:lnTo>
                  <a:lnTo>
                    <a:pt x="5447" y="3932"/>
                  </a:lnTo>
                  <a:lnTo>
                    <a:pt x="5436" y="3954"/>
                  </a:lnTo>
                  <a:lnTo>
                    <a:pt x="5423" y="3976"/>
                  </a:lnTo>
                  <a:lnTo>
                    <a:pt x="5409" y="3997"/>
                  </a:lnTo>
                  <a:lnTo>
                    <a:pt x="5393" y="4018"/>
                  </a:lnTo>
                  <a:lnTo>
                    <a:pt x="5375" y="4040"/>
                  </a:lnTo>
                  <a:lnTo>
                    <a:pt x="5357" y="4061"/>
                  </a:lnTo>
                  <a:lnTo>
                    <a:pt x="5337" y="4081"/>
                  </a:lnTo>
                  <a:lnTo>
                    <a:pt x="5315" y="4102"/>
                  </a:lnTo>
                  <a:lnTo>
                    <a:pt x="5293" y="4121"/>
                  </a:lnTo>
                  <a:lnTo>
                    <a:pt x="5268" y="4141"/>
                  </a:lnTo>
                  <a:lnTo>
                    <a:pt x="5243" y="4160"/>
                  </a:lnTo>
                  <a:lnTo>
                    <a:pt x="5243" y="4160"/>
                  </a:lnTo>
                  <a:lnTo>
                    <a:pt x="5496" y="5029"/>
                  </a:lnTo>
                  <a:lnTo>
                    <a:pt x="5496" y="5029"/>
                  </a:lnTo>
                  <a:lnTo>
                    <a:pt x="5526" y="5007"/>
                  </a:lnTo>
                  <a:lnTo>
                    <a:pt x="5554" y="4984"/>
                  </a:lnTo>
                  <a:lnTo>
                    <a:pt x="5580" y="4960"/>
                  </a:lnTo>
                  <a:lnTo>
                    <a:pt x="5605" y="4936"/>
                  </a:lnTo>
                  <a:lnTo>
                    <a:pt x="5628" y="4912"/>
                  </a:lnTo>
                  <a:lnTo>
                    <a:pt x="5650" y="4887"/>
                  </a:lnTo>
                  <a:lnTo>
                    <a:pt x="5670" y="4862"/>
                  </a:lnTo>
                  <a:lnTo>
                    <a:pt x="5687" y="4837"/>
                  </a:lnTo>
                  <a:lnTo>
                    <a:pt x="5704" y="4812"/>
                  </a:lnTo>
                  <a:lnTo>
                    <a:pt x="5718" y="4786"/>
                  </a:lnTo>
                  <a:lnTo>
                    <a:pt x="5731" y="4760"/>
                  </a:lnTo>
                  <a:lnTo>
                    <a:pt x="5741" y="4733"/>
                  </a:lnTo>
                  <a:lnTo>
                    <a:pt x="5751" y="4706"/>
                  </a:lnTo>
                  <a:lnTo>
                    <a:pt x="5757" y="4680"/>
                  </a:lnTo>
                  <a:lnTo>
                    <a:pt x="5762" y="4652"/>
                  </a:lnTo>
                  <a:lnTo>
                    <a:pt x="5765" y="4625"/>
                  </a:lnTo>
                  <a:lnTo>
                    <a:pt x="5765" y="4625"/>
                  </a:lnTo>
                  <a:close/>
                  <a:moveTo>
                    <a:pt x="3751" y="2608"/>
                  </a:moveTo>
                  <a:lnTo>
                    <a:pt x="3751" y="2608"/>
                  </a:lnTo>
                  <a:lnTo>
                    <a:pt x="3799" y="2606"/>
                  </a:lnTo>
                  <a:lnTo>
                    <a:pt x="3846" y="2605"/>
                  </a:lnTo>
                  <a:lnTo>
                    <a:pt x="3893" y="2603"/>
                  </a:lnTo>
                  <a:lnTo>
                    <a:pt x="3939" y="2600"/>
                  </a:lnTo>
                  <a:lnTo>
                    <a:pt x="3984" y="2597"/>
                  </a:lnTo>
                  <a:lnTo>
                    <a:pt x="4029" y="2593"/>
                  </a:lnTo>
                  <a:lnTo>
                    <a:pt x="4073" y="2588"/>
                  </a:lnTo>
                  <a:lnTo>
                    <a:pt x="4116" y="2581"/>
                  </a:lnTo>
                  <a:lnTo>
                    <a:pt x="4116" y="2581"/>
                  </a:lnTo>
                  <a:lnTo>
                    <a:pt x="4207" y="3506"/>
                  </a:lnTo>
                  <a:lnTo>
                    <a:pt x="4207" y="3506"/>
                  </a:lnTo>
                  <a:lnTo>
                    <a:pt x="4153" y="3513"/>
                  </a:lnTo>
                  <a:lnTo>
                    <a:pt x="4098" y="3519"/>
                  </a:lnTo>
                  <a:lnTo>
                    <a:pt x="4043" y="3524"/>
                  </a:lnTo>
                  <a:lnTo>
                    <a:pt x="3985" y="3530"/>
                  </a:lnTo>
                  <a:lnTo>
                    <a:pt x="3928" y="3533"/>
                  </a:lnTo>
                  <a:lnTo>
                    <a:pt x="3870" y="3535"/>
                  </a:lnTo>
                  <a:lnTo>
                    <a:pt x="3811" y="3537"/>
                  </a:lnTo>
                  <a:lnTo>
                    <a:pt x="3751" y="3537"/>
                  </a:lnTo>
                  <a:lnTo>
                    <a:pt x="3751" y="3537"/>
                  </a:lnTo>
                  <a:lnTo>
                    <a:pt x="3680" y="3537"/>
                  </a:lnTo>
                  <a:lnTo>
                    <a:pt x="3610" y="3534"/>
                  </a:lnTo>
                  <a:lnTo>
                    <a:pt x="3540" y="3531"/>
                  </a:lnTo>
                  <a:lnTo>
                    <a:pt x="3472" y="3525"/>
                  </a:lnTo>
                  <a:lnTo>
                    <a:pt x="3404" y="3519"/>
                  </a:lnTo>
                  <a:lnTo>
                    <a:pt x="3338" y="3512"/>
                  </a:lnTo>
                  <a:lnTo>
                    <a:pt x="3273" y="3503"/>
                  </a:lnTo>
                  <a:lnTo>
                    <a:pt x="3210" y="3492"/>
                  </a:lnTo>
                  <a:lnTo>
                    <a:pt x="3147" y="3481"/>
                  </a:lnTo>
                  <a:lnTo>
                    <a:pt x="3087" y="3468"/>
                  </a:lnTo>
                  <a:lnTo>
                    <a:pt x="3029" y="3454"/>
                  </a:lnTo>
                  <a:lnTo>
                    <a:pt x="2972" y="3439"/>
                  </a:lnTo>
                  <a:lnTo>
                    <a:pt x="2916" y="3422"/>
                  </a:lnTo>
                  <a:lnTo>
                    <a:pt x="2863" y="3406"/>
                  </a:lnTo>
                  <a:lnTo>
                    <a:pt x="2811" y="3387"/>
                  </a:lnTo>
                  <a:lnTo>
                    <a:pt x="2762" y="3368"/>
                  </a:lnTo>
                  <a:lnTo>
                    <a:pt x="2762" y="3368"/>
                  </a:lnTo>
                  <a:lnTo>
                    <a:pt x="2824" y="3120"/>
                  </a:lnTo>
                  <a:lnTo>
                    <a:pt x="2857" y="2993"/>
                  </a:lnTo>
                  <a:lnTo>
                    <a:pt x="2857" y="2993"/>
                  </a:lnTo>
                  <a:lnTo>
                    <a:pt x="2866" y="2959"/>
                  </a:lnTo>
                  <a:lnTo>
                    <a:pt x="2868" y="2944"/>
                  </a:lnTo>
                  <a:lnTo>
                    <a:pt x="2870" y="2929"/>
                  </a:lnTo>
                  <a:lnTo>
                    <a:pt x="2871" y="2917"/>
                  </a:lnTo>
                  <a:lnTo>
                    <a:pt x="2872" y="2904"/>
                  </a:lnTo>
                  <a:lnTo>
                    <a:pt x="2871" y="2894"/>
                  </a:lnTo>
                  <a:lnTo>
                    <a:pt x="2871" y="2885"/>
                  </a:lnTo>
                  <a:lnTo>
                    <a:pt x="2869" y="2876"/>
                  </a:lnTo>
                  <a:lnTo>
                    <a:pt x="2867" y="2869"/>
                  </a:lnTo>
                  <a:lnTo>
                    <a:pt x="2864" y="2863"/>
                  </a:lnTo>
                  <a:lnTo>
                    <a:pt x="2861" y="2858"/>
                  </a:lnTo>
                  <a:lnTo>
                    <a:pt x="2857" y="2853"/>
                  </a:lnTo>
                  <a:lnTo>
                    <a:pt x="2853" y="2850"/>
                  </a:lnTo>
                  <a:lnTo>
                    <a:pt x="2849" y="2848"/>
                  </a:lnTo>
                  <a:lnTo>
                    <a:pt x="2844" y="2847"/>
                  </a:lnTo>
                  <a:lnTo>
                    <a:pt x="2839" y="2847"/>
                  </a:lnTo>
                  <a:lnTo>
                    <a:pt x="2833" y="2848"/>
                  </a:lnTo>
                  <a:lnTo>
                    <a:pt x="2827" y="2849"/>
                  </a:lnTo>
                  <a:lnTo>
                    <a:pt x="2822" y="2852"/>
                  </a:lnTo>
                  <a:lnTo>
                    <a:pt x="2816" y="2857"/>
                  </a:lnTo>
                  <a:lnTo>
                    <a:pt x="2810" y="2861"/>
                  </a:lnTo>
                  <a:lnTo>
                    <a:pt x="2803" y="2867"/>
                  </a:lnTo>
                  <a:lnTo>
                    <a:pt x="2797" y="2873"/>
                  </a:lnTo>
                  <a:lnTo>
                    <a:pt x="2785" y="2890"/>
                  </a:lnTo>
                  <a:lnTo>
                    <a:pt x="2773" y="2909"/>
                  </a:lnTo>
                  <a:lnTo>
                    <a:pt x="2762" y="2932"/>
                  </a:lnTo>
                  <a:lnTo>
                    <a:pt x="2751" y="2958"/>
                  </a:lnTo>
                  <a:lnTo>
                    <a:pt x="2751" y="2958"/>
                  </a:lnTo>
                  <a:lnTo>
                    <a:pt x="2712" y="3072"/>
                  </a:lnTo>
                  <a:lnTo>
                    <a:pt x="2633" y="3309"/>
                  </a:lnTo>
                  <a:lnTo>
                    <a:pt x="2633" y="3309"/>
                  </a:lnTo>
                  <a:lnTo>
                    <a:pt x="2601" y="3291"/>
                  </a:lnTo>
                  <a:lnTo>
                    <a:pt x="2569" y="3272"/>
                  </a:lnTo>
                  <a:lnTo>
                    <a:pt x="2539" y="3254"/>
                  </a:lnTo>
                  <a:lnTo>
                    <a:pt x="2511" y="3234"/>
                  </a:lnTo>
                  <a:lnTo>
                    <a:pt x="2485" y="3214"/>
                  </a:lnTo>
                  <a:lnTo>
                    <a:pt x="2460" y="3194"/>
                  </a:lnTo>
                  <a:lnTo>
                    <a:pt x="2437" y="3173"/>
                  </a:lnTo>
                  <a:lnTo>
                    <a:pt x="2416" y="3151"/>
                  </a:lnTo>
                  <a:lnTo>
                    <a:pt x="2396" y="3130"/>
                  </a:lnTo>
                  <a:lnTo>
                    <a:pt x="2378" y="3108"/>
                  </a:lnTo>
                  <a:lnTo>
                    <a:pt x="2363" y="3086"/>
                  </a:lnTo>
                  <a:lnTo>
                    <a:pt x="2349" y="3063"/>
                  </a:lnTo>
                  <a:lnTo>
                    <a:pt x="2338" y="3040"/>
                  </a:lnTo>
                  <a:lnTo>
                    <a:pt x="2327" y="3016"/>
                  </a:lnTo>
                  <a:lnTo>
                    <a:pt x="2320" y="2993"/>
                  </a:lnTo>
                  <a:lnTo>
                    <a:pt x="2314" y="2969"/>
                  </a:lnTo>
                  <a:lnTo>
                    <a:pt x="2314" y="2969"/>
                  </a:lnTo>
                  <a:lnTo>
                    <a:pt x="2596" y="2173"/>
                  </a:lnTo>
                  <a:lnTo>
                    <a:pt x="2596" y="2173"/>
                  </a:lnTo>
                  <a:lnTo>
                    <a:pt x="2605" y="2196"/>
                  </a:lnTo>
                  <a:lnTo>
                    <a:pt x="2615" y="2218"/>
                  </a:lnTo>
                  <a:lnTo>
                    <a:pt x="2628" y="2240"/>
                  </a:lnTo>
                  <a:lnTo>
                    <a:pt x="2643" y="2262"/>
                  </a:lnTo>
                  <a:lnTo>
                    <a:pt x="2661" y="2283"/>
                  </a:lnTo>
                  <a:lnTo>
                    <a:pt x="2681" y="2304"/>
                  </a:lnTo>
                  <a:lnTo>
                    <a:pt x="2701" y="2324"/>
                  </a:lnTo>
                  <a:lnTo>
                    <a:pt x="2725" y="2344"/>
                  </a:lnTo>
                  <a:lnTo>
                    <a:pt x="2751" y="2364"/>
                  </a:lnTo>
                  <a:lnTo>
                    <a:pt x="2778" y="2382"/>
                  </a:lnTo>
                  <a:lnTo>
                    <a:pt x="2807" y="2400"/>
                  </a:lnTo>
                  <a:lnTo>
                    <a:pt x="2839" y="2418"/>
                  </a:lnTo>
                  <a:lnTo>
                    <a:pt x="2872" y="2435"/>
                  </a:lnTo>
                  <a:lnTo>
                    <a:pt x="2906" y="2451"/>
                  </a:lnTo>
                  <a:lnTo>
                    <a:pt x="2943" y="2467"/>
                  </a:lnTo>
                  <a:lnTo>
                    <a:pt x="2980" y="2481"/>
                  </a:lnTo>
                  <a:lnTo>
                    <a:pt x="3020" y="2496"/>
                  </a:lnTo>
                  <a:lnTo>
                    <a:pt x="3060" y="2510"/>
                  </a:lnTo>
                  <a:lnTo>
                    <a:pt x="3103" y="2522"/>
                  </a:lnTo>
                  <a:lnTo>
                    <a:pt x="3146" y="2535"/>
                  </a:lnTo>
                  <a:lnTo>
                    <a:pt x="3191" y="2545"/>
                  </a:lnTo>
                  <a:lnTo>
                    <a:pt x="3237" y="2555"/>
                  </a:lnTo>
                  <a:lnTo>
                    <a:pt x="3284" y="2565"/>
                  </a:lnTo>
                  <a:lnTo>
                    <a:pt x="3332" y="2573"/>
                  </a:lnTo>
                  <a:lnTo>
                    <a:pt x="3381" y="2581"/>
                  </a:lnTo>
                  <a:lnTo>
                    <a:pt x="3432" y="2588"/>
                  </a:lnTo>
                  <a:lnTo>
                    <a:pt x="3483" y="2594"/>
                  </a:lnTo>
                  <a:lnTo>
                    <a:pt x="3535" y="2598"/>
                  </a:lnTo>
                  <a:lnTo>
                    <a:pt x="3588" y="2602"/>
                  </a:lnTo>
                  <a:lnTo>
                    <a:pt x="3642" y="2604"/>
                  </a:lnTo>
                  <a:lnTo>
                    <a:pt x="3696" y="2606"/>
                  </a:lnTo>
                  <a:lnTo>
                    <a:pt x="3751" y="2608"/>
                  </a:lnTo>
                  <a:lnTo>
                    <a:pt x="3751" y="2608"/>
                  </a:lnTo>
                  <a:close/>
                  <a:moveTo>
                    <a:pt x="5185" y="2988"/>
                  </a:moveTo>
                  <a:lnTo>
                    <a:pt x="5185" y="2988"/>
                  </a:lnTo>
                  <a:lnTo>
                    <a:pt x="4901" y="2190"/>
                  </a:lnTo>
                  <a:lnTo>
                    <a:pt x="4901" y="2190"/>
                  </a:lnTo>
                  <a:lnTo>
                    <a:pt x="4896" y="2203"/>
                  </a:lnTo>
                  <a:lnTo>
                    <a:pt x="4890" y="2216"/>
                  </a:lnTo>
                  <a:lnTo>
                    <a:pt x="4883" y="2228"/>
                  </a:lnTo>
                  <a:lnTo>
                    <a:pt x="4874" y="2242"/>
                  </a:lnTo>
                  <a:lnTo>
                    <a:pt x="4866" y="2254"/>
                  </a:lnTo>
                  <a:lnTo>
                    <a:pt x="4857" y="2266"/>
                  </a:lnTo>
                  <a:lnTo>
                    <a:pt x="4846" y="2278"/>
                  </a:lnTo>
                  <a:lnTo>
                    <a:pt x="4836" y="2291"/>
                  </a:lnTo>
                  <a:lnTo>
                    <a:pt x="4813" y="2314"/>
                  </a:lnTo>
                  <a:lnTo>
                    <a:pt x="4786" y="2338"/>
                  </a:lnTo>
                  <a:lnTo>
                    <a:pt x="4758" y="2360"/>
                  </a:lnTo>
                  <a:lnTo>
                    <a:pt x="4726" y="2381"/>
                  </a:lnTo>
                  <a:lnTo>
                    <a:pt x="4726" y="2381"/>
                  </a:lnTo>
                  <a:lnTo>
                    <a:pt x="4977" y="3244"/>
                  </a:lnTo>
                  <a:lnTo>
                    <a:pt x="4977" y="3244"/>
                  </a:lnTo>
                  <a:lnTo>
                    <a:pt x="4997" y="3231"/>
                  </a:lnTo>
                  <a:lnTo>
                    <a:pt x="5017" y="3216"/>
                  </a:lnTo>
                  <a:lnTo>
                    <a:pt x="5035" y="3200"/>
                  </a:lnTo>
                  <a:lnTo>
                    <a:pt x="5052" y="3186"/>
                  </a:lnTo>
                  <a:lnTo>
                    <a:pt x="5069" y="3170"/>
                  </a:lnTo>
                  <a:lnTo>
                    <a:pt x="5084" y="3155"/>
                  </a:lnTo>
                  <a:lnTo>
                    <a:pt x="5099" y="3139"/>
                  </a:lnTo>
                  <a:lnTo>
                    <a:pt x="5113" y="3123"/>
                  </a:lnTo>
                  <a:lnTo>
                    <a:pt x="5126" y="3107"/>
                  </a:lnTo>
                  <a:lnTo>
                    <a:pt x="5137" y="3090"/>
                  </a:lnTo>
                  <a:lnTo>
                    <a:pt x="5148" y="3074"/>
                  </a:lnTo>
                  <a:lnTo>
                    <a:pt x="5157" y="3057"/>
                  </a:lnTo>
                  <a:lnTo>
                    <a:pt x="5166" y="3040"/>
                  </a:lnTo>
                  <a:lnTo>
                    <a:pt x="5174" y="3023"/>
                  </a:lnTo>
                  <a:lnTo>
                    <a:pt x="5180" y="3006"/>
                  </a:lnTo>
                  <a:lnTo>
                    <a:pt x="5185" y="2988"/>
                  </a:lnTo>
                  <a:lnTo>
                    <a:pt x="5185" y="2988"/>
                  </a:lnTo>
                  <a:close/>
                  <a:moveTo>
                    <a:pt x="4294" y="491"/>
                  </a:moveTo>
                  <a:lnTo>
                    <a:pt x="4294" y="491"/>
                  </a:lnTo>
                  <a:lnTo>
                    <a:pt x="4432" y="874"/>
                  </a:lnTo>
                  <a:lnTo>
                    <a:pt x="4611" y="1377"/>
                  </a:lnTo>
                  <a:lnTo>
                    <a:pt x="4611" y="1377"/>
                  </a:lnTo>
                  <a:lnTo>
                    <a:pt x="4596" y="1389"/>
                  </a:lnTo>
                  <a:lnTo>
                    <a:pt x="4580" y="1402"/>
                  </a:lnTo>
                  <a:lnTo>
                    <a:pt x="4562" y="1414"/>
                  </a:lnTo>
                  <a:lnTo>
                    <a:pt x="4544" y="1426"/>
                  </a:lnTo>
                  <a:lnTo>
                    <a:pt x="4525" y="1437"/>
                  </a:lnTo>
                  <a:lnTo>
                    <a:pt x="4504" y="1449"/>
                  </a:lnTo>
                  <a:lnTo>
                    <a:pt x="4483" y="1459"/>
                  </a:lnTo>
                  <a:lnTo>
                    <a:pt x="4462" y="1471"/>
                  </a:lnTo>
                  <a:lnTo>
                    <a:pt x="4462" y="1471"/>
                  </a:lnTo>
                  <a:lnTo>
                    <a:pt x="4199" y="563"/>
                  </a:lnTo>
                  <a:lnTo>
                    <a:pt x="4199" y="563"/>
                  </a:lnTo>
                  <a:lnTo>
                    <a:pt x="4228" y="547"/>
                  </a:lnTo>
                  <a:lnTo>
                    <a:pt x="4241" y="538"/>
                  </a:lnTo>
                  <a:lnTo>
                    <a:pt x="4254" y="529"/>
                  </a:lnTo>
                  <a:lnTo>
                    <a:pt x="4265" y="519"/>
                  </a:lnTo>
                  <a:lnTo>
                    <a:pt x="4275" y="511"/>
                  </a:lnTo>
                  <a:lnTo>
                    <a:pt x="4286" y="501"/>
                  </a:lnTo>
                  <a:lnTo>
                    <a:pt x="4294" y="491"/>
                  </a:lnTo>
                  <a:lnTo>
                    <a:pt x="4294" y="491"/>
                  </a:lnTo>
                  <a:close/>
                  <a:moveTo>
                    <a:pt x="2881" y="1368"/>
                  </a:moveTo>
                  <a:lnTo>
                    <a:pt x="2881" y="1368"/>
                  </a:lnTo>
                  <a:lnTo>
                    <a:pt x="2897" y="1381"/>
                  </a:lnTo>
                  <a:lnTo>
                    <a:pt x="2912" y="1394"/>
                  </a:lnTo>
                  <a:lnTo>
                    <a:pt x="2929" y="1406"/>
                  </a:lnTo>
                  <a:lnTo>
                    <a:pt x="2948" y="1419"/>
                  </a:lnTo>
                  <a:lnTo>
                    <a:pt x="2967" y="1430"/>
                  </a:lnTo>
                  <a:lnTo>
                    <a:pt x="2986" y="1442"/>
                  </a:lnTo>
                  <a:lnTo>
                    <a:pt x="3007" y="1453"/>
                  </a:lnTo>
                  <a:lnTo>
                    <a:pt x="3029" y="1464"/>
                  </a:lnTo>
                  <a:lnTo>
                    <a:pt x="3051" y="1475"/>
                  </a:lnTo>
                  <a:lnTo>
                    <a:pt x="3075" y="1485"/>
                  </a:lnTo>
                  <a:lnTo>
                    <a:pt x="3099" y="1495"/>
                  </a:lnTo>
                  <a:lnTo>
                    <a:pt x="3124" y="1504"/>
                  </a:lnTo>
                  <a:lnTo>
                    <a:pt x="3176" y="1523"/>
                  </a:lnTo>
                  <a:lnTo>
                    <a:pt x="3231" y="1538"/>
                  </a:lnTo>
                  <a:lnTo>
                    <a:pt x="3288" y="1554"/>
                  </a:lnTo>
                  <a:lnTo>
                    <a:pt x="3348" y="1567"/>
                  </a:lnTo>
                  <a:lnTo>
                    <a:pt x="3410" y="1578"/>
                  </a:lnTo>
                  <a:lnTo>
                    <a:pt x="3475" y="1587"/>
                  </a:lnTo>
                  <a:lnTo>
                    <a:pt x="3541" y="1595"/>
                  </a:lnTo>
                  <a:lnTo>
                    <a:pt x="3610" y="1600"/>
                  </a:lnTo>
                  <a:lnTo>
                    <a:pt x="3680" y="1604"/>
                  </a:lnTo>
                  <a:lnTo>
                    <a:pt x="3751" y="1605"/>
                  </a:lnTo>
                  <a:lnTo>
                    <a:pt x="3751" y="1605"/>
                  </a:lnTo>
                  <a:lnTo>
                    <a:pt x="3821" y="1604"/>
                  </a:lnTo>
                  <a:lnTo>
                    <a:pt x="3889" y="1601"/>
                  </a:lnTo>
                  <a:lnTo>
                    <a:pt x="3955" y="1596"/>
                  </a:lnTo>
                  <a:lnTo>
                    <a:pt x="4020" y="1588"/>
                  </a:lnTo>
                  <a:lnTo>
                    <a:pt x="4020" y="1588"/>
                  </a:lnTo>
                  <a:lnTo>
                    <a:pt x="3927" y="641"/>
                  </a:lnTo>
                  <a:lnTo>
                    <a:pt x="3927" y="641"/>
                  </a:lnTo>
                  <a:lnTo>
                    <a:pt x="3886" y="647"/>
                  </a:lnTo>
                  <a:lnTo>
                    <a:pt x="3842" y="651"/>
                  </a:lnTo>
                  <a:lnTo>
                    <a:pt x="3797" y="653"/>
                  </a:lnTo>
                  <a:lnTo>
                    <a:pt x="3751" y="654"/>
                  </a:lnTo>
                  <a:lnTo>
                    <a:pt x="3751" y="654"/>
                  </a:lnTo>
                  <a:lnTo>
                    <a:pt x="3704" y="653"/>
                  </a:lnTo>
                  <a:lnTo>
                    <a:pt x="3657" y="650"/>
                  </a:lnTo>
                  <a:lnTo>
                    <a:pt x="3611" y="646"/>
                  </a:lnTo>
                  <a:lnTo>
                    <a:pt x="3566" y="640"/>
                  </a:lnTo>
                  <a:lnTo>
                    <a:pt x="3524" y="633"/>
                  </a:lnTo>
                  <a:lnTo>
                    <a:pt x="3482" y="625"/>
                  </a:lnTo>
                  <a:lnTo>
                    <a:pt x="3444" y="615"/>
                  </a:lnTo>
                  <a:lnTo>
                    <a:pt x="3406" y="604"/>
                  </a:lnTo>
                  <a:lnTo>
                    <a:pt x="3371" y="592"/>
                  </a:lnTo>
                  <a:lnTo>
                    <a:pt x="3339" y="579"/>
                  </a:lnTo>
                  <a:lnTo>
                    <a:pt x="3308" y="564"/>
                  </a:lnTo>
                  <a:lnTo>
                    <a:pt x="3281" y="550"/>
                  </a:lnTo>
                  <a:lnTo>
                    <a:pt x="3256" y="533"/>
                  </a:lnTo>
                  <a:lnTo>
                    <a:pt x="3234" y="516"/>
                  </a:lnTo>
                  <a:lnTo>
                    <a:pt x="3223" y="507"/>
                  </a:lnTo>
                  <a:lnTo>
                    <a:pt x="3215" y="499"/>
                  </a:lnTo>
                  <a:lnTo>
                    <a:pt x="3207" y="489"/>
                  </a:lnTo>
                  <a:lnTo>
                    <a:pt x="3199" y="480"/>
                  </a:lnTo>
                  <a:lnTo>
                    <a:pt x="3199" y="480"/>
                  </a:lnTo>
                  <a:lnTo>
                    <a:pt x="3064" y="856"/>
                  </a:lnTo>
                  <a:lnTo>
                    <a:pt x="2881" y="1368"/>
                  </a:lnTo>
                  <a:lnTo>
                    <a:pt x="2881" y="1368"/>
                  </a:lnTo>
                  <a:close/>
                  <a:moveTo>
                    <a:pt x="3434" y="136"/>
                  </a:moveTo>
                  <a:lnTo>
                    <a:pt x="3434" y="136"/>
                  </a:lnTo>
                  <a:lnTo>
                    <a:pt x="3434" y="143"/>
                  </a:lnTo>
                  <a:lnTo>
                    <a:pt x="3435" y="151"/>
                  </a:lnTo>
                  <a:lnTo>
                    <a:pt x="3438" y="157"/>
                  </a:lnTo>
                  <a:lnTo>
                    <a:pt x="3441" y="164"/>
                  </a:lnTo>
                  <a:lnTo>
                    <a:pt x="3444" y="170"/>
                  </a:lnTo>
                  <a:lnTo>
                    <a:pt x="3448" y="177"/>
                  </a:lnTo>
                  <a:lnTo>
                    <a:pt x="3459" y="189"/>
                  </a:lnTo>
                  <a:lnTo>
                    <a:pt x="3472" y="202"/>
                  </a:lnTo>
                  <a:lnTo>
                    <a:pt x="3488" y="213"/>
                  </a:lnTo>
                  <a:lnTo>
                    <a:pt x="3506" y="224"/>
                  </a:lnTo>
                  <a:lnTo>
                    <a:pt x="3527" y="233"/>
                  </a:lnTo>
                  <a:lnTo>
                    <a:pt x="3550" y="241"/>
                  </a:lnTo>
                  <a:lnTo>
                    <a:pt x="3574" y="250"/>
                  </a:lnTo>
                  <a:lnTo>
                    <a:pt x="3601" y="256"/>
                  </a:lnTo>
                  <a:lnTo>
                    <a:pt x="3628" y="262"/>
                  </a:lnTo>
                  <a:lnTo>
                    <a:pt x="3657" y="266"/>
                  </a:lnTo>
                  <a:lnTo>
                    <a:pt x="3688" y="270"/>
                  </a:lnTo>
                  <a:lnTo>
                    <a:pt x="3719" y="273"/>
                  </a:lnTo>
                  <a:lnTo>
                    <a:pt x="3751" y="273"/>
                  </a:lnTo>
                  <a:lnTo>
                    <a:pt x="3751" y="273"/>
                  </a:lnTo>
                  <a:lnTo>
                    <a:pt x="3784" y="273"/>
                  </a:lnTo>
                  <a:lnTo>
                    <a:pt x="3816" y="270"/>
                  </a:lnTo>
                  <a:lnTo>
                    <a:pt x="3846" y="266"/>
                  </a:lnTo>
                  <a:lnTo>
                    <a:pt x="3875" y="262"/>
                  </a:lnTo>
                  <a:lnTo>
                    <a:pt x="3903" y="256"/>
                  </a:lnTo>
                  <a:lnTo>
                    <a:pt x="3929" y="250"/>
                  </a:lnTo>
                  <a:lnTo>
                    <a:pt x="3954" y="241"/>
                  </a:lnTo>
                  <a:lnTo>
                    <a:pt x="3976" y="233"/>
                  </a:lnTo>
                  <a:lnTo>
                    <a:pt x="3997" y="224"/>
                  </a:lnTo>
                  <a:lnTo>
                    <a:pt x="4016" y="213"/>
                  </a:lnTo>
                  <a:lnTo>
                    <a:pt x="4031" y="202"/>
                  </a:lnTo>
                  <a:lnTo>
                    <a:pt x="4045" y="189"/>
                  </a:lnTo>
                  <a:lnTo>
                    <a:pt x="4055" y="177"/>
                  </a:lnTo>
                  <a:lnTo>
                    <a:pt x="4059" y="170"/>
                  </a:lnTo>
                  <a:lnTo>
                    <a:pt x="4062" y="164"/>
                  </a:lnTo>
                  <a:lnTo>
                    <a:pt x="4065" y="157"/>
                  </a:lnTo>
                  <a:lnTo>
                    <a:pt x="4068" y="151"/>
                  </a:lnTo>
                  <a:lnTo>
                    <a:pt x="4069" y="143"/>
                  </a:lnTo>
                  <a:lnTo>
                    <a:pt x="4070" y="136"/>
                  </a:lnTo>
                  <a:lnTo>
                    <a:pt x="4070" y="136"/>
                  </a:lnTo>
                  <a:lnTo>
                    <a:pt x="4069" y="130"/>
                  </a:lnTo>
                  <a:lnTo>
                    <a:pt x="4068" y="122"/>
                  </a:lnTo>
                  <a:lnTo>
                    <a:pt x="4065" y="115"/>
                  </a:lnTo>
                  <a:lnTo>
                    <a:pt x="4062" y="109"/>
                  </a:lnTo>
                  <a:lnTo>
                    <a:pt x="4059" y="103"/>
                  </a:lnTo>
                  <a:lnTo>
                    <a:pt x="4055" y="95"/>
                  </a:lnTo>
                  <a:lnTo>
                    <a:pt x="4045" y="83"/>
                  </a:lnTo>
                  <a:lnTo>
                    <a:pt x="4031" y="71"/>
                  </a:lnTo>
                  <a:lnTo>
                    <a:pt x="4016" y="60"/>
                  </a:lnTo>
                  <a:lnTo>
                    <a:pt x="3997" y="50"/>
                  </a:lnTo>
                  <a:lnTo>
                    <a:pt x="3976" y="40"/>
                  </a:lnTo>
                  <a:lnTo>
                    <a:pt x="3954" y="31"/>
                  </a:lnTo>
                  <a:lnTo>
                    <a:pt x="3929" y="23"/>
                  </a:lnTo>
                  <a:lnTo>
                    <a:pt x="3903" y="16"/>
                  </a:lnTo>
                  <a:lnTo>
                    <a:pt x="3875" y="11"/>
                  </a:lnTo>
                  <a:lnTo>
                    <a:pt x="3846" y="6"/>
                  </a:lnTo>
                  <a:lnTo>
                    <a:pt x="3816" y="3"/>
                  </a:lnTo>
                  <a:lnTo>
                    <a:pt x="3784" y="1"/>
                  </a:lnTo>
                  <a:lnTo>
                    <a:pt x="3751" y="0"/>
                  </a:lnTo>
                  <a:lnTo>
                    <a:pt x="3751" y="0"/>
                  </a:lnTo>
                  <a:lnTo>
                    <a:pt x="3719" y="1"/>
                  </a:lnTo>
                  <a:lnTo>
                    <a:pt x="3688" y="3"/>
                  </a:lnTo>
                  <a:lnTo>
                    <a:pt x="3657" y="6"/>
                  </a:lnTo>
                  <a:lnTo>
                    <a:pt x="3628" y="11"/>
                  </a:lnTo>
                  <a:lnTo>
                    <a:pt x="3601" y="16"/>
                  </a:lnTo>
                  <a:lnTo>
                    <a:pt x="3574" y="23"/>
                  </a:lnTo>
                  <a:lnTo>
                    <a:pt x="3550" y="31"/>
                  </a:lnTo>
                  <a:lnTo>
                    <a:pt x="3527" y="40"/>
                  </a:lnTo>
                  <a:lnTo>
                    <a:pt x="3506" y="50"/>
                  </a:lnTo>
                  <a:lnTo>
                    <a:pt x="3488" y="60"/>
                  </a:lnTo>
                  <a:lnTo>
                    <a:pt x="3472" y="71"/>
                  </a:lnTo>
                  <a:lnTo>
                    <a:pt x="3459" y="83"/>
                  </a:lnTo>
                  <a:lnTo>
                    <a:pt x="3448" y="95"/>
                  </a:lnTo>
                  <a:lnTo>
                    <a:pt x="3444" y="103"/>
                  </a:lnTo>
                  <a:lnTo>
                    <a:pt x="3441" y="109"/>
                  </a:lnTo>
                  <a:lnTo>
                    <a:pt x="3438" y="115"/>
                  </a:lnTo>
                  <a:lnTo>
                    <a:pt x="3435" y="122"/>
                  </a:lnTo>
                  <a:lnTo>
                    <a:pt x="3434" y="130"/>
                  </a:lnTo>
                  <a:lnTo>
                    <a:pt x="3434" y="136"/>
                  </a:lnTo>
                  <a:lnTo>
                    <a:pt x="3434" y="136"/>
                  </a:lnTo>
                  <a:close/>
                </a:path>
              </a:pathLst>
            </a:custGeom>
            <a:solidFill>
              <a:srgbClr val="F15A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86" name="Freeform 83"/>
            <p:cNvSpPr>
              <a:spLocks/>
            </p:cNvSpPr>
            <p:nvPr/>
          </p:nvSpPr>
          <p:spPr bwMode="auto">
            <a:xfrm flipH="1">
              <a:off x="6474731" y="2848002"/>
              <a:ext cx="1381686" cy="261854"/>
            </a:xfrm>
            <a:custGeom>
              <a:avLst/>
              <a:gdLst>
                <a:gd name="T0" fmla="*/ 1 w 7498"/>
                <a:gd name="T1" fmla="*/ 15 h 1827"/>
                <a:gd name="T2" fmla="*/ 14 w 7498"/>
                <a:gd name="T3" fmla="*/ 65 h 1827"/>
                <a:gd name="T4" fmla="*/ 32 w 7498"/>
                <a:gd name="T5" fmla="*/ 101 h 1827"/>
                <a:gd name="T6" fmla="*/ 60 w 7498"/>
                <a:gd name="T7" fmla="*/ 136 h 1827"/>
                <a:gd name="T8" fmla="*/ 102 w 7498"/>
                <a:gd name="T9" fmla="*/ 166 h 1827"/>
                <a:gd name="T10" fmla="*/ 273 w 7498"/>
                <a:gd name="T11" fmla="*/ 248 h 1827"/>
                <a:gd name="T12" fmla="*/ 3325 w 7498"/>
                <a:gd name="T13" fmla="*/ 1690 h 1827"/>
                <a:gd name="T14" fmla="*/ 3358 w 7498"/>
                <a:gd name="T15" fmla="*/ 1703 h 1827"/>
                <a:gd name="T16" fmla="*/ 3449 w 7498"/>
                <a:gd name="T17" fmla="*/ 1730 h 1827"/>
                <a:gd name="T18" fmla="*/ 3547 w 7498"/>
                <a:gd name="T19" fmla="*/ 1751 h 1827"/>
                <a:gd name="T20" fmla="*/ 3663 w 7498"/>
                <a:gd name="T21" fmla="*/ 1766 h 1827"/>
                <a:gd name="T22" fmla="*/ 3749 w 7498"/>
                <a:gd name="T23" fmla="*/ 1770 h 1827"/>
                <a:gd name="T24" fmla="*/ 3876 w 7498"/>
                <a:gd name="T25" fmla="*/ 1762 h 1827"/>
                <a:gd name="T26" fmla="*/ 3987 w 7498"/>
                <a:gd name="T27" fmla="*/ 1745 h 1827"/>
                <a:gd name="T28" fmla="*/ 4077 w 7498"/>
                <a:gd name="T29" fmla="*/ 1723 h 1827"/>
                <a:gd name="T30" fmla="*/ 4165 w 7498"/>
                <a:gd name="T31" fmla="*/ 1693 h 1827"/>
                <a:gd name="T32" fmla="*/ 5743 w 7498"/>
                <a:gd name="T33" fmla="*/ 951 h 1827"/>
                <a:gd name="T34" fmla="*/ 7342 w 7498"/>
                <a:gd name="T35" fmla="*/ 193 h 1827"/>
                <a:gd name="T36" fmla="*/ 7412 w 7498"/>
                <a:gd name="T37" fmla="*/ 157 h 1827"/>
                <a:gd name="T38" fmla="*/ 7449 w 7498"/>
                <a:gd name="T39" fmla="*/ 124 h 1827"/>
                <a:gd name="T40" fmla="*/ 7474 w 7498"/>
                <a:gd name="T41" fmla="*/ 89 h 1827"/>
                <a:gd name="T42" fmla="*/ 7489 w 7498"/>
                <a:gd name="T43" fmla="*/ 53 h 1827"/>
                <a:gd name="T44" fmla="*/ 7498 w 7498"/>
                <a:gd name="T45" fmla="*/ 0 h 1827"/>
                <a:gd name="T46" fmla="*/ 7498 w 7498"/>
                <a:gd name="T47" fmla="*/ 46 h 1827"/>
                <a:gd name="T48" fmla="*/ 7495 w 7498"/>
                <a:gd name="T49" fmla="*/ 87 h 1827"/>
                <a:gd name="T50" fmla="*/ 7484 w 7498"/>
                <a:gd name="T51" fmla="*/ 126 h 1827"/>
                <a:gd name="T52" fmla="*/ 7459 w 7498"/>
                <a:gd name="T53" fmla="*/ 171 h 1827"/>
                <a:gd name="T54" fmla="*/ 7415 w 7498"/>
                <a:gd name="T55" fmla="*/ 212 h 1827"/>
                <a:gd name="T56" fmla="*/ 7396 w 7498"/>
                <a:gd name="T57" fmla="*/ 223 h 1827"/>
                <a:gd name="T58" fmla="*/ 6846 w 7498"/>
                <a:gd name="T59" fmla="*/ 487 h 1827"/>
                <a:gd name="T60" fmla="*/ 4173 w 7498"/>
                <a:gd name="T61" fmla="*/ 1748 h 1827"/>
                <a:gd name="T62" fmla="*/ 4102 w 7498"/>
                <a:gd name="T63" fmla="*/ 1773 h 1827"/>
                <a:gd name="T64" fmla="*/ 4020 w 7498"/>
                <a:gd name="T65" fmla="*/ 1795 h 1827"/>
                <a:gd name="T66" fmla="*/ 3915 w 7498"/>
                <a:gd name="T67" fmla="*/ 1814 h 1827"/>
                <a:gd name="T68" fmla="*/ 3793 w 7498"/>
                <a:gd name="T69" fmla="*/ 1826 h 1827"/>
                <a:gd name="T70" fmla="*/ 3706 w 7498"/>
                <a:gd name="T71" fmla="*/ 1826 h 1827"/>
                <a:gd name="T72" fmla="*/ 3584 w 7498"/>
                <a:gd name="T73" fmla="*/ 1814 h 1827"/>
                <a:gd name="T74" fmla="*/ 3479 w 7498"/>
                <a:gd name="T75" fmla="*/ 1795 h 1827"/>
                <a:gd name="T76" fmla="*/ 3397 w 7498"/>
                <a:gd name="T77" fmla="*/ 1773 h 1827"/>
                <a:gd name="T78" fmla="*/ 3325 w 7498"/>
                <a:gd name="T79" fmla="*/ 1748 h 1827"/>
                <a:gd name="T80" fmla="*/ 652 w 7498"/>
                <a:gd name="T81" fmla="*/ 487 h 1827"/>
                <a:gd name="T82" fmla="*/ 102 w 7498"/>
                <a:gd name="T83" fmla="*/ 223 h 1827"/>
                <a:gd name="T84" fmla="*/ 84 w 7498"/>
                <a:gd name="T85" fmla="*/ 212 h 1827"/>
                <a:gd name="T86" fmla="*/ 40 w 7498"/>
                <a:gd name="T87" fmla="*/ 171 h 1827"/>
                <a:gd name="T88" fmla="*/ 15 w 7498"/>
                <a:gd name="T89" fmla="*/ 126 h 1827"/>
                <a:gd name="T90" fmla="*/ 3 w 7498"/>
                <a:gd name="T91" fmla="*/ 87 h 1827"/>
                <a:gd name="T92" fmla="*/ 0 w 7498"/>
                <a:gd name="T93" fmla="*/ 46 h 1827"/>
                <a:gd name="T94" fmla="*/ 0 w 7498"/>
                <a:gd name="T95" fmla="*/ 0 h 1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98" h="1827">
                  <a:moveTo>
                    <a:pt x="0" y="0"/>
                  </a:moveTo>
                  <a:lnTo>
                    <a:pt x="0" y="0"/>
                  </a:lnTo>
                  <a:lnTo>
                    <a:pt x="1" y="15"/>
                  </a:lnTo>
                  <a:lnTo>
                    <a:pt x="5" y="33"/>
                  </a:lnTo>
                  <a:lnTo>
                    <a:pt x="10" y="53"/>
                  </a:lnTo>
                  <a:lnTo>
                    <a:pt x="14" y="65"/>
                  </a:lnTo>
                  <a:lnTo>
                    <a:pt x="18" y="77"/>
                  </a:lnTo>
                  <a:lnTo>
                    <a:pt x="24" y="89"/>
                  </a:lnTo>
                  <a:lnTo>
                    <a:pt x="32" y="101"/>
                  </a:lnTo>
                  <a:lnTo>
                    <a:pt x="39" y="113"/>
                  </a:lnTo>
                  <a:lnTo>
                    <a:pt x="49" y="124"/>
                  </a:lnTo>
                  <a:lnTo>
                    <a:pt x="60" y="136"/>
                  </a:lnTo>
                  <a:lnTo>
                    <a:pt x="72" y="147"/>
                  </a:lnTo>
                  <a:lnTo>
                    <a:pt x="87" y="157"/>
                  </a:lnTo>
                  <a:lnTo>
                    <a:pt x="102" y="166"/>
                  </a:lnTo>
                  <a:lnTo>
                    <a:pt x="102" y="166"/>
                  </a:lnTo>
                  <a:lnTo>
                    <a:pt x="156" y="193"/>
                  </a:lnTo>
                  <a:lnTo>
                    <a:pt x="273" y="248"/>
                  </a:lnTo>
                  <a:lnTo>
                    <a:pt x="652" y="430"/>
                  </a:lnTo>
                  <a:lnTo>
                    <a:pt x="1755" y="951"/>
                  </a:lnTo>
                  <a:lnTo>
                    <a:pt x="3325" y="1690"/>
                  </a:lnTo>
                  <a:lnTo>
                    <a:pt x="3325" y="1690"/>
                  </a:lnTo>
                  <a:lnTo>
                    <a:pt x="3333" y="1693"/>
                  </a:lnTo>
                  <a:lnTo>
                    <a:pt x="3358" y="1703"/>
                  </a:lnTo>
                  <a:lnTo>
                    <a:pt x="3397" y="1715"/>
                  </a:lnTo>
                  <a:lnTo>
                    <a:pt x="3422" y="1723"/>
                  </a:lnTo>
                  <a:lnTo>
                    <a:pt x="3449" y="1730"/>
                  </a:lnTo>
                  <a:lnTo>
                    <a:pt x="3479" y="1737"/>
                  </a:lnTo>
                  <a:lnTo>
                    <a:pt x="3511" y="1745"/>
                  </a:lnTo>
                  <a:lnTo>
                    <a:pt x="3547" y="1751"/>
                  </a:lnTo>
                  <a:lnTo>
                    <a:pt x="3584" y="1757"/>
                  </a:lnTo>
                  <a:lnTo>
                    <a:pt x="3622" y="1762"/>
                  </a:lnTo>
                  <a:lnTo>
                    <a:pt x="3663" y="1766"/>
                  </a:lnTo>
                  <a:lnTo>
                    <a:pt x="3706" y="1769"/>
                  </a:lnTo>
                  <a:lnTo>
                    <a:pt x="3749" y="1770"/>
                  </a:lnTo>
                  <a:lnTo>
                    <a:pt x="3749" y="1770"/>
                  </a:lnTo>
                  <a:lnTo>
                    <a:pt x="3793" y="1769"/>
                  </a:lnTo>
                  <a:lnTo>
                    <a:pt x="3836" y="1766"/>
                  </a:lnTo>
                  <a:lnTo>
                    <a:pt x="3876" y="1762"/>
                  </a:lnTo>
                  <a:lnTo>
                    <a:pt x="3915" y="1757"/>
                  </a:lnTo>
                  <a:lnTo>
                    <a:pt x="3952" y="1751"/>
                  </a:lnTo>
                  <a:lnTo>
                    <a:pt x="3987" y="1745"/>
                  </a:lnTo>
                  <a:lnTo>
                    <a:pt x="4020" y="1737"/>
                  </a:lnTo>
                  <a:lnTo>
                    <a:pt x="4050" y="1730"/>
                  </a:lnTo>
                  <a:lnTo>
                    <a:pt x="4077" y="1723"/>
                  </a:lnTo>
                  <a:lnTo>
                    <a:pt x="4102" y="1715"/>
                  </a:lnTo>
                  <a:lnTo>
                    <a:pt x="4140" y="1703"/>
                  </a:lnTo>
                  <a:lnTo>
                    <a:pt x="4165" y="1693"/>
                  </a:lnTo>
                  <a:lnTo>
                    <a:pt x="4173" y="1690"/>
                  </a:lnTo>
                  <a:lnTo>
                    <a:pt x="4173" y="1690"/>
                  </a:lnTo>
                  <a:lnTo>
                    <a:pt x="5743" y="951"/>
                  </a:lnTo>
                  <a:lnTo>
                    <a:pt x="6846" y="430"/>
                  </a:lnTo>
                  <a:lnTo>
                    <a:pt x="7226" y="248"/>
                  </a:lnTo>
                  <a:lnTo>
                    <a:pt x="7342" y="193"/>
                  </a:lnTo>
                  <a:lnTo>
                    <a:pt x="7396" y="166"/>
                  </a:lnTo>
                  <a:lnTo>
                    <a:pt x="7396" y="166"/>
                  </a:lnTo>
                  <a:lnTo>
                    <a:pt x="7412" y="157"/>
                  </a:lnTo>
                  <a:lnTo>
                    <a:pt x="7427" y="146"/>
                  </a:lnTo>
                  <a:lnTo>
                    <a:pt x="7439" y="136"/>
                  </a:lnTo>
                  <a:lnTo>
                    <a:pt x="7449" y="124"/>
                  </a:lnTo>
                  <a:lnTo>
                    <a:pt x="7459" y="113"/>
                  </a:lnTo>
                  <a:lnTo>
                    <a:pt x="7467" y="101"/>
                  </a:lnTo>
                  <a:lnTo>
                    <a:pt x="7474" y="89"/>
                  </a:lnTo>
                  <a:lnTo>
                    <a:pt x="7481" y="77"/>
                  </a:lnTo>
                  <a:lnTo>
                    <a:pt x="7485" y="65"/>
                  </a:lnTo>
                  <a:lnTo>
                    <a:pt x="7489" y="53"/>
                  </a:lnTo>
                  <a:lnTo>
                    <a:pt x="7494" y="33"/>
                  </a:lnTo>
                  <a:lnTo>
                    <a:pt x="7497" y="15"/>
                  </a:lnTo>
                  <a:lnTo>
                    <a:pt x="7498" y="0"/>
                  </a:lnTo>
                  <a:lnTo>
                    <a:pt x="7498" y="0"/>
                  </a:lnTo>
                  <a:lnTo>
                    <a:pt x="7498" y="46"/>
                  </a:lnTo>
                  <a:lnTo>
                    <a:pt x="7498" y="46"/>
                  </a:lnTo>
                  <a:lnTo>
                    <a:pt x="7498" y="51"/>
                  </a:lnTo>
                  <a:lnTo>
                    <a:pt x="7498" y="66"/>
                  </a:lnTo>
                  <a:lnTo>
                    <a:pt x="7495" y="87"/>
                  </a:lnTo>
                  <a:lnTo>
                    <a:pt x="7492" y="99"/>
                  </a:lnTo>
                  <a:lnTo>
                    <a:pt x="7489" y="113"/>
                  </a:lnTo>
                  <a:lnTo>
                    <a:pt x="7484" y="126"/>
                  </a:lnTo>
                  <a:lnTo>
                    <a:pt x="7476" y="141"/>
                  </a:lnTo>
                  <a:lnTo>
                    <a:pt x="7469" y="157"/>
                  </a:lnTo>
                  <a:lnTo>
                    <a:pt x="7459" y="171"/>
                  </a:lnTo>
                  <a:lnTo>
                    <a:pt x="7446" y="185"/>
                  </a:lnTo>
                  <a:lnTo>
                    <a:pt x="7432" y="199"/>
                  </a:lnTo>
                  <a:lnTo>
                    <a:pt x="7415" y="212"/>
                  </a:lnTo>
                  <a:lnTo>
                    <a:pt x="7406" y="218"/>
                  </a:lnTo>
                  <a:lnTo>
                    <a:pt x="7396" y="223"/>
                  </a:lnTo>
                  <a:lnTo>
                    <a:pt x="7396" y="223"/>
                  </a:lnTo>
                  <a:lnTo>
                    <a:pt x="7342" y="250"/>
                  </a:lnTo>
                  <a:lnTo>
                    <a:pt x="7226" y="306"/>
                  </a:lnTo>
                  <a:lnTo>
                    <a:pt x="6846" y="487"/>
                  </a:lnTo>
                  <a:lnTo>
                    <a:pt x="5743" y="1008"/>
                  </a:lnTo>
                  <a:lnTo>
                    <a:pt x="4173" y="1748"/>
                  </a:lnTo>
                  <a:lnTo>
                    <a:pt x="4173" y="1748"/>
                  </a:lnTo>
                  <a:lnTo>
                    <a:pt x="4165" y="1751"/>
                  </a:lnTo>
                  <a:lnTo>
                    <a:pt x="4140" y="1760"/>
                  </a:lnTo>
                  <a:lnTo>
                    <a:pt x="4102" y="1773"/>
                  </a:lnTo>
                  <a:lnTo>
                    <a:pt x="4077" y="1780"/>
                  </a:lnTo>
                  <a:lnTo>
                    <a:pt x="4050" y="1787"/>
                  </a:lnTo>
                  <a:lnTo>
                    <a:pt x="4020" y="1795"/>
                  </a:lnTo>
                  <a:lnTo>
                    <a:pt x="3987" y="1802"/>
                  </a:lnTo>
                  <a:lnTo>
                    <a:pt x="3952" y="1808"/>
                  </a:lnTo>
                  <a:lnTo>
                    <a:pt x="3915" y="1814"/>
                  </a:lnTo>
                  <a:lnTo>
                    <a:pt x="3876" y="1820"/>
                  </a:lnTo>
                  <a:lnTo>
                    <a:pt x="3836" y="1823"/>
                  </a:lnTo>
                  <a:lnTo>
                    <a:pt x="3793" y="1826"/>
                  </a:lnTo>
                  <a:lnTo>
                    <a:pt x="3749" y="1827"/>
                  </a:lnTo>
                  <a:lnTo>
                    <a:pt x="3749" y="1827"/>
                  </a:lnTo>
                  <a:lnTo>
                    <a:pt x="3706" y="1826"/>
                  </a:lnTo>
                  <a:lnTo>
                    <a:pt x="3663" y="1823"/>
                  </a:lnTo>
                  <a:lnTo>
                    <a:pt x="3622" y="1820"/>
                  </a:lnTo>
                  <a:lnTo>
                    <a:pt x="3584" y="1814"/>
                  </a:lnTo>
                  <a:lnTo>
                    <a:pt x="3547" y="1808"/>
                  </a:lnTo>
                  <a:lnTo>
                    <a:pt x="3511" y="1802"/>
                  </a:lnTo>
                  <a:lnTo>
                    <a:pt x="3479" y="1795"/>
                  </a:lnTo>
                  <a:lnTo>
                    <a:pt x="3449" y="1787"/>
                  </a:lnTo>
                  <a:lnTo>
                    <a:pt x="3422" y="1780"/>
                  </a:lnTo>
                  <a:lnTo>
                    <a:pt x="3397" y="1773"/>
                  </a:lnTo>
                  <a:lnTo>
                    <a:pt x="3358" y="1760"/>
                  </a:lnTo>
                  <a:lnTo>
                    <a:pt x="3333" y="1751"/>
                  </a:lnTo>
                  <a:lnTo>
                    <a:pt x="3325" y="1748"/>
                  </a:lnTo>
                  <a:lnTo>
                    <a:pt x="3325" y="1748"/>
                  </a:lnTo>
                  <a:lnTo>
                    <a:pt x="1755" y="1008"/>
                  </a:lnTo>
                  <a:lnTo>
                    <a:pt x="652" y="487"/>
                  </a:lnTo>
                  <a:lnTo>
                    <a:pt x="273" y="306"/>
                  </a:lnTo>
                  <a:lnTo>
                    <a:pt x="156" y="250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93" y="218"/>
                  </a:lnTo>
                  <a:lnTo>
                    <a:pt x="84" y="212"/>
                  </a:lnTo>
                  <a:lnTo>
                    <a:pt x="67" y="199"/>
                  </a:lnTo>
                  <a:lnTo>
                    <a:pt x="52" y="185"/>
                  </a:lnTo>
                  <a:lnTo>
                    <a:pt x="40" y="171"/>
                  </a:lnTo>
                  <a:lnTo>
                    <a:pt x="29" y="157"/>
                  </a:lnTo>
                  <a:lnTo>
                    <a:pt x="21" y="141"/>
                  </a:lnTo>
                  <a:lnTo>
                    <a:pt x="15" y="126"/>
                  </a:lnTo>
                  <a:lnTo>
                    <a:pt x="10" y="113"/>
                  </a:lnTo>
                  <a:lnTo>
                    <a:pt x="7" y="99"/>
                  </a:lnTo>
                  <a:lnTo>
                    <a:pt x="3" y="87"/>
                  </a:lnTo>
                  <a:lnTo>
                    <a:pt x="0" y="66"/>
                  </a:lnTo>
                  <a:lnTo>
                    <a:pt x="0" y="51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235" name="Rectangle 234"/>
          <p:cNvSpPr/>
          <p:nvPr/>
        </p:nvSpPr>
        <p:spPr>
          <a:xfrm>
            <a:off x="1726217" y="6142337"/>
            <a:ext cx="18806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Self-Identification</a:t>
            </a:r>
          </a:p>
        </p:txBody>
      </p:sp>
      <p:grpSp>
        <p:nvGrpSpPr>
          <p:cNvPr id="274" name="Groupe 1322"/>
          <p:cNvGrpSpPr/>
          <p:nvPr/>
        </p:nvGrpSpPr>
        <p:grpSpPr>
          <a:xfrm>
            <a:off x="3685425" y="3982209"/>
            <a:ext cx="816037" cy="665754"/>
            <a:chOff x="4833737" y="2381052"/>
            <a:chExt cx="1731300" cy="1412460"/>
          </a:xfrm>
        </p:grpSpPr>
        <p:sp>
          <p:nvSpPr>
            <p:cNvPr id="275" name="Freeform 6"/>
            <p:cNvSpPr>
              <a:spLocks/>
            </p:cNvSpPr>
            <p:nvPr/>
          </p:nvSpPr>
          <p:spPr bwMode="auto">
            <a:xfrm flipH="1">
              <a:off x="4833737" y="3253036"/>
              <a:ext cx="1731300" cy="540476"/>
            </a:xfrm>
            <a:custGeom>
              <a:avLst/>
              <a:gdLst>
                <a:gd name="T0" fmla="*/ 0 w 9393"/>
                <a:gd name="T1" fmla="*/ 1536 h 3766"/>
                <a:gd name="T2" fmla="*/ 0 w 9393"/>
                <a:gd name="T3" fmla="*/ 1186 h 3766"/>
                <a:gd name="T4" fmla="*/ 1 w 9393"/>
                <a:gd name="T5" fmla="*/ 1157 h 3766"/>
                <a:gd name="T6" fmla="*/ 5 w 9393"/>
                <a:gd name="T7" fmla="*/ 1131 h 3766"/>
                <a:gd name="T8" fmla="*/ 18 w 9393"/>
                <a:gd name="T9" fmla="*/ 1083 h 3766"/>
                <a:gd name="T10" fmla="*/ 37 w 9393"/>
                <a:gd name="T11" fmla="*/ 1043 h 3766"/>
                <a:gd name="T12" fmla="*/ 59 w 9393"/>
                <a:gd name="T13" fmla="*/ 1010 h 3766"/>
                <a:gd name="T14" fmla="*/ 81 w 9393"/>
                <a:gd name="T15" fmla="*/ 985 h 3766"/>
                <a:gd name="T16" fmla="*/ 99 w 9393"/>
                <a:gd name="T17" fmla="*/ 967 h 3766"/>
                <a:gd name="T18" fmla="*/ 118 w 9393"/>
                <a:gd name="T19" fmla="*/ 954 h 3766"/>
                <a:gd name="T20" fmla="*/ 4697 w 9393"/>
                <a:gd name="T21" fmla="*/ 1605 h 3766"/>
                <a:gd name="T22" fmla="*/ 9275 w 9393"/>
                <a:gd name="T23" fmla="*/ 954 h 3766"/>
                <a:gd name="T24" fmla="*/ 9279 w 9393"/>
                <a:gd name="T25" fmla="*/ 957 h 3766"/>
                <a:gd name="T26" fmla="*/ 9302 w 9393"/>
                <a:gd name="T27" fmla="*/ 975 h 3766"/>
                <a:gd name="T28" fmla="*/ 9323 w 9393"/>
                <a:gd name="T29" fmla="*/ 997 h 3766"/>
                <a:gd name="T30" fmla="*/ 9345 w 9393"/>
                <a:gd name="T31" fmla="*/ 1025 h 3766"/>
                <a:gd name="T32" fmla="*/ 9366 w 9393"/>
                <a:gd name="T33" fmla="*/ 1062 h 3766"/>
                <a:gd name="T34" fmla="*/ 9382 w 9393"/>
                <a:gd name="T35" fmla="*/ 1106 h 3766"/>
                <a:gd name="T36" fmla="*/ 9390 w 9393"/>
                <a:gd name="T37" fmla="*/ 1143 h 3766"/>
                <a:gd name="T38" fmla="*/ 9393 w 9393"/>
                <a:gd name="T39" fmla="*/ 1171 h 3766"/>
                <a:gd name="T40" fmla="*/ 9393 w 9393"/>
                <a:gd name="T41" fmla="*/ 1186 h 3766"/>
                <a:gd name="T42" fmla="*/ 9393 w 9393"/>
                <a:gd name="T43" fmla="*/ 1536 h 3766"/>
                <a:gd name="T44" fmla="*/ 9393 w 9393"/>
                <a:gd name="T45" fmla="*/ 1560 h 3766"/>
                <a:gd name="T46" fmla="*/ 9389 w 9393"/>
                <a:gd name="T47" fmla="*/ 1587 h 3766"/>
                <a:gd name="T48" fmla="*/ 9380 w 9393"/>
                <a:gd name="T49" fmla="*/ 1619 h 3766"/>
                <a:gd name="T50" fmla="*/ 9366 w 9393"/>
                <a:gd name="T51" fmla="*/ 1655 h 3766"/>
                <a:gd name="T52" fmla="*/ 9343 w 9393"/>
                <a:gd name="T53" fmla="*/ 1692 h 3766"/>
                <a:gd name="T54" fmla="*/ 9319 w 9393"/>
                <a:gd name="T55" fmla="*/ 1718 h 3766"/>
                <a:gd name="T56" fmla="*/ 9300 w 9393"/>
                <a:gd name="T57" fmla="*/ 1735 h 3766"/>
                <a:gd name="T58" fmla="*/ 9277 w 9393"/>
                <a:gd name="T59" fmla="*/ 1751 h 3766"/>
                <a:gd name="T60" fmla="*/ 9265 w 9393"/>
                <a:gd name="T61" fmla="*/ 1758 h 3766"/>
                <a:gd name="T62" fmla="*/ 9052 w 9393"/>
                <a:gd name="T63" fmla="*/ 1861 h 3766"/>
                <a:gd name="T64" fmla="*/ 7927 w 9393"/>
                <a:gd name="T65" fmla="*/ 2395 h 3766"/>
                <a:gd name="T66" fmla="*/ 5839 w 9393"/>
                <a:gd name="T67" fmla="*/ 3379 h 3766"/>
                <a:gd name="T68" fmla="*/ 5228 w 9393"/>
                <a:gd name="T69" fmla="*/ 3668 h 3766"/>
                <a:gd name="T70" fmla="*/ 5186 w 9393"/>
                <a:gd name="T71" fmla="*/ 3682 h 3766"/>
                <a:gd name="T72" fmla="*/ 5107 w 9393"/>
                <a:gd name="T73" fmla="*/ 3707 h 3766"/>
                <a:gd name="T74" fmla="*/ 5036 w 9393"/>
                <a:gd name="T75" fmla="*/ 3726 h 3766"/>
                <a:gd name="T76" fmla="*/ 4950 w 9393"/>
                <a:gd name="T77" fmla="*/ 3743 h 3766"/>
                <a:gd name="T78" fmla="*/ 4855 w 9393"/>
                <a:gd name="T79" fmla="*/ 3756 h 3766"/>
                <a:gd name="T80" fmla="*/ 4751 w 9393"/>
                <a:gd name="T81" fmla="*/ 3765 h 3766"/>
                <a:gd name="T82" fmla="*/ 4697 w 9393"/>
                <a:gd name="T83" fmla="*/ 3766 h 3766"/>
                <a:gd name="T84" fmla="*/ 4588 w 9393"/>
                <a:gd name="T85" fmla="*/ 3762 h 3766"/>
                <a:gd name="T86" fmla="*/ 4489 w 9393"/>
                <a:gd name="T87" fmla="*/ 3750 h 3766"/>
                <a:gd name="T88" fmla="*/ 4398 w 9393"/>
                <a:gd name="T89" fmla="*/ 3735 h 3766"/>
                <a:gd name="T90" fmla="*/ 4319 w 9393"/>
                <a:gd name="T91" fmla="*/ 3717 h 3766"/>
                <a:gd name="T92" fmla="*/ 4255 w 9393"/>
                <a:gd name="T93" fmla="*/ 3698 h 3766"/>
                <a:gd name="T94" fmla="*/ 4176 w 9393"/>
                <a:gd name="T95" fmla="*/ 3672 h 3766"/>
                <a:gd name="T96" fmla="*/ 4164 w 9393"/>
                <a:gd name="T97" fmla="*/ 3668 h 3766"/>
                <a:gd name="T98" fmla="*/ 2197 w 9393"/>
                <a:gd name="T99" fmla="*/ 2740 h 3766"/>
                <a:gd name="T100" fmla="*/ 817 w 9393"/>
                <a:gd name="T101" fmla="*/ 2087 h 3766"/>
                <a:gd name="T102" fmla="*/ 196 w 9393"/>
                <a:gd name="T103" fmla="*/ 1791 h 3766"/>
                <a:gd name="T104" fmla="*/ 127 w 9393"/>
                <a:gd name="T105" fmla="*/ 1758 h 3766"/>
                <a:gd name="T106" fmla="*/ 104 w 9393"/>
                <a:gd name="T107" fmla="*/ 1743 h 3766"/>
                <a:gd name="T108" fmla="*/ 83 w 9393"/>
                <a:gd name="T109" fmla="*/ 1727 h 3766"/>
                <a:gd name="T110" fmla="*/ 65 w 9393"/>
                <a:gd name="T111" fmla="*/ 1710 h 3766"/>
                <a:gd name="T112" fmla="*/ 37 w 9393"/>
                <a:gd name="T113" fmla="*/ 1674 h 3766"/>
                <a:gd name="T114" fmla="*/ 18 w 9393"/>
                <a:gd name="T115" fmla="*/ 1637 h 3766"/>
                <a:gd name="T116" fmla="*/ 7 w 9393"/>
                <a:gd name="T117" fmla="*/ 1603 h 3766"/>
                <a:gd name="T118" fmla="*/ 2 w 9393"/>
                <a:gd name="T119" fmla="*/ 1572 h 3766"/>
                <a:gd name="T120" fmla="*/ 0 w 9393"/>
                <a:gd name="T121" fmla="*/ 1542 h 3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393" h="3766">
                  <a:moveTo>
                    <a:pt x="0" y="1536"/>
                  </a:moveTo>
                  <a:lnTo>
                    <a:pt x="0" y="1536"/>
                  </a:lnTo>
                  <a:lnTo>
                    <a:pt x="0" y="1186"/>
                  </a:lnTo>
                  <a:lnTo>
                    <a:pt x="0" y="1186"/>
                  </a:lnTo>
                  <a:lnTo>
                    <a:pt x="0" y="1171"/>
                  </a:lnTo>
                  <a:lnTo>
                    <a:pt x="1" y="1157"/>
                  </a:lnTo>
                  <a:lnTo>
                    <a:pt x="3" y="1143"/>
                  </a:lnTo>
                  <a:lnTo>
                    <a:pt x="5" y="1131"/>
                  </a:lnTo>
                  <a:lnTo>
                    <a:pt x="11" y="1106"/>
                  </a:lnTo>
                  <a:lnTo>
                    <a:pt x="18" y="1083"/>
                  </a:lnTo>
                  <a:lnTo>
                    <a:pt x="27" y="1062"/>
                  </a:lnTo>
                  <a:lnTo>
                    <a:pt x="37" y="1043"/>
                  </a:lnTo>
                  <a:lnTo>
                    <a:pt x="47" y="1025"/>
                  </a:lnTo>
                  <a:lnTo>
                    <a:pt x="59" y="1010"/>
                  </a:lnTo>
                  <a:lnTo>
                    <a:pt x="69" y="997"/>
                  </a:lnTo>
                  <a:lnTo>
                    <a:pt x="81" y="985"/>
                  </a:lnTo>
                  <a:lnTo>
                    <a:pt x="90" y="975"/>
                  </a:lnTo>
                  <a:lnTo>
                    <a:pt x="99" y="967"/>
                  </a:lnTo>
                  <a:lnTo>
                    <a:pt x="113" y="957"/>
                  </a:lnTo>
                  <a:lnTo>
                    <a:pt x="118" y="954"/>
                  </a:lnTo>
                  <a:lnTo>
                    <a:pt x="2090" y="0"/>
                  </a:lnTo>
                  <a:lnTo>
                    <a:pt x="4697" y="1605"/>
                  </a:lnTo>
                  <a:lnTo>
                    <a:pt x="7302" y="0"/>
                  </a:lnTo>
                  <a:lnTo>
                    <a:pt x="9275" y="954"/>
                  </a:lnTo>
                  <a:lnTo>
                    <a:pt x="9275" y="954"/>
                  </a:lnTo>
                  <a:lnTo>
                    <a:pt x="9279" y="957"/>
                  </a:lnTo>
                  <a:lnTo>
                    <a:pt x="9293" y="967"/>
                  </a:lnTo>
                  <a:lnTo>
                    <a:pt x="9302" y="975"/>
                  </a:lnTo>
                  <a:lnTo>
                    <a:pt x="9313" y="985"/>
                  </a:lnTo>
                  <a:lnTo>
                    <a:pt x="9323" y="997"/>
                  </a:lnTo>
                  <a:lnTo>
                    <a:pt x="9333" y="1010"/>
                  </a:lnTo>
                  <a:lnTo>
                    <a:pt x="9345" y="1025"/>
                  </a:lnTo>
                  <a:lnTo>
                    <a:pt x="9355" y="1043"/>
                  </a:lnTo>
                  <a:lnTo>
                    <a:pt x="9366" y="1062"/>
                  </a:lnTo>
                  <a:lnTo>
                    <a:pt x="9374" y="1083"/>
                  </a:lnTo>
                  <a:lnTo>
                    <a:pt x="9382" y="1106"/>
                  </a:lnTo>
                  <a:lnTo>
                    <a:pt x="9387" y="1131"/>
                  </a:lnTo>
                  <a:lnTo>
                    <a:pt x="9390" y="1143"/>
                  </a:lnTo>
                  <a:lnTo>
                    <a:pt x="9392" y="1157"/>
                  </a:lnTo>
                  <a:lnTo>
                    <a:pt x="9393" y="1171"/>
                  </a:lnTo>
                  <a:lnTo>
                    <a:pt x="9393" y="1186"/>
                  </a:lnTo>
                  <a:lnTo>
                    <a:pt x="9393" y="1186"/>
                  </a:lnTo>
                  <a:lnTo>
                    <a:pt x="9393" y="1536"/>
                  </a:lnTo>
                  <a:lnTo>
                    <a:pt x="9393" y="1536"/>
                  </a:lnTo>
                  <a:lnTo>
                    <a:pt x="9393" y="1542"/>
                  </a:lnTo>
                  <a:lnTo>
                    <a:pt x="9393" y="1560"/>
                  </a:lnTo>
                  <a:lnTo>
                    <a:pt x="9391" y="1572"/>
                  </a:lnTo>
                  <a:lnTo>
                    <a:pt x="9389" y="1587"/>
                  </a:lnTo>
                  <a:lnTo>
                    <a:pt x="9385" y="1603"/>
                  </a:lnTo>
                  <a:lnTo>
                    <a:pt x="9380" y="1619"/>
                  </a:lnTo>
                  <a:lnTo>
                    <a:pt x="9374" y="1637"/>
                  </a:lnTo>
                  <a:lnTo>
                    <a:pt x="9366" y="1655"/>
                  </a:lnTo>
                  <a:lnTo>
                    <a:pt x="9355" y="1674"/>
                  </a:lnTo>
                  <a:lnTo>
                    <a:pt x="9343" y="1692"/>
                  </a:lnTo>
                  <a:lnTo>
                    <a:pt x="9328" y="1710"/>
                  </a:lnTo>
                  <a:lnTo>
                    <a:pt x="9319" y="1718"/>
                  </a:lnTo>
                  <a:lnTo>
                    <a:pt x="9309" y="1727"/>
                  </a:lnTo>
                  <a:lnTo>
                    <a:pt x="9300" y="1735"/>
                  </a:lnTo>
                  <a:lnTo>
                    <a:pt x="9289" y="1743"/>
                  </a:lnTo>
                  <a:lnTo>
                    <a:pt x="9277" y="1751"/>
                  </a:lnTo>
                  <a:lnTo>
                    <a:pt x="9265" y="1758"/>
                  </a:lnTo>
                  <a:lnTo>
                    <a:pt x="9265" y="1758"/>
                  </a:lnTo>
                  <a:lnTo>
                    <a:pt x="9197" y="1791"/>
                  </a:lnTo>
                  <a:lnTo>
                    <a:pt x="9052" y="1861"/>
                  </a:lnTo>
                  <a:lnTo>
                    <a:pt x="8576" y="2087"/>
                  </a:lnTo>
                  <a:lnTo>
                    <a:pt x="7927" y="2395"/>
                  </a:lnTo>
                  <a:lnTo>
                    <a:pt x="7195" y="2740"/>
                  </a:lnTo>
                  <a:lnTo>
                    <a:pt x="5839" y="3379"/>
                  </a:lnTo>
                  <a:lnTo>
                    <a:pt x="5228" y="3668"/>
                  </a:lnTo>
                  <a:lnTo>
                    <a:pt x="5228" y="3668"/>
                  </a:lnTo>
                  <a:lnTo>
                    <a:pt x="5217" y="3672"/>
                  </a:lnTo>
                  <a:lnTo>
                    <a:pt x="5186" y="3682"/>
                  </a:lnTo>
                  <a:lnTo>
                    <a:pt x="5137" y="3698"/>
                  </a:lnTo>
                  <a:lnTo>
                    <a:pt x="5107" y="3707"/>
                  </a:lnTo>
                  <a:lnTo>
                    <a:pt x="5073" y="3717"/>
                  </a:lnTo>
                  <a:lnTo>
                    <a:pt x="5036" y="3726"/>
                  </a:lnTo>
                  <a:lnTo>
                    <a:pt x="4994" y="3735"/>
                  </a:lnTo>
                  <a:lnTo>
                    <a:pt x="4950" y="3743"/>
                  </a:lnTo>
                  <a:lnTo>
                    <a:pt x="4904" y="3750"/>
                  </a:lnTo>
                  <a:lnTo>
                    <a:pt x="4855" y="3756"/>
                  </a:lnTo>
                  <a:lnTo>
                    <a:pt x="4804" y="3762"/>
                  </a:lnTo>
                  <a:lnTo>
                    <a:pt x="4751" y="3765"/>
                  </a:lnTo>
                  <a:lnTo>
                    <a:pt x="4697" y="3766"/>
                  </a:lnTo>
                  <a:lnTo>
                    <a:pt x="4697" y="3766"/>
                  </a:lnTo>
                  <a:lnTo>
                    <a:pt x="4642" y="3765"/>
                  </a:lnTo>
                  <a:lnTo>
                    <a:pt x="4588" y="3762"/>
                  </a:lnTo>
                  <a:lnTo>
                    <a:pt x="4538" y="3756"/>
                  </a:lnTo>
                  <a:lnTo>
                    <a:pt x="4489" y="3750"/>
                  </a:lnTo>
                  <a:lnTo>
                    <a:pt x="4442" y="3743"/>
                  </a:lnTo>
                  <a:lnTo>
                    <a:pt x="4398" y="3735"/>
                  </a:lnTo>
                  <a:lnTo>
                    <a:pt x="4358" y="3726"/>
                  </a:lnTo>
                  <a:lnTo>
                    <a:pt x="4319" y="3717"/>
                  </a:lnTo>
                  <a:lnTo>
                    <a:pt x="4285" y="3707"/>
                  </a:lnTo>
                  <a:lnTo>
                    <a:pt x="4255" y="3698"/>
                  </a:lnTo>
                  <a:lnTo>
                    <a:pt x="4206" y="3682"/>
                  </a:lnTo>
                  <a:lnTo>
                    <a:pt x="4176" y="3672"/>
                  </a:lnTo>
                  <a:lnTo>
                    <a:pt x="4164" y="3668"/>
                  </a:lnTo>
                  <a:lnTo>
                    <a:pt x="4164" y="3668"/>
                  </a:lnTo>
                  <a:lnTo>
                    <a:pt x="3553" y="3379"/>
                  </a:lnTo>
                  <a:lnTo>
                    <a:pt x="2197" y="2740"/>
                  </a:lnTo>
                  <a:lnTo>
                    <a:pt x="1465" y="2395"/>
                  </a:lnTo>
                  <a:lnTo>
                    <a:pt x="817" y="2087"/>
                  </a:lnTo>
                  <a:lnTo>
                    <a:pt x="341" y="1861"/>
                  </a:lnTo>
                  <a:lnTo>
                    <a:pt x="196" y="1791"/>
                  </a:lnTo>
                  <a:lnTo>
                    <a:pt x="127" y="1758"/>
                  </a:lnTo>
                  <a:lnTo>
                    <a:pt x="127" y="1758"/>
                  </a:lnTo>
                  <a:lnTo>
                    <a:pt x="115" y="1751"/>
                  </a:lnTo>
                  <a:lnTo>
                    <a:pt x="104" y="1743"/>
                  </a:lnTo>
                  <a:lnTo>
                    <a:pt x="92" y="1735"/>
                  </a:lnTo>
                  <a:lnTo>
                    <a:pt x="83" y="1727"/>
                  </a:lnTo>
                  <a:lnTo>
                    <a:pt x="73" y="1718"/>
                  </a:lnTo>
                  <a:lnTo>
                    <a:pt x="65" y="1710"/>
                  </a:lnTo>
                  <a:lnTo>
                    <a:pt x="49" y="1692"/>
                  </a:lnTo>
                  <a:lnTo>
                    <a:pt x="37" y="1674"/>
                  </a:lnTo>
                  <a:lnTo>
                    <a:pt x="27" y="1655"/>
                  </a:lnTo>
                  <a:lnTo>
                    <a:pt x="18" y="1637"/>
                  </a:lnTo>
                  <a:lnTo>
                    <a:pt x="12" y="1619"/>
                  </a:lnTo>
                  <a:lnTo>
                    <a:pt x="7" y="1603"/>
                  </a:lnTo>
                  <a:lnTo>
                    <a:pt x="4" y="1587"/>
                  </a:lnTo>
                  <a:lnTo>
                    <a:pt x="2" y="1572"/>
                  </a:lnTo>
                  <a:lnTo>
                    <a:pt x="1" y="1560"/>
                  </a:lnTo>
                  <a:lnTo>
                    <a:pt x="0" y="1542"/>
                  </a:lnTo>
                  <a:lnTo>
                    <a:pt x="0" y="1536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6" name="Freeform 7"/>
            <p:cNvSpPr>
              <a:spLocks/>
            </p:cNvSpPr>
            <p:nvPr/>
          </p:nvSpPr>
          <p:spPr bwMode="auto">
            <a:xfrm flipH="1">
              <a:off x="4833737" y="3253036"/>
              <a:ext cx="1731300" cy="540476"/>
            </a:xfrm>
            <a:custGeom>
              <a:avLst/>
              <a:gdLst>
                <a:gd name="T0" fmla="*/ 0 w 9393"/>
                <a:gd name="T1" fmla="*/ 1536 h 3766"/>
                <a:gd name="T2" fmla="*/ 0 w 9393"/>
                <a:gd name="T3" fmla="*/ 1186 h 3766"/>
                <a:gd name="T4" fmla="*/ 1 w 9393"/>
                <a:gd name="T5" fmla="*/ 1157 h 3766"/>
                <a:gd name="T6" fmla="*/ 5 w 9393"/>
                <a:gd name="T7" fmla="*/ 1131 h 3766"/>
                <a:gd name="T8" fmla="*/ 18 w 9393"/>
                <a:gd name="T9" fmla="*/ 1083 h 3766"/>
                <a:gd name="T10" fmla="*/ 37 w 9393"/>
                <a:gd name="T11" fmla="*/ 1043 h 3766"/>
                <a:gd name="T12" fmla="*/ 59 w 9393"/>
                <a:gd name="T13" fmla="*/ 1010 h 3766"/>
                <a:gd name="T14" fmla="*/ 81 w 9393"/>
                <a:gd name="T15" fmla="*/ 985 h 3766"/>
                <a:gd name="T16" fmla="*/ 99 w 9393"/>
                <a:gd name="T17" fmla="*/ 967 h 3766"/>
                <a:gd name="T18" fmla="*/ 118 w 9393"/>
                <a:gd name="T19" fmla="*/ 954 h 3766"/>
                <a:gd name="T20" fmla="*/ 4697 w 9393"/>
                <a:gd name="T21" fmla="*/ 1605 h 3766"/>
                <a:gd name="T22" fmla="*/ 9275 w 9393"/>
                <a:gd name="T23" fmla="*/ 954 h 3766"/>
                <a:gd name="T24" fmla="*/ 9279 w 9393"/>
                <a:gd name="T25" fmla="*/ 957 h 3766"/>
                <a:gd name="T26" fmla="*/ 9302 w 9393"/>
                <a:gd name="T27" fmla="*/ 975 h 3766"/>
                <a:gd name="T28" fmla="*/ 9323 w 9393"/>
                <a:gd name="T29" fmla="*/ 997 h 3766"/>
                <a:gd name="T30" fmla="*/ 9345 w 9393"/>
                <a:gd name="T31" fmla="*/ 1025 h 3766"/>
                <a:gd name="T32" fmla="*/ 9366 w 9393"/>
                <a:gd name="T33" fmla="*/ 1062 h 3766"/>
                <a:gd name="T34" fmla="*/ 9382 w 9393"/>
                <a:gd name="T35" fmla="*/ 1106 h 3766"/>
                <a:gd name="T36" fmla="*/ 9390 w 9393"/>
                <a:gd name="T37" fmla="*/ 1143 h 3766"/>
                <a:gd name="T38" fmla="*/ 9393 w 9393"/>
                <a:gd name="T39" fmla="*/ 1171 h 3766"/>
                <a:gd name="T40" fmla="*/ 9393 w 9393"/>
                <a:gd name="T41" fmla="*/ 1186 h 3766"/>
                <a:gd name="T42" fmla="*/ 9393 w 9393"/>
                <a:gd name="T43" fmla="*/ 1536 h 3766"/>
                <a:gd name="T44" fmla="*/ 9393 w 9393"/>
                <a:gd name="T45" fmla="*/ 1560 h 3766"/>
                <a:gd name="T46" fmla="*/ 9389 w 9393"/>
                <a:gd name="T47" fmla="*/ 1587 h 3766"/>
                <a:gd name="T48" fmla="*/ 9380 w 9393"/>
                <a:gd name="T49" fmla="*/ 1619 h 3766"/>
                <a:gd name="T50" fmla="*/ 9366 w 9393"/>
                <a:gd name="T51" fmla="*/ 1655 h 3766"/>
                <a:gd name="T52" fmla="*/ 9343 w 9393"/>
                <a:gd name="T53" fmla="*/ 1692 h 3766"/>
                <a:gd name="T54" fmla="*/ 9319 w 9393"/>
                <a:gd name="T55" fmla="*/ 1718 h 3766"/>
                <a:gd name="T56" fmla="*/ 9300 w 9393"/>
                <a:gd name="T57" fmla="*/ 1735 h 3766"/>
                <a:gd name="T58" fmla="*/ 9277 w 9393"/>
                <a:gd name="T59" fmla="*/ 1751 h 3766"/>
                <a:gd name="T60" fmla="*/ 9265 w 9393"/>
                <a:gd name="T61" fmla="*/ 1758 h 3766"/>
                <a:gd name="T62" fmla="*/ 9052 w 9393"/>
                <a:gd name="T63" fmla="*/ 1861 h 3766"/>
                <a:gd name="T64" fmla="*/ 7927 w 9393"/>
                <a:gd name="T65" fmla="*/ 2395 h 3766"/>
                <a:gd name="T66" fmla="*/ 5839 w 9393"/>
                <a:gd name="T67" fmla="*/ 3379 h 3766"/>
                <a:gd name="T68" fmla="*/ 5228 w 9393"/>
                <a:gd name="T69" fmla="*/ 3668 h 3766"/>
                <a:gd name="T70" fmla="*/ 5186 w 9393"/>
                <a:gd name="T71" fmla="*/ 3682 h 3766"/>
                <a:gd name="T72" fmla="*/ 5107 w 9393"/>
                <a:gd name="T73" fmla="*/ 3707 h 3766"/>
                <a:gd name="T74" fmla="*/ 5036 w 9393"/>
                <a:gd name="T75" fmla="*/ 3726 h 3766"/>
                <a:gd name="T76" fmla="*/ 4950 w 9393"/>
                <a:gd name="T77" fmla="*/ 3743 h 3766"/>
                <a:gd name="T78" fmla="*/ 4855 w 9393"/>
                <a:gd name="T79" fmla="*/ 3756 h 3766"/>
                <a:gd name="T80" fmla="*/ 4751 w 9393"/>
                <a:gd name="T81" fmla="*/ 3765 h 3766"/>
                <a:gd name="T82" fmla="*/ 4697 w 9393"/>
                <a:gd name="T83" fmla="*/ 3766 h 3766"/>
                <a:gd name="T84" fmla="*/ 4588 w 9393"/>
                <a:gd name="T85" fmla="*/ 3762 h 3766"/>
                <a:gd name="T86" fmla="*/ 4489 w 9393"/>
                <a:gd name="T87" fmla="*/ 3750 h 3766"/>
                <a:gd name="T88" fmla="*/ 4398 w 9393"/>
                <a:gd name="T89" fmla="*/ 3735 h 3766"/>
                <a:gd name="T90" fmla="*/ 4319 w 9393"/>
                <a:gd name="T91" fmla="*/ 3717 h 3766"/>
                <a:gd name="T92" fmla="*/ 4255 w 9393"/>
                <a:gd name="T93" fmla="*/ 3698 h 3766"/>
                <a:gd name="T94" fmla="*/ 4176 w 9393"/>
                <a:gd name="T95" fmla="*/ 3672 h 3766"/>
                <a:gd name="T96" fmla="*/ 4164 w 9393"/>
                <a:gd name="T97" fmla="*/ 3668 h 3766"/>
                <a:gd name="T98" fmla="*/ 2197 w 9393"/>
                <a:gd name="T99" fmla="*/ 2740 h 3766"/>
                <a:gd name="T100" fmla="*/ 817 w 9393"/>
                <a:gd name="T101" fmla="*/ 2087 h 3766"/>
                <a:gd name="T102" fmla="*/ 196 w 9393"/>
                <a:gd name="T103" fmla="*/ 1791 h 3766"/>
                <a:gd name="T104" fmla="*/ 127 w 9393"/>
                <a:gd name="T105" fmla="*/ 1758 h 3766"/>
                <a:gd name="T106" fmla="*/ 104 w 9393"/>
                <a:gd name="T107" fmla="*/ 1743 h 3766"/>
                <a:gd name="T108" fmla="*/ 83 w 9393"/>
                <a:gd name="T109" fmla="*/ 1727 h 3766"/>
                <a:gd name="T110" fmla="*/ 65 w 9393"/>
                <a:gd name="T111" fmla="*/ 1710 h 3766"/>
                <a:gd name="T112" fmla="*/ 37 w 9393"/>
                <a:gd name="T113" fmla="*/ 1674 h 3766"/>
                <a:gd name="T114" fmla="*/ 18 w 9393"/>
                <a:gd name="T115" fmla="*/ 1637 h 3766"/>
                <a:gd name="T116" fmla="*/ 7 w 9393"/>
                <a:gd name="T117" fmla="*/ 1603 h 3766"/>
                <a:gd name="T118" fmla="*/ 2 w 9393"/>
                <a:gd name="T119" fmla="*/ 1572 h 3766"/>
                <a:gd name="T120" fmla="*/ 0 w 9393"/>
                <a:gd name="T121" fmla="*/ 1542 h 3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393" h="3766">
                  <a:moveTo>
                    <a:pt x="0" y="1536"/>
                  </a:moveTo>
                  <a:lnTo>
                    <a:pt x="0" y="1536"/>
                  </a:lnTo>
                  <a:lnTo>
                    <a:pt x="0" y="1186"/>
                  </a:lnTo>
                  <a:lnTo>
                    <a:pt x="0" y="1186"/>
                  </a:lnTo>
                  <a:lnTo>
                    <a:pt x="0" y="1171"/>
                  </a:lnTo>
                  <a:lnTo>
                    <a:pt x="1" y="1157"/>
                  </a:lnTo>
                  <a:lnTo>
                    <a:pt x="3" y="1143"/>
                  </a:lnTo>
                  <a:lnTo>
                    <a:pt x="5" y="1131"/>
                  </a:lnTo>
                  <a:lnTo>
                    <a:pt x="11" y="1106"/>
                  </a:lnTo>
                  <a:lnTo>
                    <a:pt x="18" y="1083"/>
                  </a:lnTo>
                  <a:lnTo>
                    <a:pt x="27" y="1062"/>
                  </a:lnTo>
                  <a:lnTo>
                    <a:pt x="37" y="1043"/>
                  </a:lnTo>
                  <a:lnTo>
                    <a:pt x="47" y="1025"/>
                  </a:lnTo>
                  <a:lnTo>
                    <a:pt x="59" y="1010"/>
                  </a:lnTo>
                  <a:lnTo>
                    <a:pt x="69" y="997"/>
                  </a:lnTo>
                  <a:lnTo>
                    <a:pt x="81" y="985"/>
                  </a:lnTo>
                  <a:lnTo>
                    <a:pt x="90" y="975"/>
                  </a:lnTo>
                  <a:lnTo>
                    <a:pt x="99" y="967"/>
                  </a:lnTo>
                  <a:lnTo>
                    <a:pt x="113" y="957"/>
                  </a:lnTo>
                  <a:lnTo>
                    <a:pt x="118" y="954"/>
                  </a:lnTo>
                  <a:lnTo>
                    <a:pt x="2090" y="0"/>
                  </a:lnTo>
                  <a:lnTo>
                    <a:pt x="4697" y="1605"/>
                  </a:lnTo>
                  <a:lnTo>
                    <a:pt x="7302" y="0"/>
                  </a:lnTo>
                  <a:lnTo>
                    <a:pt x="9275" y="954"/>
                  </a:lnTo>
                  <a:lnTo>
                    <a:pt x="9275" y="954"/>
                  </a:lnTo>
                  <a:lnTo>
                    <a:pt x="9279" y="957"/>
                  </a:lnTo>
                  <a:lnTo>
                    <a:pt x="9293" y="967"/>
                  </a:lnTo>
                  <a:lnTo>
                    <a:pt x="9302" y="975"/>
                  </a:lnTo>
                  <a:lnTo>
                    <a:pt x="9313" y="985"/>
                  </a:lnTo>
                  <a:lnTo>
                    <a:pt x="9323" y="997"/>
                  </a:lnTo>
                  <a:lnTo>
                    <a:pt x="9333" y="1010"/>
                  </a:lnTo>
                  <a:lnTo>
                    <a:pt x="9345" y="1025"/>
                  </a:lnTo>
                  <a:lnTo>
                    <a:pt x="9355" y="1043"/>
                  </a:lnTo>
                  <a:lnTo>
                    <a:pt x="9366" y="1062"/>
                  </a:lnTo>
                  <a:lnTo>
                    <a:pt x="9374" y="1083"/>
                  </a:lnTo>
                  <a:lnTo>
                    <a:pt x="9382" y="1106"/>
                  </a:lnTo>
                  <a:lnTo>
                    <a:pt x="9387" y="1131"/>
                  </a:lnTo>
                  <a:lnTo>
                    <a:pt x="9390" y="1143"/>
                  </a:lnTo>
                  <a:lnTo>
                    <a:pt x="9392" y="1157"/>
                  </a:lnTo>
                  <a:lnTo>
                    <a:pt x="9393" y="1171"/>
                  </a:lnTo>
                  <a:lnTo>
                    <a:pt x="9393" y="1186"/>
                  </a:lnTo>
                  <a:lnTo>
                    <a:pt x="9393" y="1186"/>
                  </a:lnTo>
                  <a:lnTo>
                    <a:pt x="9393" y="1536"/>
                  </a:lnTo>
                  <a:lnTo>
                    <a:pt x="9393" y="1536"/>
                  </a:lnTo>
                  <a:lnTo>
                    <a:pt x="9393" y="1542"/>
                  </a:lnTo>
                  <a:lnTo>
                    <a:pt x="9393" y="1560"/>
                  </a:lnTo>
                  <a:lnTo>
                    <a:pt x="9391" y="1572"/>
                  </a:lnTo>
                  <a:lnTo>
                    <a:pt x="9389" y="1587"/>
                  </a:lnTo>
                  <a:lnTo>
                    <a:pt x="9385" y="1603"/>
                  </a:lnTo>
                  <a:lnTo>
                    <a:pt x="9380" y="1619"/>
                  </a:lnTo>
                  <a:lnTo>
                    <a:pt x="9374" y="1637"/>
                  </a:lnTo>
                  <a:lnTo>
                    <a:pt x="9366" y="1655"/>
                  </a:lnTo>
                  <a:lnTo>
                    <a:pt x="9355" y="1674"/>
                  </a:lnTo>
                  <a:lnTo>
                    <a:pt x="9343" y="1692"/>
                  </a:lnTo>
                  <a:lnTo>
                    <a:pt x="9328" y="1710"/>
                  </a:lnTo>
                  <a:lnTo>
                    <a:pt x="9319" y="1718"/>
                  </a:lnTo>
                  <a:lnTo>
                    <a:pt x="9309" y="1727"/>
                  </a:lnTo>
                  <a:lnTo>
                    <a:pt x="9300" y="1735"/>
                  </a:lnTo>
                  <a:lnTo>
                    <a:pt x="9289" y="1743"/>
                  </a:lnTo>
                  <a:lnTo>
                    <a:pt x="9277" y="1751"/>
                  </a:lnTo>
                  <a:lnTo>
                    <a:pt x="9265" y="1758"/>
                  </a:lnTo>
                  <a:lnTo>
                    <a:pt x="9265" y="1758"/>
                  </a:lnTo>
                  <a:lnTo>
                    <a:pt x="9197" y="1791"/>
                  </a:lnTo>
                  <a:lnTo>
                    <a:pt x="9052" y="1861"/>
                  </a:lnTo>
                  <a:lnTo>
                    <a:pt x="8576" y="2087"/>
                  </a:lnTo>
                  <a:lnTo>
                    <a:pt x="7927" y="2395"/>
                  </a:lnTo>
                  <a:lnTo>
                    <a:pt x="7195" y="2740"/>
                  </a:lnTo>
                  <a:lnTo>
                    <a:pt x="5839" y="3379"/>
                  </a:lnTo>
                  <a:lnTo>
                    <a:pt x="5228" y="3668"/>
                  </a:lnTo>
                  <a:lnTo>
                    <a:pt x="5228" y="3668"/>
                  </a:lnTo>
                  <a:lnTo>
                    <a:pt x="5217" y="3672"/>
                  </a:lnTo>
                  <a:lnTo>
                    <a:pt x="5186" y="3682"/>
                  </a:lnTo>
                  <a:lnTo>
                    <a:pt x="5137" y="3698"/>
                  </a:lnTo>
                  <a:lnTo>
                    <a:pt x="5107" y="3707"/>
                  </a:lnTo>
                  <a:lnTo>
                    <a:pt x="5073" y="3717"/>
                  </a:lnTo>
                  <a:lnTo>
                    <a:pt x="5036" y="3726"/>
                  </a:lnTo>
                  <a:lnTo>
                    <a:pt x="4994" y="3735"/>
                  </a:lnTo>
                  <a:lnTo>
                    <a:pt x="4950" y="3743"/>
                  </a:lnTo>
                  <a:lnTo>
                    <a:pt x="4904" y="3750"/>
                  </a:lnTo>
                  <a:lnTo>
                    <a:pt x="4855" y="3756"/>
                  </a:lnTo>
                  <a:lnTo>
                    <a:pt x="4804" y="3762"/>
                  </a:lnTo>
                  <a:lnTo>
                    <a:pt x="4751" y="3765"/>
                  </a:lnTo>
                  <a:lnTo>
                    <a:pt x="4697" y="3766"/>
                  </a:lnTo>
                  <a:lnTo>
                    <a:pt x="4697" y="3766"/>
                  </a:lnTo>
                  <a:lnTo>
                    <a:pt x="4642" y="3765"/>
                  </a:lnTo>
                  <a:lnTo>
                    <a:pt x="4588" y="3762"/>
                  </a:lnTo>
                  <a:lnTo>
                    <a:pt x="4538" y="3756"/>
                  </a:lnTo>
                  <a:lnTo>
                    <a:pt x="4489" y="3750"/>
                  </a:lnTo>
                  <a:lnTo>
                    <a:pt x="4442" y="3743"/>
                  </a:lnTo>
                  <a:lnTo>
                    <a:pt x="4398" y="3735"/>
                  </a:lnTo>
                  <a:lnTo>
                    <a:pt x="4358" y="3726"/>
                  </a:lnTo>
                  <a:lnTo>
                    <a:pt x="4319" y="3717"/>
                  </a:lnTo>
                  <a:lnTo>
                    <a:pt x="4285" y="3707"/>
                  </a:lnTo>
                  <a:lnTo>
                    <a:pt x="4255" y="3698"/>
                  </a:lnTo>
                  <a:lnTo>
                    <a:pt x="4206" y="3682"/>
                  </a:lnTo>
                  <a:lnTo>
                    <a:pt x="4176" y="3672"/>
                  </a:lnTo>
                  <a:lnTo>
                    <a:pt x="4164" y="3668"/>
                  </a:lnTo>
                  <a:lnTo>
                    <a:pt x="4164" y="3668"/>
                  </a:lnTo>
                  <a:lnTo>
                    <a:pt x="3553" y="3379"/>
                  </a:lnTo>
                  <a:lnTo>
                    <a:pt x="2197" y="2740"/>
                  </a:lnTo>
                  <a:lnTo>
                    <a:pt x="1465" y="2395"/>
                  </a:lnTo>
                  <a:lnTo>
                    <a:pt x="817" y="2087"/>
                  </a:lnTo>
                  <a:lnTo>
                    <a:pt x="341" y="1861"/>
                  </a:lnTo>
                  <a:lnTo>
                    <a:pt x="196" y="1791"/>
                  </a:lnTo>
                  <a:lnTo>
                    <a:pt x="127" y="1758"/>
                  </a:lnTo>
                  <a:lnTo>
                    <a:pt x="127" y="1758"/>
                  </a:lnTo>
                  <a:lnTo>
                    <a:pt x="115" y="1751"/>
                  </a:lnTo>
                  <a:lnTo>
                    <a:pt x="104" y="1743"/>
                  </a:lnTo>
                  <a:lnTo>
                    <a:pt x="92" y="1735"/>
                  </a:lnTo>
                  <a:lnTo>
                    <a:pt x="83" y="1727"/>
                  </a:lnTo>
                  <a:lnTo>
                    <a:pt x="73" y="1718"/>
                  </a:lnTo>
                  <a:lnTo>
                    <a:pt x="65" y="1710"/>
                  </a:lnTo>
                  <a:lnTo>
                    <a:pt x="49" y="1692"/>
                  </a:lnTo>
                  <a:lnTo>
                    <a:pt x="37" y="1674"/>
                  </a:lnTo>
                  <a:lnTo>
                    <a:pt x="27" y="1655"/>
                  </a:lnTo>
                  <a:lnTo>
                    <a:pt x="18" y="1637"/>
                  </a:lnTo>
                  <a:lnTo>
                    <a:pt x="12" y="1619"/>
                  </a:lnTo>
                  <a:lnTo>
                    <a:pt x="7" y="1603"/>
                  </a:lnTo>
                  <a:lnTo>
                    <a:pt x="4" y="1587"/>
                  </a:lnTo>
                  <a:lnTo>
                    <a:pt x="2" y="1572"/>
                  </a:lnTo>
                  <a:lnTo>
                    <a:pt x="1" y="1560"/>
                  </a:lnTo>
                  <a:lnTo>
                    <a:pt x="0" y="1542"/>
                  </a:lnTo>
                  <a:lnTo>
                    <a:pt x="0" y="153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7" name="Freeform 8"/>
            <p:cNvSpPr>
              <a:spLocks/>
            </p:cNvSpPr>
            <p:nvPr/>
          </p:nvSpPr>
          <p:spPr bwMode="auto">
            <a:xfrm flipH="1">
              <a:off x="5233665" y="3462003"/>
              <a:ext cx="154811" cy="51597"/>
            </a:xfrm>
            <a:custGeom>
              <a:avLst/>
              <a:gdLst>
                <a:gd name="T0" fmla="*/ 0 w 845"/>
                <a:gd name="T1" fmla="*/ 365 h 365"/>
                <a:gd name="T2" fmla="*/ 0 w 845"/>
                <a:gd name="T3" fmla="*/ 365 h 365"/>
                <a:gd name="T4" fmla="*/ 98 w 845"/>
                <a:gd name="T5" fmla="*/ 333 h 365"/>
                <a:gd name="T6" fmla="*/ 149 w 845"/>
                <a:gd name="T7" fmla="*/ 316 h 365"/>
                <a:gd name="T8" fmla="*/ 199 w 845"/>
                <a:gd name="T9" fmla="*/ 298 h 365"/>
                <a:gd name="T10" fmla="*/ 251 w 845"/>
                <a:gd name="T11" fmla="*/ 279 h 365"/>
                <a:gd name="T12" fmla="*/ 303 w 845"/>
                <a:gd name="T13" fmla="*/ 259 h 365"/>
                <a:gd name="T14" fmla="*/ 356 w 845"/>
                <a:gd name="T15" fmla="*/ 238 h 365"/>
                <a:gd name="T16" fmla="*/ 410 w 845"/>
                <a:gd name="T17" fmla="*/ 215 h 365"/>
                <a:gd name="T18" fmla="*/ 464 w 845"/>
                <a:gd name="T19" fmla="*/ 192 h 365"/>
                <a:gd name="T20" fmla="*/ 518 w 845"/>
                <a:gd name="T21" fmla="*/ 169 h 365"/>
                <a:gd name="T22" fmla="*/ 572 w 845"/>
                <a:gd name="T23" fmla="*/ 144 h 365"/>
                <a:gd name="T24" fmla="*/ 627 w 845"/>
                <a:gd name="T25" fmla="*/ 116 h 365"/>
                <a:gd name="T26" fmla="*/ 681 w 845"/>
                <a:gd name="T27" fmla="*/ 89 h 365"/>
                <a:gd name="T28" fmla="*/ 736 w 845"/>
                <a:gd name="T29" fmla="*/ 61 h 365"/>
                <a:gd name="T30" fmla="*/ 791 w 845"/>
                <a:gd name="T31" fmla="*/ 31 h 365"/>
                <a:gd name="T32" fmla="*/ 845 w 845"/>
                <a:gd name="T33" fmla="*/ 0 h 365"/>
                <a:gd name="T34" fmla="*/ 845 w 845"/>
                <a:gd name="T35" fmla="*/ 0 h 365"/>
                <a:gd name="T36" fmla="*/ 805 w 845"/>
                <a:gd name="T37" fmla="*/ 27 h 365"/>
                <a:gd name="T38" fmla="*/ 761 w 845"/>
                <a:gd name="T39" fmla="*/ 54 h 365"/>
                <a:gd name="T40" fmla="*/ 716 w 845"/>
                <a:gd name="T41" fmla="*/ 80 h 365"/>
                <a:gd name="T42" fmla="*/ 669 w 845"/>
                <a:gd name="T43" fmla="*/ 105 h 365"/>
                <a:gd name="T44" fmla="*/ 622 w 845"/>
                <a:gd name="T45" fmla="*/ 129 h 365"/>
                <a:gd name="T46" fmla="*/ 572 w 845"/>
                <a:gd name="T47" fmla="*/ 153 h 365"/>
                <a:gd name="T48" fmla="*/ 521 w 845"/>
                <a:gd name="T49" fmla="*/ 177 h 365"/>
                <a:gd name="T50" fmla="*/ 468 w 845"/>
                <a:gd name="T51" fmla="*/ 199 h 365"/>
                <a:gd name="T52" fmla="*/ 414 w 845"/>
                <a:gd name="T53" fmla="*/ 222 h 365"/>
                <a:gd name="T54" fmla="*/ 357 w 845"/>
                <a:gd name="T55" fmla="*/ 244 h 365"/>
                <a:gd name="T56" fmla="*/ 300 w 845"/>
                <a:gd name="T57" fmla="*/ 264 h 365"/>
                <a:gd name="T58" fmla="*/ 243 w 845"/>
                <a:gd name="T59" fmla="*/ 285 h 365"/>
                <a:gd name="T60" fmla="*/ 184 w 845"/>
                <a:gd name="T61" fmla="*/ 306 h 365"/>
                <a:gd name="T62" fmla="*/ 124 w 845"/>
                <a:gd name="T63" fmla="*/ 326 h 365"/>
                <a:gd name="T64" fmla="*/ 0 w 845"/>
                <a:gd name="T65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5" h="365">
                  <a:moveTo>
                    <a:pt x="0" y="365"/>
                  </a:moveTo>
                  <a:lnTo>
                    <a:pt x="0" y="365"/>
                  </a:lnTo>
                  <a:lnTo>
                    <a:pt x="98" y="333"/>
                  </a:lnTo>
                  <a:lnTo>
                    <a:pt x="149" y="316"/>
                  </a:lnTo>
                  <a:lnTo>
                    <a:pt x="199" y="298"/>
                  </a:lnTo>
                  <a:lnTo>
                    <a:pt x="251" y="279"/>
                  </a:lnTo>
                  <a:lnTo>
                    <a:pt x="303" y="259"/>
                  </a:lnTo>
                  <a:lnTo>
                    <a:pt x="356" y="238"/>
                  </a:lnTo>
                  <a:lnTo>
                    <a:pt x="410" y="215"/>
                  </a:lnTo>
                  <a:lnTo>
                    <a:pt x="464" y="192"/>
                  </a:lnTo>
                  <a:lnTo>
                    <a:pt x="518" y="169"/>
                  </a:lnTo>
                  <a:lnTo>
                    <a:pt x="572" y="144"/>
                  </a:lnTo>
                  <a:lnTo>
                    <a:pt x="627" y="116"/>
                  </a:lnTo>
                  <a:lnTo>
                    <a:pt x="681" y="89"/>
                  </a:lnTo>
                  <a:lnTo>
                    <a:pt x="736" y="61"/>
                  </a:lnTo>
                  <a:lnTo>
                    <a:pt x="791" y="31"/>
                  </a:lnTo>
                  <a:lnTo>
                    <a:pt x="845" y="0"/>
                  </a:lnTo>
                  <a:lnTo>
                    <a:pt x="845" y="0"/>
                  </a:lnTo>
                  <a:lnTo>
                    <a:pt x="805" y="27"/>
                  </a:lnTo>
                  <a:lnTo>
                    <a:pt x="761" y="54"/>
                  </a:lnTo>
                  <a:lnTo>
                    <a:pt x="716" y="80"/>
                  </a:lnTo>
                  <a:lnTo>
                    <a:pt x="669" y="105"/>
                  </a:lnTo>
                  <a:lnTo>
                    <a:pt x="622" y="129"/>
                  </a:lnTo>
                  <a:lnTo>
                    <a:pt x="572" y="153"/>
                  </a:lnTo>
                  <a:lnTo>
                    <a:pt x="521" y="177"/>
                  </a:lnTo>
                  <a:lnTo>
                    <a:pt x="468" y="199"/>
                  </a:lnTo>
                  <a:lnTo>
                    <a:pt x="414" y="222"/>
                  </a:lnTo>
                  <a:lnTo>
                    <a:pt x="357" y="244"/>
                  </a:lnTo>
                  <a:lnTo>
                    <a:pt x="300" y="264"/>
                  </a:lnTo>
                  <a:lnTo>
                    <a:pt x="243" y="285"/>
                  </a:lnTo>
                  <a:lnTo>
                    <a:pt x="184" y="306"/>
                  </a:lnTo>
                  <a:lnTo>
                    <a:pt x="124" y="326"/>
                  </a:lnTo>
                  <a:lnTo>
                    <a:pt x="0" y="365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8" name="Freeform 9"/>
            <p:cNvSpPr>
              <a:spLocks/>
            </p:cNvSpPr>
            <p:nvPr/>
          </p:nvSpPr>
          <p:spPr bwMode="auto">
            <a:xfrm flipH="1">
              <a:off x="5233665" y="3462003"/>
              <a:ext cx="154811" cy="51597"/>
            </a:xfrm>
            <a:custGeom>
              <a:avLst/>
              <a:gdLst>
                <a:gd name="T0" fmla="*/ 0 w 845"/>
                <a:gd name="T1" fmla="*/ 365 h 365"/>
                <a:gd name="T2" fmla="*/ 0 w 845"/>
                <a:gd name="T3" fmla="*/ 365 h 365"/>
                <a:gd name="T4" fmla="*/ 98 w 845"/>
                <a:gd name="T5" fmla="*/ 333 h 365"/>
                <a:gd name="T6" fmla="*/ 149 w 845"/>
                <a:gd name="T7" fmla="*/ 316 h 365"/>
                <a:gd name="T8" fmla="*/ 199 w 845"/>
                <a:gd name="T9" fmla="*/ 298 h 365"/>
                <a:gd name="T10" fmla="*/ 251 w 845"/>
                <a:gd name="T11" fmla="*/ 279 h 365"/>
                <a:gd name="T12" fmla="*/ 303 w 845"/>
                <a:gd name="T13" fmla="*/ 259 h 365"/>
                <a:gd name="T14" fmla="*/ 356 w 845"/>
                <a:gd name="T15" fmla="*/ 238 h 365"/>
                <a:gd name="T16" fmla="*/ 410 w 845"/>
                <a:gd name="T17" fmla="*/ 215 h 365"/>
                <a:gd name="T18" fmla="*/ 464 w 845"/>
                <a:gd name="T19" fmla="*/ 192 h 365"/>
                <a:gd name="T20" fmla="*/ 518 w 845"/>
                <a:gd name="T21" fmla="*/ 169 h 365"/>
                <a:gd name="T22" fmla="*/ 572 w 845"/>
                <a:gd name="T23" fmla="*/ 144 h 365"/>
                <a:gd name="T24" fmla="*/ 627 w 845"/>
                <a:gd name="T25" fmla="*/ 116 h 365"/>
                <a:gd name="T26" fmla="*/ 681 w 845"/>
                <a:gd name="T27" fmla="*/ 89 h 365"/>
                <a:gd name="T28" fmla="*/ 736 w 845"/>
                <a:gd name="T29" fmla="*/ 61 h 365"/>
                <a:gd name="T30" fmla="*/ 791 w 845"/>
                <a:gd name="T31" fmla="*/ 31 h 365"/>
                <a:gd name="T32" fmla="*/ 845 w 845"/>
                <a:gd name="T33" fmla="*/ 0 h 365"/>
                <a:gd name="T34" fmla="*/ 845 w 845"/>
                <a:gd name="T35" fmla="*/ 0 h 365"/>
                <a:gd name="T36" fmla="*/ 805 w 845"/>
                <a:gd name="T37" fmla="*/ 27 h 365"/>
                <a:gd name="T38" fmla="*/ 761 w 845"/>
                <a:gd name="T39" fmla="*/ 54 h 365"/>
                <a:gd name="T40" fmla="*/ 716 w 845"/>
                <a:gd name="T41" fmla="*/ 80 h 365"/>
                <a:gd name="T42" fmla="*/ 669 w 845"/>
                <a:gd name="T43" fmla="*/ 105 h 365"/>
                <a:gd name="T44" fmla="*/ 622 w 845"/>
                <a:gd name="T45" fmla="*/ 129 h 365"/>
                <a:gd name="T46" fmla="*/ 572 w 845"/>
                <a:gd name="T47" fmla="*/ 153 h 365"/>
                <a:gd name="T48" fmla="*/ 521 w 845"/>
                <a:gd name="T49" fmla="*/ 177 h 365"/>
                <a:gd name="T50" fmla="*/ 468 w 845"/>
                <a:gd name="T51" fmla="*/ 199 h 365"/>
                <a:gd name="T52" fmla="*/ 414 w 845"/>
                <a:gd name="T53" fmla="*/ 222 h 365"/>
                <a:gd name="T54" fmla="*/ 357 w 845"/>
                <a:gd name="T55" fmla="*/ 244 h 365"/>
                <a:gd name="T56" fmla="*/ 300 w 845"/>
                <a:gd name="T57" fmla="*/ 264 h 365"/>
                <a:gd name="T58" fmla="*/ 243 w 845"/>
                <a:gd name="T59" fmla="*/ 285 h 365"/>
                <a:gd name="T60" fmla="*/ 184 w 845"/>
                <a:gd name="T61" fmla="*/ 306 h 365"/>
                <a:gd name="T62" fmla="*/ 124 w 845"/>
                <a:gd name="T63" fmla="*/ 326 h 365"/>
                <a:gd name="T64" fmla="*/ 0 w 845"/>
                <a:gd name="T65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5" h="365">
                  <a:moveTo>
                    <a:pt x="0" y="365"/>
                  </a:moveTo>
                  <a:lnTo>
                    <a:pt x="0" y="365"/>
                  </a:lnTo>
                  <a:lnTo>
                    <a:pt x="98" y="333"/>
                  </a:lnTo>
                  <a:lnTo>
                    <a:pt x="149" y="316"/>
                  </a:lnTo>
                  <a:lnTo>
                    <a:pt x="199" y="298"/>
                  </a:lnTo>
                  <a:lnTo>
                    <a:pt x="251" y="279"/>
                  </a:lnTo>
                  <a:lnTo>
                    <a:pt x="303" y="259"/>
                  </a:lnTo>
                  <a:lnTo>
                    <a:pt x="356" y="238"/>
                  </a:lnTo>
                  <a:lnTo>
                    <a:pt x="410" y="215"/>
                  </a:lnTo>
                  <a:lnTo>
                    <a:pt x="464" y="192"/>
                  </a:lnTo>
                  <a:lnTo>
                    <a:pt x="518" y="169"/>
                  </a:lnTo>
                  <a:lnTo>
                    <a:pt x="572" y="144"/>
                  </a:lnTo>
                  <a:lnTo>
                    <a:pt x="627" y="116"/>
                  </a:lnTo>
                  <a:lnTo>
                    <a:pt x="681" y="89"/>
                  </a:lnTo>
                  <a:lnTo>
                    <a:pt x="736" y="61"/>
                  </a:lnTo>
                  <a:lnTo>
                    <a:pt x="791" y="31"/>
                  </a:lnTo>
                  <a:lnTo>
                    <a:pt x="845" y="0"/>
                  </a:lnTo>
                  <a:lnTo>
                    <a:pt x="845" y="0"/>
                  </a:lnTo>
                  <a:lnTo>
                    <a:pt x="805" y="27"/>
                  </a:lnTo>
                  <a:lnTo>
                    <a:pt x="761" y="54"/>
                  </a:lnTo>
                  <a:lnTo>
                    <a:pt x="716" y="80"/>
                  </a:lnTo>
                  <a:lnTo>
                    <a:pt x="669" y="105"/>
                  </a:lnTo>
                  <a:lnTo>
                    <a:pt x="622" y="129"/>
                  </a:lnTo>
                  <a:lnTo>
                    <a:pt x="572" y="153"/>
                  </a:lnTo>
                  <a:lnTo>
                    <a:pt x="521" y="177"/>
                  </a:lnTo>
                  <a:lnTo>
                    <a:pt x="468" y="199"/>
                  </a:lnTo>
                  <a:lnTo>
                    <a:pt x="414" y="222"/>
                  </a:lnTo>
                  <a:lnTo>
                    <a:pt x="357" y="244"/>
                  </a:lnTo>
                  <a:lnTo>
                    <a:pt x="300" y="264"/>
                  </a:lnTo>
                  <a:lnTo>
                    <a:pt x="243" y="285"/>
                  </a:lnTo>
                  <a:lnTo>
                    <a:pt x="184" y="306"/>
                  </a:lnTo>
                  <a:lnTo>
                    <a:pt x="124" y="326"/>
                  </a:lnTo>
                  <a:lnTo>
                    <a:pt x="0" y="3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9" name="Freeform 10"/>
            <p:cNvSpPr>
              <a:spLocks/>
            </p:cNvSpPr>
            <p:nvPr/>
          </p:nvSpPr>
          <p:spPr bwMode="auto">
            <a:xfrm flipH="1">
              <a:off x="5389765" y="3514889"/>
              <a:ext cx="3871" cy="0"/>
            </a:xfrm>
            <a:custGeom>
              <a:avLst/>
              <a:gdLst>
                <a:gd name="T0" fmla="*/ 11 w 22"/>
                <a:gd name="T1" fmla="*/ 3 h 6"/>
                <a:gd name="T2" fmla="*/ 11 w 22"/>
                <a:gd name="T3" fmla="*/ 3 h 6"/>
                <a:gd name="T4" fmla="*/ 0 w 22"/>
                <a:gd name="T5" fmla="*/ 6 h 6"/>
                <a:gd name="T6" fmla="*/ 0 w 22"/>
                <a:gd name="T7" fmla="*/ 6 h 6"/>
                <a:gd name="T8" fmla="*/ 22 w 22"/>
                <a:gd name="T9" fmla="*/ 0 h 6"/>
                <a:gd name="T10" fmla="*/ 22 w 22"/>
                <a:gd name="T11" fmla="*/ 0 h 6"/>
                <a:gd name="T12" fmla="*/ 11 w 22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1" y="3"/>
                  </a:moveTo>
                  <a:lnTo>
                    <a:pt x="11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1" y="3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0" name="Freeform 11"/>
            <p:cNvSpPr>
              <a:spLocks/>
            </p:cNvSpPr>
            <p:nvPr/>
          </p:nvSpPr>
          <p:spPr bwMode="auto">
            <a:xfrm flipH="1">
              <a:off x="5389765" y="3514889"/>
              <a:ext cx="3871" cy="0"/>
            </a:xfrm>
            <a:custGeom>
              <a:avLst/>
              <a:gdLst>
                <a:gd name="T0" fmla="*/ 11 w 22"/>
                <a:gd name="T1" fmla="*/ 3 h 6"/>
                <a:gd name="T2" fmla="*/ 11 w 22"/>
                <a:gd name="T3" fmla="*/ 3 h 6"/>
                <a:gd name="T4" fmla="*/ 0 w 22"/>
                <a:gd name="T5" fmla="*/ 6 h 6"/>
                <a:gd name="T6" fmla="*/ 0 w 22"/>
                <a:gd name="T7" fmla="*/ 6 h 6"/>
                <a:gd name="T8" fmla="*/ 22 w 22"/>
                <a:gd name="T9" fmla="*/ 0 h 6"/>
                <a:gd name="T10" fmla="*/ 22 w 22"/>
                <a:gd name="T11" fmla="*/ 0 h 6"/>
                <a:gd name="T12" fmla="*/ 11 w 22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1" y="3"/>
                  </a:moveTo>
                  <a:lnTo>
                    <a:pt x="11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1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1" name="Freeform 12"/>
            <p:cNvSpPr>
              <a:spLocks/>
            </p:cNvSpPr>
            <p:nvPr/>
          </p:nvSpPr>
          <p:spPr bwMode="auto">
            <a:xfrm flipH="1">
              <a:off x="6107055" y="3464583"/>
              <a:ext cx="52894" cy="21929"/>
            </a:xfrm>
            <a:custGeom>
              <a:avLst/>
              <a:gdLst>
                <a:gd name="T0" fmla="*/ 0 w 292"/>
                <a:gd name="T1" fmla="*/ 0 h 155"/>
                <a:gd name="T2" fmla="*/ 0 w 292"/>
                <a:gd name="T3" fmla="*/ 0 h 155"/>
                <a:gd name="T4" fmla="*/ 27 w 292"/>
                <a:gd name="T5" fmla="*/ 15 h 155"/>
                <a:gd name="T6" fmla="*/ 94 w 292"/>
                <a:gd name="T7" fmla="*/ 53 h 155"/>
                <a:gd name="T8" fmla="*/ 137 w 292"/>
                <a:gd name="T9" fmla="*/ 77 h 155"/>
                <a:gd name="T10" fmla="*/ 185 w 292"/>
                <a:gd name="T11" fmla="*/ 103 h 155"/>
                <a:gd name="T12" fmla="*/ 238 w 292"/>
                <a:gd name="T13" fmla="*/ 129 h 155"/>
                <a:gd name="T14" fmla="*/ 292 w 292"/>
                <a:gd name="T15" fmla="*/ 155 h 155"/>
                <a:gd name="T16" fmla="*/ 292 w 292"/>
                <a:gd name="T17" fmla="*/ 155 h 155"/>
                <a:gd name="T18" fmla="*/ 253 w 292"/>
                <a:gd name="T19" fmla="*/ 137 h 155"/>
                <a:gd name="T20" fmla="*/ 213 w 292"/>
                <a:gd name="T21" fmla="*/ 118 h 155"/>
                <a:gd name="T22" fmla="*/ 175 w 292"/>
                <a:gd name="T23" fmla="*/ 100 h 155"/>
                <a:gd name="T24" fmla="*/ 137 w 292"/>
                <a:gd name="T25" fmla="*/ 81 h 155"/>
                <a:gd name="T26" fmla="*/ 102 w 292"/>
                <a:gd name="T27" fmla="*/ 61 h 155"/>
                <a:gd name="T28" fmla="*/ 67 w 292"/>
                <a:gd name="T29" fmla="*/ 40 h 155"/>
                <a:gd name="T30" fmla="*/ 32 w 292"/>
                <a:gd name="T31" fmla="*/ 20 h 155"/>
                <a:gd name="T32" fmla="*/ 0 w 292"/>
                <a:gd name="T33" fmla="*/ 0 h 155"/>
                <a:gd name="T34" fmla="*/ 0 w 292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2" h="155">
                  <a:moveTo>
                    <a:pt x="0" y="0"/>
                  </a:moveTo>
                  <a:lnTo>
                    <a:pt x="0" y="0"/>
                  </a:lnTo>
                  <a:lnTo>
                    <a:pt x="27" y="15"/>
                  </a:lnTo>
                  <a:lnTo>
                    <a:pt x="94" y="53"/>
                  </a:lnTo>
                  <a:lnTo>
                    <a:pt x="137" y="77"/>
                  </a:lnTo>
                  <a:lnTo>
                    <a:pt x="185" y="103"/>
                  </a:lnTo>
                  <a:lnTo>
                    <a:pt x="238" y="129"/>
                  </a:lnTo>
                  <a:lnTo>
                    <a:pt x="292" y="155"/>
                  </a:lnTo>
                  <a:lnTo>
                    <a:pt x="292" y="155"/>
                  </a:lnTo>
                  <a:lnTo>
                    <a:pt x="253" y="137"/>
                  </a:lnTo>
                  <a:lnTo>
                    <a:pt x="213" y="118"/>
                  </a:lnTo>
                  <a:lnTo>
                    <a:pt x="175" y="100"/>
                  </a:lnTo>
                  <a:lnTo>
                    <a:pt x="137" y="81"/>
                  </a:lnTo>
                  <a:lnTo>
                    <a:pt x="102" y="61"/>
                  </a:lnTo>
                  <a:lnTo>
                    <a:pt x="67" y="40"/>
                  </a:lnTo>
                  <a:lnTo>
                    <a:pt x="32" y="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2" name="Freeform 13"/>
            <p:cNvSpPr>
              <a:spLocks/>
            </p:cNvSpPr>
            <p:nvPr/>
          </p:nvSpPr>
          <p:spPr bwMode="auto">
            <a:xfrm flipH="1">
              <a:off x="5397506" y="3516179"/>
              <a:ext cx="2580" cy="0"/>
            </a:xfrm>
            <a:custGeom>
              <a:avLst/>
              <a:gdLst>
                <a:gd name="T0" fmla="*/ 0 w 15"/>
                <a:gd name="T1" fmla="*/ 4 h 4"/>
                <a:gd name="T2" fmla="*/ 0 w 15"/>
                <a:gd name="T3" fmla="*/ 4 h 4"/>
                <a:gd name="T4" fmla="*/ 15 w 15"/>
                <a:gd name="T5" fmla="*/ 0 h 4"/>
                <a:gd name="T6" fmla="*/ 15 w 15"/>
                <a:gd name="T7" fmla="*/ 0 h 4"/>
                <a:gd name="T8" fmla="*/ 0 w 1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lnTo>
                    <a:pt x="0" y="4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3" name="Freeform 14"/>
            <p:cNvSpPr>
              <a:spLocks/>
            </p:cNvSpPr>
            <p:nvPr/>
          </p:nvSpPr>
          <p:spPr bwMode="auto">
            <a:xfrm flipH="1">
              <a:off x="5397506" y="3516179"/>
              <a:ext cx="2580" cy="0"/>
            </a:xfrm>
            <a:custGeom>
              <a:avLst/>
              <a:gdLst>
                <a:gd name="T0" fmla="*/ 0 w 15"/>
                <a:gd name="T1" fmla="*/ 4 h 4"/>
                <a:gd name="T2" fmla="*/ 0 w 15"/>
                <a:gd name="T3" fmla="*/ 4 h 4"/>
                <a:gd name="T4" fmla="*/ 15 w 15"/>
                <a:gd name="T5" fmla="*/ 0 h 4"/>
                <a:gd name="T6" fmla="*/ 15 w 15"/>
                <a:gd name="T7" fmla="*/ 0 h 4"/>
                <a:gd name="T8" fmla="*/ 0 w 1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lnTo>
                    <a:pt x="0" y="4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0" y="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4" name="Freeform 15"/>
            <p:cNvSpPr>
              <a:spLocks noEditPoints="1"/>
            </p:cNvSpPr>
            <p:nvPr/>
          </p:nvSpPr>
          <p:spPr bwMode="auto">
            <a:xfrm flipH="1">
              <a:off x="5170450" y="3222078"/>
              <a:ext cx="1059164" cy="325059"/>
            </a:xfrm>
            <a:custGeom>
              <a:avLst/>
              <a:gdLst>
                <a:gd name="T0" fmla="*/ 821 w 5746"/>
                <a:gd name="T1" fmla="*/ 1914 h 2268"/>
                <a:gd name="T2" fmla="*/ 1091 w 5746"/>
                <a:gd name="T3" fmla="*/ 2009 h 2268"/>
                <a:gd name="T4" fmla="*/ 1354 w 5746"/>
                <a:gd name="T5" fmla="*/ 2087 h 2268"/>
                <a:gd name="T6" fmla="*/ 1654 w 5746"/>
                <a:gd name="T7" fmla="*/ 2156 h 2268"/>
                <a:gd name="T8" fmla="*/ 1944 w 5746"/>
                <a:gd name="T9" fmla="*/ 2204 h 2268"/>
                <a:gd name="T10" fmla="*/ 2213 w 5746"/>
                <a:gd name="T11" fmla="*/ 2236 h 2268"/>
                <a:gd name="T12" fmla="*/ 2646 w 5746"/>
                <a:gd name="T13" fmla="*/ 2264 h 2268"/>
                <a:gd name="T14" fmla="*/ 2874 w 5746"/>
                <a:gd name="T15" fmla="*/ 2267 h 2268"/>
                <a:gd name="T16" fmla="*/ 3032 w 5746"/>
                <a:gd name="T17" fmla="*/ 2267 h 2268"/>
                <a:gd name="T18" fmla="*/ 3358 w 5746"/>
                <a:gd name="T19" fmla="*/ 2251 h 2268"/>
                <a:gd name="T20" fmla="*/ 3707 w 5746"/>
                <a:gd name="T21" fmla="*/ 2218 h 2268"/>
                <a:gd name="T22" fmla="*/ 3685 w 5746"/>
                <a:gd name="T23" fmla="*/ 996 h 2268"/>
                <a:gd name="T24" fmla="*/ 3289 w 5746"/>
                <a:gd name="T25" fmla="*/ 1039 h 2268"/>
                <a:gd name="T26" fmla="*/ 2874 w 5746"/>
                <a:gd name="T27" fmla="*/ 1054 h 2268"/>
                <a:gd name="T28" fmla="*/ 2675 w 5746"/>
                <a:gd name="T29" fmla="*/ 1051 h 2268"/>
                <a:gd name="T30" fmla="*/ 2418 w 5746"/>
                <a:gd name="T31" fmla="*/ 1036 h 2268"/>
                <a:gd name="T32" fmla="*/ 2170 w 5746"/>
                <a:gd name="T33" fmla="*/ 1011 h 2268"/>
                <a:gd name="T34" fmla="*/ 1932 w 5746"/>
                <a:gd name="T35" fmla="*/ 976 h 2268"/>
                <a:gd name="T36" fmla="*/ 1705 w 5746"/>
                <a:gd name="T37" fmla="*/ 931 h 2268"/>
                <a:gd name="T38" fmla="*/ 1491 w 5746"/>
                <a:gd name="T39" fmla="*/ 877 h 2268"/>
                <a:gd name="T40" fmla="*/ 1291 w 5746"/>
                <a:gd name="T41" fmla="*/ 815 h 2268"/>
                <a:gd name="T42" fmla="*/ 1106 w 5746"/>
                <a:gd name="T43" fmla="*/ 744 h 2268"/>
                <a:gd name="T44" fmla="*/ 54 w 5746"/>
                <a:gd name="T45" fmla="*/ 823 h 2268"/>
                <a:gd name="T46" fmla="*/ 346 w 5746"/>
                <a:gd name="T47" fmla="*/ 20 h 2268"/>
                <a:gd name="T48" fmla="*/ 361 w 5746"/>
                <a:gd name="T49" fmla="*/ 95 h 2268"/>
                <a:gd name="T50" fmla="*/ 387 w 5746"/>
                <a:gd name="T51" fmla="*/ 169 h 2268"/>
                <a:gd name="T52" fmla="*/ 425 w 5746"/>
                <a:gd name="T53" fmla="*/ 242 h 2268"/>
                <a:gd name="T54" fmla="*/ 488 w 5746"/>
                <a:gd name="T55" fmla="*/ 330 h 2268"/>
                <a:gd name="T56" fmla="*/ 622 w 5746"/>
                <a:gd name="T57" fmla="*/ 463 h 2268"/>
                <a:gd name="T58" fmla="*/ 748 w 5746"/>
                <a:gd name="T59" fmla="*/ 556 h 2268"/>
                <a:gd name="T60" fmla="*/ 315 w 5746"/>
                <a:gd name="T61" fmla="*/ 1655 h 2268"/>
                <a:gd name="T62" fmla="*/ 215 w 5746"/>
                <a:gd name="T63" fmla="*/ 1573 h 2268"/>
                <a:gd name="T64" fmla="*/ 132 w 5746"/>
                <a:gd name="T65" fmla="*/ 1482 h 2268"/>
                <a:gd name="T66" fmla="*/ 68 w 5746"/>
                <a:gd name="T67" fmla="*/ 1384 h 2268"/>
                <a:gd name="T68" fmla="*/ 24 w 5746"/>
                <a:gd name="T69" fmla="*/ 1278 h 2268"/>
                <a:gd name="T70" fmla="*/ 2 w 5746"/>
                <a:gd name="T71" fmla="*/ 1161 h 2268"/>
                <a:gd name="T72" fmla="*/ 4 w 5746"/>
                <a:gd name="T73" fmla="*/ 1034 h 2268"/>
                <a:gd name="T74" fmla="*/ 30 w 5746"/>
                <a:gd name="T75" fmla="*/ 896 h 2268"/>
                <a:gd name="T76" fmla="*/ 5402 w 5746"/>
                <a:gd name="T77" fmla="*/ 3 h 2268"/>
                <a:gd name="T78" fmla="*/ 5715 w 5746"/>
                <a:gd name="T79" fmla="*/ 894 h 2268"/>
                <a:gd name="T80" fmla="*/ 5742 w 5746"/>
                <a:gd name="T81" fmla="*/ 1029 h 2268"/>
                <a:gd name="T82" fmla="*/ 5745 w 5746"/>
                <a:gd name="T83" fmla="*/ 1152 h 2268"/>
                <a:gd name="T84" fmla="*/ 5725 w 5746"/>
                <a:gd name="T85" fmla="*/ 1265 h 2268"/>
                <a:gd name="T86" fmla="*/ 5686 w 5746"/>
                <a:gd name="T87" fmla="*/ 1369 h 2268"/>
                <a:gd name="T88" fmla="*/ 5627 w 5746"/>
                <a:gd name="T89" fmla="*/ 1465 h 2268"/>
                <a:gd name="T90" fmla="*/ 5550 w 5746"/>
                <a:gd name="T91" fmla="*/ 1555 h 2268"/>
                <a:gd name="T92" fmla="*/ 5456 w 5746"/>
                <a:gd name="T93" fmla="*/ 1636 h 2268"/>
                <a:gd name="T94" fmla="*/ 5064 w 5746"/>
                <a:gd name="T95" fmla="*/ 510 h 2268"/>
                <a:gd name="T96" fmla="*/ 5169 w 5746"/>
                <a:gd name="T97" fmla="*/ 423 h 2268"/>
                <a:gd name="T98" fmla="*/ 5281 w 5746"/>
                <a:gd name="T99" fmla="*/ 301 h 2268"/>
                <a:gd name="T100" fmla="*/ 5358 w 5746"/>
                <a:gd name="T101" fmla="*/ 172 h 2268"/>
                <a:gd name="T102" fmla="*/ 5398 w 5746"/>
                <a:gd name="T103" fmla="*/ 3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46" h="2268">
                  <a:moveTo>
                    <a:pt x="770" y="1895"/>
                  </a:moveTo>
                  <a:lnTo>
                    <a:pt x="770" y="1895"/>
                  </a:lnTo>
                  <a:lnTo>
                    <a:pt x="770" y="1895"/>
                  </a:lnTo>
                  <a:lnTo>
                    <a:pt x="821" y="1914"/>
                  </a:lnTo>
                  <a:lnTo>
                    <a:pt x="873" y="1934"/>
                  </a:lnTo>
                  <a:lnTo>
                    <a:pt x="926" y="1953"/>
                  </a:lnTo>
                  <a:lnTo>
                    <a:pt x="979" y="1972"/>
                  </a:lnTo>
                  <a:lnTo>
                    <a:pt x="1091" y="2009"/>
                  </a:lnTo>
                  <a:lnTo>
                    <a:pt x="1204" y="2045"/>
                  </a:lnTo>
                  <a:lnTo>
                    <a:pt x="1204" y="2045"/>
                  </a:lnTo>
                  <a:lnTo>
                    <a:pt x="1279" y="2067"/>
                  </a:lnTo>
                  <a:lnTo>
                    <a:pt x="1354" y="2087"/>
                  </a:lnTo>
                  <a:lnTo>
                    <a:pt x="1430" y="2107"/>
                  </a:lnTo>
                  <a:lnTo>
                    <a:pt x="1504" y="2125"/>
                  </a:lnTo>
                  <a:lnTo>
                    <a:pt x="1579" y="2140"/>
                  </a:lnTo>
                  <a:lnTo>
                    <a:pt x="1654" y="2156"/>
                  </a:lnTo>
                  <a:lnTo>
                    <a:pt x="1728" y="2170"/>
                  </a:lnTo>
                  <a:lnTo>
                    <a:pt x="1801" y="2182"/>
                  </a:lnTo>
                  <a:lnTo>
                    <a:pt x="1873" y="2194"/>
                  </a:lnTo>
                  <a:lnTo>
                    <a:pt x="1944" y="2204"/>
                  </a:lnTo>
                  <a:lnTo>
                    <a:pt x="2014" y="2213"/>
                  </a:lnTo>
                  <a:lnTo>
                    <a:pt x="2082" y="2223"/>
                  </a:lnTo>
                  <a:lnTo>
                    <a:pt x="2149" y="2230"/>
                  </a:lnTo>
                  <a:lnTo>
                    <a:pt x="2213" y="2236"/>
                  </a:lnTo>
                  <a:lnTo>
                    <a:pt x="2337" y="2248"/>
                  </a:lnTo>
                  <a:lnTo>
                    <a:pt x="2452" y="2255"/>
                  </a:lnTo>
                  <a:lnTo>
                    <a:pt x="2554" y="2261"/>
                  </a:lnTo>
                  <a:lnTo>
                    <a:pt x="2646" y="2264"/>
                  </a:lnTo>
                  <a:lnTo>
                    <a:pt x="2724" y="2267"/>
                  </a:lnTo>
                  <a:lnTo>
                    <a:pt x="2787" y="2268"/>
                  </a:lnTo>
                  <a:lnTo>
                    <a:pt x="2834" y="2268"/>
                  </a:lnTo>
                  <a:lnTo>
                    <a:pt x="2874" y="2267"/>
                  </a:lnTo>
                  <a:lnTo>
                    <a:pt x="2874" y="2267"/>
                  </a:lnTo>
                  <a:lnTo>
                    <a:pt x="2892" y="2268"/>
                  </a:lnTo>
                  <a:lnTo>
                    <a:pt x="2946" y="2268"/>
                  </a:lnTo>
                  <a:lnTo>
                    <a:pt x="3032" y="2267"/>
                  </a:lnTo>
                  <a:lnTo>
                    <a:pt x="3145" y="2263"/>
                  </a:lnTo>
                  <a:lnTo>
                    <a:pt x="3210" y="2260"/>
                  </a:lnTo>
                  <a:lnTo>
                    <a:pt x="3282" y="2256"/>
                  </a:lnTo>
                  <a:lnTo>
                    <a:pt x="3358" y="2251"/>
                  </a:lnTo>
                  <a:lnTo>
                    <a:pt x="3440" y="2245"/>
                  </a:lnTo>
                  <a:lnTo>
                    <a:pt x="3525" y="2237"/>
                  </a:lnTo>
                  <a:lnTo>
                    <a:pt x="3615" y="2228"/>
                  </a:lnTo>
                  <a:lnTo>
                    <a:pt x="3707" y="2218"/>
                  </a:lnTo>
                  <a:lnTo>
                    <a:pt x="3803" y="2204"/>
                  </a:lnTo>
                  <a:lnTo>
                    <a:pt x="3803" y="2204"/>
                  </a:lnTo>
                  <a:lnTo>
                    <a:pt x="3685" y="996"/>
                  </a:lnTo>
                  <a:lnTo>
                    <a:pt x="3685" y="996"/>
                  </a:lnTo>
                  <a:lnTo>
                    <a:pt x="3588" y="1010"/>
                  </a:lnTo>
                  <a:lnTo>
                    <a:pt x="3490" y="1021"/>
                  </a:lnTo>
                  <a:lnTo>
                    <a:pt x="3390" y="1031"/>
                  </a:lnTo>
                  <a:lnTo>
                    <a:pt x="3289" y="1039"/>
                  </a:lnTo>
                  <a:lnTo>
                    <a:pt x="3188" y="1045"/>
                  </a:lnTo>
                  <a:lnTo>
                    <a:pt x="3084" y="1050"/>
                  </a:lnTo>
                  <a:lnTo>
                    <a:pt x="2979" y="1053"/>
                  </a:lnTo>
                  <a:lnTo>
                    <a:pt x="2874" y="1054"/>
                  </a:lnTo>
                  <a:lnTo>
                    <a:pt x="2874" y="1054"/>
                  </a:lnTo>
                  <a:lnTo>
                    <a:pt x="2807" y="1053"/>
                  </a:lnTo>
                  <a:lnTo>
                    <a:pt x="2741" y="1052"/>
                  </a:lnTo>
                  <a:lnTo>
                    <a:pt x="2675" y="1051"/>
                  </a:lnTo>
                  <a:lnTo>
                    <a:pt x="2611" y="1047"/>
                  </a:lnTo>
                  <a:lnTo>
                    <a:pt x="2546" y="1044"/>
                  </a:lnTo>
                  <a:lnTo>
                    <a:pt x="2482" y="1040"/>
                  </a:lnTo>
                  <a:lnTo>
                    <a:pt x="2418" y="1036"/>
                  </a:lnTo>
                  <a:lnTo>
                    <a:pt x="2356" y="1031"/>
                  </a:lnTo>
                  <a:lnTo>
                    <a:pt x="2294" y="1025"/>
                  </a:lnTo>
                  <a:lnTo>
                    <a:pt x="2231" y="1018"/>
                  </a:lnTo>
                  <a:lnTo>
                    <a:pt x="2170" y="1011"/>
                  </a:lnTo>
                  <a:lnTo>
                    <a:pt x="2109" y="1003"/>
                  </a:lnTo>
                  <a:lnTo>
                    <a:pt x="2049" y="994"/>
                  </a:lnTo>
                  <a:lnTo>
                    <a:pt x="1990" y="986"/>
                  </a:lnTo>
                  <a:lnTo>
                    <a:pt x="1932" y="976"/>
                  </a:lnTo>
                  <a:lnTo>
                    <a:pt x="1875" y="965"/>
                  </a:lnTo>
                  <a:lnTo>
                    <a:pt x="1817" y="955"/>
                  </a:lnTo>
                  <a:lnTo>
                    <a:pt x="1760" y="943"/>
                  </a:lnTo>
                  <a:lnTo>
                    <a:pt x="1705" y="931"/>
                  </a:lnTo>
                  <a:lnTo>
                    <a:pt x="1650" y="918"/>
                  </a:lnTo>
                  <a:lnTo>
                    <a:pt x="1596" y="905"/>
                  </a:lnTo>
                  <a:lnTo>
                    <a:pt x="1543" y="891"/>
                  </a:lnTo>
                  <a:lnTo>
                    <a:pt x="1491" y="877"/>
                  </a:lnTo>
                  <a:lnTo>
                    <a:pt x="1440" y="862"/>
                  </a:lnTo>
                  <a:lnTo>
                    <a:pt x="1389" y="846"/>
                  </a:lnTo>
                  <a:lnTo>
                    <a:pt x="1339" y="831"/>
                  </a:lnTo>
                  <a:lnTo>
                    <a:pt x="1291" y="815"/>
                  </a:lnTo>
                  <a:lnTo>
                    <a:pt x="1243" y="797"/>
                  </a:lnTo>
                  <a:lnTo>
                    <a:pt x="1197" y="781"/>
                  </a:lnTo>
                  <a:lnTo>
                    <a:pt x="1151" y="763"/>
                  </a:lnTo>
                  <a:lnTo>
                    <a:pt x="1106" y="744"/>
                  </a:lnTo>
                  <a:lnTo>
                    <a:pt x="1063" y="726"/>
                  </a:lnTo>
                  <a:lnTo>
                    <a:pt x="1063" y="726"/>
                  </a:lnTo>
                  <a:lnTo>
                    <a:pt x="770" y="1895"/>
                  </a:lnTo>
                  <a:close/>
                  <a:moveTo>
                    <a:pt x="54" y="823"/>
                  </a:moveTo>
                  <a:lnTo>
                    <a:pt x="54" y="823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6" y="20"/>
                  </a:lnTo>
                  <a:lnTo>
                    <a:pt x="348" y="39"/>
                  </a:lnTo>
                  <a:lnTo>
                    <a:pt x="352" y="58"/>
                  </a:lnTo>
                  <a:lnTo>
                    <a:pt x="356" y="76"/>
                  </a:lnTo>
                  <a:lnTo>
                    <a:pt x="361" y="95"/>
                  </a:lnTo>
                  <a:lnTo>
                    <a:pt x="366" y="114"/>
                  </a:lnTo>
                  <a:lnTo>
                    <a:pt x="372" y="133"/>
                  </a:lnTo>
                  <a:lnTo>
                    <a:pt x="380" y="151"/>
                  </a:lnTo>
                  <a:lnTo>
                    <a:pt x="387" y="169"/>
                  </a:lnTo>
                  <a:lnTo>
                    <a:pt x="396" y="188"/>
                  </a:lnTo>
                  <a:lnTo>
                    <a:pt x="404" y="206"/>
                  </a:lnTo>
                  <a:lnTo>
                    <a:pt x="415" y="224"/>
                  </a:lnTo>
                  <a:lnTo>
                    <a:pt x="425" y="242"/>
                  </a:lnTo>
                  <a:lnTo>
                    <a:pt x="437" y="260"/>
                  </a:lnTo>
                  <a:lnTo>
                    <a:pt x="448" y="277"/>
                  </a:lnTo>
                  <a:lnTo>
                    <a:pt x="461" y="295"/>
                  </a:lnTo>
                  <a:lnTo>
                    <a:pt x="488" y="330"/>
                  </a:lnTo>
                  <a:lnTo>
                    <a:pt x="518" y="364"/>
                  </a:lnTo>
                  <a:lnTo>
                    <a:pt x="550" y="397"/>
                  </a:lnTo>
                  <a:lnTo>
                    <a:pt x="584" y="431"/>
                  </a:lnTo>
                  <a:lnTo>
                    <a:pt x="622" y="463"/>
                  </a:lnTo>
                  <a:lnTo>
                    <a:pt x="661" y="494"/>
                  </a:lnTo>
                  <a:lnTo>
                    <a:pt x="703" y="525"/>
                  </a:lnTo>
                  <a:lnTo>
                    <a:pt x="748" y="556"/>
                  </a:lnTo>
                  <a:lnTo>
                    <a:pt x="748" y="556"/>
                  </a:lnTo>
                  <a:lnTo>
                    <a:pt x="371" y="1693"/>
                  </a:lnTo>
                  <a:lnTo>
                    <a:pt x="371" y="1693"/>
                  </a:lnTo>
                  <a:lnTo>
                    <a:pt x="343" y="1675"/>
                  </a:lnTo>
                  <a:lnTo>
                    <a:pt x="315" y="1655"/>
                  </a:lnTo>
                  <a:lnTo>
                    <a:pt x="289" y="1635"/>
                  </a:lnTo>
                  <a:lnTo>
                    <a:pt x="263" y="1614"/>
                  </a:lnTo>
                  <a:lnTo>
                    <a:pt x="238" y="1593"/>
                  </a:lnTo>
                  <a:lnTo>
                    <a:pt x="215" y="1573"/>
                  </a:lnTo>
                  <a:lnTo>
                    <a:pt x="192" y="1551"/>
                  </a:lnTo>
                  <a:lnTo>
                    <a:pt x="172" y="1528"/>
                  </a:lnTo>
                  <a:lnTo>
                    <a:pt x="151" y="1505"/>
                  </a:lnTo>
                  <a:lnTo>
                    <a:pt x="132" y="1482"/>
                  </a:lnTo>
                  <a:lnTo>
                    <a:pt x="114" y="1458"/>
                  </a:lnTo>
                  <a:lnTo>
                    <a:pt x="98" y="1434"/>
                  </a:lnTo>
                  <a:lnTo>
                    <a:pt x="82" y="1409"/>
                  </a:lnTo>
                  <a:lnTo>
                    <a:pt x="68" y="1384"/>
                  </a:lnTo>
                  <a:lnTo>
                    <a:pt x="55" y="1358"/>
                  </a:lnTo>
                  <a:lnTo>
                    <a:pt x="44" y="1332"/>
                  </a:lnTo>
                  <a:lnTo>
                    <a:pt x="33" y="1305"/>
                  </a:lnTo>
                  <a:lnTo>
                    <a:pt x="24" y="1278"/>
                  </a:lnTo>
                  <a:lnTo>
                    <a:pt x="17" y="1249"/>
                  </a:lnTo>
                  <a:lnTo>
                    <a:pt x="10" y="1220"/>
                  </a:lnTo>
                  <a:lnTo>
                    <a:pt x="5" y="1191"/>
                  </a:lnTo>
                  <a:lnTo>
                    <a:pt x="2" y="1161"/>
                  </a:lnTo>
                  <a:lnTo>
                    <a:pt x="0" y="1130"/>
                  </a:lnTo>
                  <a:lnTo>
                    <a:pt x="0" y="1099"/>
                  </a:lnTo>
                  <a:lnTo>
                    <a:pt x="1" y="1067"/>
                  </a:lnTo>
                  <a:lnTo>
                    <a:pt x="4" y="1034"/>
                  </a:lnTo>
                  <a:lnTo>
                    <a:pt x="8" y="1001"/>
                  </a:lnTo>
                  <a:lnTo>
                    <a:pt x="14" y="967"/>
                  </a:lnTo>
                  <a:lnTo>
                    <a:pt x="22" y="932"/>
                  </a:lnTo>
                  <a:lnTo>
                    <a:pt x="30" y="896"/>
                  </a:lnTo>
                  <a:lnTo>
                    <a:pt x="42" y="861"/>
                  </a:lnTo>
                  <a:lnTo>
                    <a:pt x="54" y="823"/>
                  </a:lnTo>
                  <a:close/>
                  <a:moveTo>
                    <a:pt x="5402" y="3"/>
                  </a:moveTo>
                  <a:lnTo>
                    <a:pt x="5402" y="3"/>
                  </a:lnTo>
                  <a:lnTo>
                    <a:pt x="5693" y="823"/>
                  </a:lnTo>
                  <a:lnTo>
                    <a:pt x="5693" y="823"/>
                  </a:lnTo>
                  <a:lnTo>
                    <a:pt x="5705" y="860"/>
                  </a:lnTo>
                  <a:lnTo>
                    <a:pt x="5715" y="894"/>
                  </a:lnTo>
                  <a:lnTo>
                    <a:pt x="5724" y="929"/>
                  </a:lnTo>
                  <a:lnTo>
                    <a:pt x="5732" y="963"/>
                  </a:lnTo>
                  <a:lnTo>
                    <a:pt x="5738" y="995"/>
                  </a:lnTo>
                  <a:lnTo>
                    <a:pt x="5742" y="1029"/>
                  </a:lnTo>
                  <a:lnTo>
                    <a:pt x="5745" y="1060"/>
                  </a:lnTo>
                  <a:lnTo>
                    <a:pt x="5746" y="1091"/>
                  </a:lnTo>
                  <a:lnTo>
                    <a:pt x="5746" y="1121"/>
                  </a:lnTo>
                  <a:lnTo>
                    <a:pt x="5745" y="1152"/>
                  </a:lnTo>
                  <a:lnTo>
                    <a:pt x="5742" y="1181"/>
                  </a:lnTo>
                  <a:lnTo>
                    <a:pt x="5738" y="1209"/>
                  </a:lnTo>
                  <a:lnTo>
                    <a:pt x="5733" y="1237"/>
                  </a:lnTo>
                  <a:lnTo>
                    <a:pt x="5725" y="1265"/>
                  </a:lnTo>
                  <a:lnTo>
                    <a:pt x="5718" y="1292"/>
                  </a:lnTo>
                  <a:lnTo>
                    <a:pt x="5709" y="1318"/>
                  </a:lnTo>
                  <a:lnTo>
                    <a:pt x="5697" y="1344"/>
                  </a:lnTo>
                  <a:lnTo>
                    <a:pt x="5686" y="1369"/>
                  </a:lnTo>
                  <a:lnTo>
                    <a:pt x="5672" y="1394"/>
                  </a:lnTo>
                  <a:lnTo>
                    <a:pt x="5659" y="1418"/>
                  </a:lnTo>
                  <a:lnTo>
                    <a:pt x="5643" y="1442"/>
                  </a:lnTo>
                  <a:lnTo>
                    <a:pt x="5627" y="1465"/>
                  </a:lnTo>
                  <a:lnTo>
                    <a:pt x="5609" y="1488"/>
                  </a:lnTo>
                  <a:lnTo>
                    <a:pt x="5590" y="1511"/>
                  </a:lnTo>
                  <a:lnTo>
                    <a:pt x="5570" y="1533"/>
                  </a:lnTo>
                  <a:lnTo>
                    <a:pt x="5550" y="1555"/>
                  </a:lnTo>
                  <a:lnTo>
                    <a:pt x="5528" y="1576"/>
                  </a:lnTo>
                  <a:lnTo>
                    <a:pt x="5505" y="1597"/>
                  </a:lnTo>
                  <a:lnTo>
                    <a:pt x="5481" y="1616"/>
                  </a:lnTo>
                  <a:lnTo>
                    <a:pt x="5456" y="1636"/>
                  </a:lnTo>
                  <a:lnTo>
                    <a:pt x="5430" y="1656"/>
                  </a:lnTo>
                  <a:lnTo>
                    <a:pt x="5403" y="1675"/>
                  </a:lnTo>
                  <a:lnTo>
                    <a:pt x="5403" y="1675"/>
                  </a:lnTo>
                  <a:lnTo>
                    <a:pt x="5064" y="510"/>
                  </a:lnTo>
                  <a:lnTo>
                    <a:pt x="5064" y="510"/>
                  </a:lnTo>
                  <a:lnTo>
                    <a:pt x="5102" y="482"/>
                  </a:lnTo>
                  <a:lnTo>
                    <a:pt x="5136" y="453"/>
                  </a:lnTo>
                  <a:lnTo>
                    <a:pt x="5169" y="423"/>
                  </a:lnTo>
                  <a:lnTo>
                    <a:pt x="5200" y="393"/>
                  </a:lnTo>
                  <a:lnTo>
                    <a:pt x="5229" y="363"/>
                  </a:lnTo>
                  <a:lnTo>
                    <a:pt x="5256" y="333"/>
                  </a:lnTo>
                  <a:lnTo>
                    <a:pt x="5281" y="301"/>
                  </a:lnTo>
                  <a:lnTo>
                    <a:pt x="5303" y="269"/>
                  </a:lnTo>
                  <a:lnTo>
                    <a:pt x="5324" y="238"/>
                  </a:lnTo>
                  <a:lnTo>
                    <a:pt x="5342" y="205"/>
                  </a:lnTo>
                  <a:lnTo>
                    <a:pt x="5358" y="172"/>
                  </a:lnTo>
                  <a:lnTo>
                    <a:pt x="5372" y="139"/>
                  </a:lnTo>
                  <a:lnTo>
                    <a:pt x="5382" y="106"/>
                  </a:lnTo>
                  <a:lnTo>
                    <a:pt x="5392" y="71"/>
                  </a:lnTo>
                  <a:lnTo>
                    <a:pt x="5398" y="38"/>
                  </a:lnTo>
                  <a:lnTo>
                    <a:pt x="5400" y="20"/>
                  </a:lnTo>
                  <a:lnTo>
                    <a:pt x="5402" y="3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5" name="Freeform 16"/>
            <p:cNvSpPr>
              <a:spLocks/>
            </p:cNvSpPr>
            <p:nvPr/>
          </p:nvSpPr>
          <p:spPr bwMode="auto">
            <a:xfrm flipH="1">
              <a:off x="5527805" y="3325272"/>
              <a:ext cx="559899" cy="221866"/>
            </a:xfrm>
            <a:custGeom>
              <a:avLst/>
              <a:gdLst>
                <a:gd name="T0" fmla="*/ 0 w 3033"/>
                <a:gd name="T1" fmla="*/ 1169 h 1542"/>
                <a:gd name="T2" fmla="*/ 51 w 3033"/>
                <a:gd name="T3" fmla="*/ 1188 h 1542"/>
                <a:gd name="T4" fmla="*/ 156 w 3033"/>
                <a:gd name="T5" fmla="*/ 1227 h 1542"/>
                <a:gd name="T6" fmla="*/ 321 w 3033"/>
                <a:gd name="T7" fmla="*/ 1283 h 1542"/>
                <a:gd name="T8" fmla="*/ 434 w 3033"/>
                <a:gd name="T9" fmla="*/ 1319 h 1542"/>
                <a:gd name="T10" fmla="*/ 584 w 3033"/>
                <a:gd name="T11" fmla="*/ 1361 h 1542"/>
                <a:gd name="T12" fmla="*/ 734 w 3033"/>
                <a:gd name="T13" fmla="*/ 1399 h 1542"/>
                <a:gd name="T14" fmla="*/ 884 w 3033"/>
                <a:gd name="T15" fmla="*/ 1430 h 1542"/>
                <a:gd name="T16" fmla="*/ 1031 w 3033"/>
                <a:gd name="T17" fmla="*/ 1456 h 1542"/>
                <a:gd name="T18" fmla="*/ 1174 w 3033"/>
                <a:gd name="T19" fmla="*/ 1478 h 1542"/>
                <a:gd name="T20" fmla="*/ 1312 w 3033"/>
                <a:gd name="T21" fmla="*/ 1497 h 1542"/>
                <a:gd name="T22" fmla="*/ 1443 w 3033"/>
                <a:gd name="T23" fmla="*/ 1510 h 1542"/>
                <a:gd name="T24" fmla="*/ 1682 w 3033"/>
                <a:gd name="T25" fmla="*/ 1529 h 1542"/>
                <a:gd name="T26" fmla="*/ 1876 w 3033"/>
                <a:gd name="T27" fmla="*/ 1538 h 1542"/>
                <a:gd name="T28" fmla="*/ 2017 w 3033"/>
                <a:gd name="T29" fmla="*/ 1542 h 1542"/>
                <a:gd name="T30" fmla="*/ 2104 w 3033"/>
                <a:gd name="T31" fmla="*/ 1541 h 1542"/>
                <a:gd name="T32" fmla="*/ 2122 w 3033"/>
                <a:gd name="T33" fmla="*/ 1542 h 1542"/>
                <a:gd name="T34" fmla="*/ 2262 w 3033"/>
                <a:gd name="T35" fmla="*/ 1541 h 1542"/>
                <a:gd name="T36" fmla="*/ 2440 w 3033"/>
                <a:gd name="T37" fmla="*/ 1534 h 1542"/>
                <a:gd name="T38" fmla="*/ 2588 w 3033"/>
                <a:gd name="T39" fmla="*/ 1525 h 1542"/>
                <a:gd name="T40" fmla="*/ 2755 w 3033"/>
                <a:gd name="T41" fmla="*/ 1511 h 1542"/>
                <a:gd name="T42" fmla="*/ 2937 w 3033"/>
                <a:gd name="T43" fmla="*/ 1492 h 1542"/>
                <a:gd name="T44" fmla="*/ 3033 w 3033"/>
                <a:gd name="T45" fmla="*/ 1478 h 1542"/>
                <a:gd name="T46" fmla="*/ 2915 w 3033"/>
                <a:gd name="T47" fmla="*/ 270 h 1542"/>
                <a:gd name="T48" fmla="*/ 2720 w 3033"/>
                <a:gd name="T49" fmla="*/ 295 h 1542"/>
                <a:gd name="T50" fmla="*/ 2519 w 3033"/>
                <a:gd name="T51" fmla="*/ 313 h 1542"/>
                <a:gd name="T52" fmla="*/ 2314 w 3033"/>
                <a:gd name="T53" fmla="*/ 324 h 1542"/>
                <a:gd name="T54" fmla="*/ 2104 w 3033"/>
                <a:gd name="T55" fmla="*/ 328 h 1542"/>
                <a:gd name="T56" fmla="*/ 2037 w 3033"/>
                <a:gd name="T57" fmla="*/ 327 h 1542"/>
                <a:gd name="T58" fmla="*/ 1905 w 3033"/>
                <a:gd name="T59" fmla="*/ 325 h 1542"/>
                <a:gd name="T60" fmla="*/ 1776 w 3033"/>
                <a:gd name="T61" fmla="*/ 318 h 1542"/>
                <a:gd name="T62" fmla="*/ 1648 w 3033"/>
                <a:gd name="T63" fmla="*/ 310 h 1542"/>
                <a:gd name="T64" fmla="*/ 1524 w 3033"/>
                <a:gd name="T65" fmla="*/ 299 h 1542"/>
                <a:gd name="T66" fmla="*/ 1400 w 3033"/>
                <a:gd name="T67" fmla="*/ 285 h 1542"/>
                <a:gd name="T68" fmla="*/ 1279 w 3033"/>
                <a:gd name="T69" fmla="*/ 268 h 1542"/>
                <a:gd name="T70" fmla="*/ 1162 w 3033"/>
                <a:gd name="T71" fmla="*/ 250 h 1542"/>
                <a:gd name="T72" fmla="*/ 1047 w 3033"/>
                <a:gd name="T73" fmla="*/ 229 h 1542"/>
                <a:gd name="T74" fmla="*/ 935 w 3033"/>
                <a:gd name="T75" fmla="*/ 205 h 1542"/>
                <a:gd name="T76" fmla="*/ 826 w 3033"/>
                <a:gd name="T77" fmla="*/ 179 h 1542"/>
                <a:gd name="T78" fmla="*/ 721 w 3033"/>
                <a:gd name="T79" fmla="*/ 151 h 1542"/>
                <a:gd name="T80" fmla="*/ 619 w 3033"/>
                <a:gd name="T81" fmla="*/ 120 h 1542"/>
                <a:gd name="T82" fmla="*/ 521 w 3033"/>
                <a:gd name="T83" fmla="*/ 89 h 1542"/>
                <a:gd name="T84" fmla="*/ 427 w 3033"/>
                <a:gd name="T85" fmla="*/ 55 h 1542"/>
                <a:gd name="T86" fmla="*/ 336 w 3033"/>
                <a:gd name="T87" fmla="*/ 18 h 1542"/>
                <a:gd name="T88" fmla="*/ 293 w 3033"/>
                <a:gd name="T89" fmla="*/ 0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33" h="1542">
                  <a:moveTo>
                    <a:pt x="0" y="1169"/>
                  </a:moveTo>
                  <a:lnTo>
                    <a:pt x="0" y="1169"/>
                  </a:lnTo>
                  <a:lnTo>
                    <a:pt x="0" y="1169"/>
                  </a:lnTo>
                  <a:lnTo>
                    <a:pt x="51" y="1188"/>
                  </a:lnTo>
                  <a:lnTo>
                    <a:pt x="103" y="1208"/>
                  </a:lnTo>
                  <a:lnTo>
                    <a:pt x="156" y="1227"/>
                  </a:lnTo>
                  <a:lnTo>
                    <a:pt x="209" y="1246"/>
                  </a:lnTo>
                  <a:lnTo>
                    <a:pt x="321" y="1283"/>
                  </a:lnTo>
                  <a:lnTo>
                    <a:pt x="434" y="1319"/>
                  </a:lnTo>
                  <a:lnTo>
                    <a:pt x="434" y="1319"/>
                  </a:lnTo>
                  <a:lnTo>
                    <a:pt x="509" y="1341"/>
                  </a:lnTo>
                  <a:lnTo>
                    <a:pt x="584" y="1361"/>
                  </a:lnTo>
                  <a:lnTo>
                    <a:pt x="660" y="1381"/>
                  </a:lnTo>
                  <a:lnTo>
                    <a:pt x="734" y="1399"/>
                  </a:lnTo>
                  <a:lnTo>
                    <a:pt x="809" y="1414"/>
                  </a:lnTo>
                  <a:lnTo>
                    <a:pt x="884" y="1430"/>
                  </a:lnTo>
                  <a:lnTo>
                    <a:pt x="958" y="1444"/>
                  </a:lnTo>
                  <a:lnTo>
                    <a:pt x="1031" y="1456"/>
                  </a:lnTo>
                  <a:lnTo>
                    <a:pt x="1103" y="1468"/>
                  </a:lnTo>
                  <a:lnTo>
                    <a:pt x="1174" y="1478"/>
                  </a:lnTo>
                  <a:lnTo>
                    <a:pt x="1244" y="1487"/>
                  </a:lnTo>
                  <a:lnTo>
                    <a:pt x="1312" y="1497"/>
                  </a:lnTo>
                  <a:lnTo>
                    <a:pt x="1379" y="1504"/>
                  </a:lnTo>
                  <a:lnTo>
                    <a:pt x="1443" y="1510"/>
                  </a:lnTo>
                  <a:lnTo>
                    <a:pt x="1567" y="1522"/>
                  </a:lnTo>
                  <a:lnTo>
                    <a:pt x="1682" y="1529"/>
                  </a:lnTo>
                  <a:lnTo>
                    <a:pt x="1784" y="1535"/>
                  </a:lnTo>
                  <a:lnTo>
                    <a:pt x="1876" y="1538"/>
                  </a:lnTo>
                  <a:lnTo>
                    <a:pt x="1954" y="1541"/>
                  </a:lnTo>
                  <a:lnTo>
                    <a:pt x="2017" y="1542"/>
                  </a:lnTo>
                  <a:lnTo>
                    <a:pt x="2064" y="1542"/>
                  </a:lnTo>
                  <a:lnTo>
                    <a:pt x="2104" y="1541"/>
                  </a:lnTo>
                  <a:lnTo>
                    <a:pt x="2104" y="1541"/>
                  </a:lnTo>
                  <a:lnTo>
                    <a:pt x="2122" y="1542"/>
                  </a:lnTo>
                  <a:lnTo>
                    <a:pt x="2176" y="1542"/>
                  </a:lnTo>
                  <a:lnTo>
                    <a:pt x="2262" y="1541"/>
                  </a:lnTo>
                  <a:lnTo>
                    <a:pt x="2375" y="1537"/>
                  </a:lnTo>
                  <a:lnTo>
                    <a:pt x="2440" y="1534"/>
                  </a:lnTo>
                  <a:lnTo>
                    <a:pt x="2512" y="1530"/>
                  </a:lnTo>
                  <a:lnTo>
                    <a:pt x="2588" y="1525"/>
                  </a:lnTo>
                  <a:lnTo>
                    <a:pt x="2670" y="1519"/>
                  </a:lnTo>
                  <a:lnTo>
                    <a:pt x="2755" y="1511"/>
                  </a:lnTo>
                  <a:lnTo>
                    <a:pt x="2845" y="1502"/>
                  </a:lnTo>
                  <a:lnTo>
                    <a:pt x="2937" y="1492"/>
                  </a:lnTo>
                  <a:lnTo>
                    <a:pt x="3033" y="1478"/>
                  </a:lnTo>
                  <a:lnTo>
                    <a:pt x="3033" y="1478"/>
                  </a:lnTo>
                  <a:lnTo>
                    <a:pt x="2915" y="270"/>
                  </a:lnTo>
                  <a:lnTo>
                    <a:pt x="2915" y="270"/>
                  </a:lnTo>
                  <a:lnTo>
                    <a:pt x="2818" y="284"/>
                  </a:lnTo>
                  <a:lnTo>
                    <a:pt x="2720" y="295"/>
                  </a:lnTo>
                  <a:lnTo>
                    <a:pt x="2620" y="305"/>
                  </a:lnTo>
                  <a:lnTo>
                    <a:pt x="2519" y="313"/>
                  </a:lnTo>
                  <a:lnTo>
                    <a:pt x="2418" y="319"/>
                  </a:lnTo>
                  <a:lnTo>
                    <a:pt x="2314" y="324"/>
                  </a:lnTo>
                  <a:lnTo>
                    <a:pt x="2209" y="327"/>
                  </a:lnTo>
                  <a:lnTo>
                    <a:pt x="2104" y="328"/>
                  </a:lnTo>
                  <a:lnTo>
                    <a:pt x="2104" y="328"/>
                  </a:lnTo>
                  <a:lnTo>
                    <a:pt x="2037" y="327"/>
                  </a:lnTo>
                  <a:lnTo>
                    <a:pt x="1971" y="326"/>
                  </a:lnTo>
                  <a:lnTo>
                    <a:pt x="1905" y="325"/>
                  </a:lnTo>
                  <a:lnTo>
                    <a:pt x="1841" y="321"/>
                  </a:lnTo>
                  <a:lnTo>
                    <a:pt x="1776" y="318"/>
                  </a:lnTo>
                  <a:lnTo>
                    <a:pt x="1712" y="314"/>
                  </a:lnTo>
                  <a:lnTo>
                    <a:pt x="1648" y="310"/>
                  </a:lnTo>
                  <a:lnTo>
                    <a:pt x="1586" y="305"/>
                  </a:lnTo>
                  <a:lnTo>
                    <a:pt x="1524" y="299"/>
                  </a:lnTo>
                  <a:lnTo>
                    <a:pt x="1461" y="292"/>
                  </a:lnTo>
                  <a:lnTo>
                    <a:pt x="1400" y="285"/>
                  </a:lnTo>
                  <a:lnTo>
                    <a:pt x="1339" y="277"/>
                  </a:lnTo>
                  <a:lnTo>
                    <a:pt x="1279" y="268"/>
                  </a:lnTo>
                  <a:lnTo>
                    <a:pt x="1220" y="260"/>
                  </a:lnTo>
                  <a:lnTo>
                    <a:pt x="1162" y="250"/>
                  </a:lnTo>
                  <a:lnTo>
                    <a:pt x="1105" y="239"/>
                  </a:lnTo>
                  <a:lnTo>
                    <a:pt x="1047" y="229"/>
                  </a:lnTo>
                  <a:lnTo>
                    <a:pt x="990" y="217"/>
                  </a:lnTo>
                  <a:lnTo>
                    <a:pt x="935" y="205"/>
                  </a:lnTo>
                  <a:lnTo>
                    <a:pt x="880" y="192"/>
                  </a:lnTo>
                  <a:lnTo>
                    <a:pt x="826" y="179"/>
                  </a:lnTo>
                  <a:lnTo>
                    <a:pt x="773" y="165"/>
                  </a:lnTo>
                  <a:lnTo>
                    <a:pt x="721" y="151"/>
                  </a:lnTo>
                  <a:lnTo>
                    <a:pt x="670" y="136"/>
                  </a:lnTo>
                  <a:lnTo>
                    <a:pt x="619" y="120"/>
                  </a:lnTo>
                  <a:lnTo>
                    <a:pt x="569" y="105"/>
                  </a:lnTo>
                  <a:lnTo>
                    <a:pt x="521" y="89"/>
                  </a:lnTo>
                  <a:lnTo>
                    <a:pt x="473" y="71"/>
                  </a:lnTo>
                  <a:lnTo>
                    <a:pt x="427" y="55"/>
                  </a:lnTo>
                  <a:lnTo>
                    <a:pt x="381" y="37"/>
                  </a:lnTo>
                  <a:lnTo>
                    <a:pt x="336" y="18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0" y="11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6" name="Freeform 17"/>
            <p:cNvSpPr>
              <a:spLocks/>
            </p:cNvSpPr>
            <p:nvPr/>
          </p:nvSpPr>
          <p:spPr bwMode="auto">
            <a:xfrm flipH="1">
              <a:off x="6091574" y="3222078"/>
              <a:ext cx="138040" cy="242504"/>
            </a:xfrm>
            <a:custGeom>
              <a:avLst/>
              <a:gdLst>
                <a:gd name="T0" fmla="*/ 54 w 748"/>
                <a:gd name="T1" fmla="*/ 823 h 1693"/>
                <a:gd name="T2" fmla="*/ 54 w 748"/>
                <a:gd name="T3" fmla="*/ 823 h 1693"/>
                <a:gd name="T4" fmla="*/ 344 w 748"/>
                <a:gd name="T5" fmla="*/ 0 h 1693"/>
                <a:gd name="T6" fmla="*/ 344 w 748"/>
                <a:gd name="T7" fmla="*/ 0 h 1693"/>
                <a:gd name="T8" fmla="*/ 346 w 748"/>
                <a:gd name="T9" fmla="*/ 20 h 1693"/>
                <a:gd name="T10" fmla="*/ 348 w 748"/>
                <a:gd name="T11" fmla="*/ 39 h 1693"/>
                <a:gd name="T12" fmla="*/ 352 w 748"/>
                <a:gd name="T13" fmla="*/ 58 h 1693"/>
                <a:gd name="T14" fmla="*/ 356 w 748"/>
                <a:gd name="T15" fmla="*/ 76 h 1693"/>
                <a:gd name="T16" fmla="*/ 361 w 748"/>
                <a:gd name="T17" fmla="*/ 95 h 1693"/>
                <a:gd name="T18" fmla="*/ 366 w 748"/>
                <a:gd name="T19" fmla="*/ 114 h 1693"/>
                <a:gd name="T20" fmla="*/ 372 w 748"/>
                <a:gd name="T21" fmla="*/ 133 h 1693"/>
                <a:gd name="T22" fmla="*/ 380 w 748"/>
                <a:gd name="T23" fmla="*/ 151 h 1693"/>
                <a:gd name="T24" fmla="*/ 387 w 748"/>
                <a:gd name="T25" fmla="*/ 169 h 1693"/>
                <a:gd name="T26" fmla="*/ 396 w 748"/>
                <a:gd name="T27" fmla="*/ 188 h 1693"/>
                <a:gd name="T28" fmla="*/ 404 w 748"/>
                <a:gd name="T29" fmla="*/ 206 h 1693"/>
                <a:gd name="T30" fmla="*/ 415 w 748"/>
                <a:gd name="T31" fmla="*/ 224 h 1693"/>
                <a:gd name="T32" fmla="*/ 425 w 748"/>
                <a:gd name="T33" fmla="*/ 242 h 1693"/>
                <a:gd name="T34" fmla="*/ 437 w 748"/>
                <a:gd name="T35" fmla="*/ 260 h 1693"/>
                <a:gd name="T36" fmla="*/ 448 w 748"/>
                <a:gd name="T37" fmla="*/ 277 h 1693"/>
                <a:gd name="T38" fmla="*/ 461 w 748"/>
                <a:gd name="T39" fmla="*/ 295 h 1693"/>
                <a:gd name="T40" fmla="*/ 488 w 748"/>
                <a:gd name="T41" fmla="*/ 330 h 1693"/>
                <a:gd name="T42" fmla="*/ 518 w 748"/>
                <a:gd name="T43" fmla="*/ 364 h 1693"/>
                <a:gd name="T44" fmla="*/ 550 w 748"/>
                <a:gd name="T45" fmla="*/ 397 h 1693"/>
                <a:gd name="T46" fmla="*/ 584 w 748"/>
                <a:gd name="T47" fmla="*/ 431 h 1693"/>
                <a:gd name="T48" fmla="*/ 622 w 748"/>
                <a:gd name="T49" fmla="*/ 463 h 1693"/>
                <a:gd name="T50" fmla="*/ 661 w 748"/>
                <a:gd name="T51" fmla="*/ 494 h 1693"/>
                <a:gd name="T52" fmla="*/ 703 w 748"/>
                <a:gd name="T53" fmla="*/ 525 h 1693"/>
                <a:gd name="T54" fmla="*/ 748 w 748"/>
                <a:gd name="T55" fmla="*/ 556 h 1693"/>
                <a:gd name="T56" fmla="*/ 748 w 748"/>
                <a:gd name="T57" fmla="*/ 556 h 1693"/>
                <a:gd name="T58" fmla="*/ 371 w 748"/>
                <a:gd name="T59" fmla="*/ 1693 h 1693"/>
                <a:gd name="T60" fmla="*/ 371 w 748"/>
                <a:gd name="T61" fmla="*/ 1693 h 1693"/>
                <a:gd name="T62" fmla="*/ 343 w 748"/>
                <a:gd name="T63" fmla="*/ 1675 h 1693"/>
                <a:gd name="T64" fmla="*/ 315 w 748"/>
                <a:gd name="T65" fmla="*/ 1655 h 1693"/>
                <a:gd name="T66" fmla="*/ 289 w 748"/>
                <a:gd name="T67" fmla="*/ 1635 h 1693"/>
                <a:gd name="T68" fmla="*/ 263 w 748"/>
                <a:gd name="T69" fmla="*/ 1614 h 1693"/>
                <a:gd name="T70" fmla="*/ 238 w 748"/>
                <a:gd name="T71" fmla="*/ 1593 h 1693"/>
                <a:gd name="T72" fmla="*/ 215 w 748"/>
                <a:gd name="T73" fmla="*/ 1573 h 1693"/>
                <a:gd name="T74" fmla="*/ 192 w 748"/>
                <a:gd name="T75" fmla="*/ 1551 h 1693"/>
                <a:gd name="T76" fmla="*/ 172 w 748"/>
                <a:gd name="T77" fmla="*/ 1528 h 1693"/>
                <a:gd name="T78" fmla="*/ 151 w 748"/>
                <a:gd name="T79" fmla="*/ 1505 h 1693"/>
                <a:gd name="T80" fmla="*/ 132 w 748"/>
                <a:gd name="T81" fmla="*/ 1482 h 1693"/>
                <a:gd name="T82" fmla="*/ 114 w 748"/>
                <a:gd name="T83" fmla="*/ 1458 h 1693"/>
                <a:gd name="T84" fmla="*/ 98 w 748"/>
                <a:gd name="T85" fmla="*/ 1434 h 1693"/>
                <a:gd name="T86" fmla="*/ 82 w 748"/>
                <a:gd name="T87" fmla="*/ 1409 h 1693"/>
                <a:gd name="T88" fmla="*/ 68 w 748"/>
                <a:gd name="T89" fmla="*/ 1384 h 1693"/>
                <a:gd name="T90" fmla="*/ 55 w 748"/>
                <a:gd name="T91" fmla="*/ 1358 h 1693"/>
                <a:gd name="T92" fmla="*/ 44 w 748"/>
                <a:gd name="T93" fmla="*/ 1332 h 1693"/>
                <a:gd name="T94" fmla="*/ 33 w 748"/>
                <a:gd name="T95" fmla="*/ 1305 h 1693"/>
                <a:gd name="T96" fmla="*/ 24 w 748"/>
                <a:gd name="T97" fmla="*/ 1278 h 1693"/>
                <a:gd name="T98" fmla="*/ 17 w 748"/>
                <a:gd name="T99" fmla="*/ 1249 h 1693"/>
                <a:gd name="T100" fmla="*/ 10 w 748"/>
                <a:gd name="T101" fmla="*/ 1220 h 1693"/>
                <a:gd name="T102" fmla="*/ 5 w 748"/>
                <a:gd name="T103" fmla="*/ 1191 h 1693"/>
                <a:gd name="T104" fmla="*/ 2 w 748"/>
                <a:gd name="T105" fmla="*/ 1161 h 1693"/>
                <a:gd name="T106" fmla="*/ 0 w 748"/>
                <a:gd name="T107" fmla="*/ 1130 h 1693"/>
                <a:gd name="T108" fmla="*/ 0 w 748"/>
                <a:gd name="T109" fmla="*/ 1099 h 1693"/>
                <a:gd name="T110" fmla="*/ 1 w 748"/>
                <a:gd name="T111" fmla="*/ 1067 h 1693"/>
                <a:gd name="T112" fmla="*/ 4 w 748"/>
                <a:gd name="T113" fmla="*/ 1034 h 1693"/>
                <a:gd name="T114" fmla="*/ 8 w 748"/>
                <a:gd name="T115" fmla="*/ 1001 h 1693"/>
                <a:gd name="T116" fmla="*/ 14 w 748"/>
                <a:gd name="T117" fmla="*/ 967 h 1693"/>
                <a:gd name="T118" fmla="*/ 22 w 748"/>
                <a:gd name="T119" fmla="*/ 932 h 1693"/>
                <a:gd name="T120" fmla="*/ 30 w 748"/>
                <a:gd name="T121" fmla="*/ 896 h 1693"/>
                <a:gd name="T122" fmla="*/ 42 w 748"/>
                <a:gd name="T123" fmla="*/ 861 h 1693"/>
                <a:gd name="T124" fmla="*/ 54 w 748"/>
                <a:gd name="T125" fmla="*/ 823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8" h="1693">
                  <a:moveTo>
                    <a:pt x="54" y="823"/>
                  </a:moveTo>
                  <a:lnTo>
                    <a:pt x="54" y="823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6" y="20"/>
                  </a:lnTo>
                  <a:lnTo>
                    <a:pt x="348" y="39"/>
                  </a:lnTo>
                  <a:lnTo>
                    <a:pt x="352" y="58"/>
                  </a:lnTo>
                  <a:lnTo>
                    <a:pt x="356" y="76"/>
                  </a:lnTo>
                  <a:lnTo>
                    <a:pt x="361" y="95"/>
                  </a:lnTo>
                  <a:lnTo>
                    <a:pt x="366" y="114"/>
                  </a:lnTo>
                  <a:lnTo>
                    <a:pt x="372" y="133"/>
                  </a:lnTo>
                  <a:lnTo>
                    <a:pt x="380" y="151"/>
                  </a:lnTo>
                  <a:lnTo>
                    <a:pt x="387" y="169"/>
                  </a:lnTo>
                  <a:lnTo>
                    <a:pt x="396" y="188"/>
                  </a:lnTo>
                  <a:lnTo>
                    <a:pt x="404" y="206"/>
                  </a:lnTo>
                  <a:lnTo>
                    <a:pt x="415" y="224"/>
                  </a:lnTo>
                  <a:lnTo>
                    <a:pt x="425" y="242"/>
                  </a:lnTo>
                  <a:lnTo>
                    <a:pt x="437" y="260"/>
                  </a:lnTo>
                  <a:lnTo>
                    <a:pt x="448" y="277"/>
                  </a:lnTo>
                  <a:lnTo>
                    <a:pt x="461" y="295"/>
                  </a:lnTo>
                  <a:lnTo>
                    <a:pt x="488" y="330"/>
                  </a:lnTo>
                  <a:lnTo>
                    <a:pt x="518" y="364"/>
                  </a:lnTo>
                  <a:lnTo>
                    <a:pt x="550" y="397"/>
                  </a:lnTo>
                  <a:lnTo>
                    <a:pt x="584" y="431"/>
                  </a:lnTo>
                  <a:lnTo>
                    <a:pt x="622" y="463"/>
                  </a:lnTo>
                  <a:lnTo>
                    <a:pt x="661" y="494"/>
                  </a:lnTo>
                  <a:lnTo>
                    <a:pt x="703" y="525"/>
                  </a:lnTo>
                  <a:lnTo>
                    <a:pt x="748" y="556"/>
                  </a:lnTo>
                  <a:lnTo>
                    <a:pt x="748" y="556"/>
                  </a:lnTo>
                  <a:lnTo>
                    <a:pt x="371" y="1693"/>
                  </a:lnTo>
                  <a:lnTo>
                    <a:pt x="371" y="1693"/>
                  </a:lnTo>
                  <a:lnTo>
                    <a:pt x="343" y="1675"/>
                  </a:lnTo>
                  <a:lnTo>
                    <a:pt x="315" y="1655"/>
                  </a:lnTo>
                  <a:lnTo>
                    <a:pt x="289" y="1635"/>
                  </a:lnTo>
                  <a:lnTo>
                    <a:pt x="263" y="1614"/>
                  </a:lnTo>
                  <a:lnTo>
                    <a:pt x="238" y="1593"/>
                  </a:lnTo>
                  <a:lnTo>
                    <a:pt x="215" y="1573"/>
                  </a:lnTo>
                  <a:lnTo>
                    <a:pt x="192" y="1551"/>
                  </a:lnTo>
                  <a:lnTo>
                    <a:pt x="172" y="1528"/>
                  </a:lnTo>
                  <a:lnTo>
                    <a:pt x="151" y="1505"/>
                  </a:lnTo>
                  <a:lnTo>
                    <a:pt x="132" y="1482"/>
                  </a:lnTo>
                  <a:lnTo>
                    <a:pt x="114" y="1458"/>
                  </a:lnTo>
                  <a:lnTo>
                    <a:pt x="98" y="1434"/>
                  </a:lnTo>
                  <a:lnTo>
                    <a:pt x="82" y="1409"/>
                  </a:lnTo>
                  <a:lnTo>
                    <a:pt x="68" y="1384"/>
                  </a:lnTo>
                  <a:lnTo>
                    <a:pt x="55" y="1358"/>
                  </a:lnTo>
                  <a:lnTo>
                    <a:pt x="44" y="1332"/>
                  </a:lnTo>
                  <a:lnTo>
                    <a:pt x="33" y="1305"/>
                  </a:lnTo>
                  <a:lnTo>
                    <a:pt x="24" y="1278"/>
                  </a:lnTo>
                  <a:lnTo>
                    <a:pt x="17" y="1249"/>
                  </a:lnTo>
                  <a:lnTo>
                    <a:pt x="10" y="1220"/>
                  </a:lnTo>
                  <a:lnTo>
                    <a:pt x="5" y="1191"/>
                  </a:lnTo>
                  <a:lnTo>
                    <a:pt x="2" y="1161"/>
                  </a:lnTo>
                  <a:lnTo>
                    <a:pt x="0" y="1130"/>
                  </a:lnTo>
                  <a:lnTo>
                    <a:pt x="0" y="1099"/>
                  </a:lnTo>
                  <a:lnTo>
                    <a:pt x="1" y="1067"/>
                  </a:lnTo>
                  <a:lnTo>
                    <a:pt x="4" y="1034"/>
                  </a:lnTo>
                  <a:lnTo>
                    <a:pt x="8" y="1001"/>
                  </a:lnTo>
                  <a:lnTo>
                    <a:pt x="14" y="967"/>
                  </a:lnTo>
                  <a:lnTo>
                    <a:pt x="22" y="932"/>
                  </a:lnTo>
                  <a:lnTo>
                    <a:pt x="30" y="896"/>
                  </a:lnTo>
                  <a:lnTo>
                    <a:pt x="42" y="861"/>
                  </a:lnTo>
                  <a:lnTo>
                    <a:pt x="54" y="82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7" name="Freeform 18"/>
            <p:cNvSpPr>
              <a:spLocks/>
            </p:cNvSpPr>
            <p:nvPr/>
          </p:nvSpPr>
          <p:spPr bwMode="auto">
            <a:xfrm flipH="1">
              <a:off x="5170450" y="3222078"/>
              <a:ext cx="125139" cy="239925"/>
            </a:xfrm>
            <a:custGeom>
              <a:avLst/>
              <a:gdLst>
                <a:gd name="T0" fmla="*/ 338 w 682"/>
                <a:gd name="T1" fmla="*/ 0 h 1672"/>
                <a:gd name="T2" fmla="*/ 338 w 682"/>
                <a:gd name="T3" fmla="*/ 0 h 1672"/>
                <a:gd name="T4" fmla="*/ 629 w 682"/>
                <a:gd name="T5" fmla="*/ 820 h 1672"/>
                <a:gd name="T6" fmla="*/ 629 w 682"/>
                <a:gd name="T7" fmla="*/ 820 h 1672"/>
                <a:gd name="T8" fmla="*/ 641 w 682"/>
                <a:gd name="T9" fmla="*/ 857 h 1672"/>
                <a:gd name="T10" fmla="*/ 651 w 682"/>
                <a:gd name="T11" fmla="*/ 891 h 1672"/>
                <a:gd name="T12" fmla="*/ 660 w 682"/>
                <a:gd name="T13" fmla="*/ 926 h 1672"/>
                <a:gd name="T14" fmla="*/ 668 w 682"/>
                <a:gd name="T15" fmla="*/ 960 h 1672"/>
                <a:gd name="T16" fmla="*/ 674 w 682"/>
                <a:gd name="T17" fmla="*/ 992 h 1672"/>
                <a:gd name="T18" fmla="*/ 678 w 682"/>
                <a:gd name="T19" fmla="*/ 1026 h 1672"/>
                <a:gd name="T20" fmla="*/ 681 w 682"/>
                <a:gd name="T21" fmla="*/ 1057 h 1672"/>
                <a:gd name="T22" fmla="*/ 682 w 682"/>
                <a:gd name="T23" fmla="*/ 1088 h 1672"/>
                <a:gd name="T24" fmla="*/ 682 w 682"/>
                <a:gd name="T25" fmla="*/ 1118 h 1672"/>
                <a:gd name="T26" fmla="*/ 681 w 682"/>
                <a:gd name="T27" fmla="*/ 1149 h 1672"/>
                <a:gd name="T28" fmla="*/ 678 w 682"/>
                <a:gd name="T29" fmla="*/ 1178 h 1672"/>
                <a:gd name="T30" fmla="*/ 674 w 682"/>
                <a:gd name="T31" fmla="*/ 1206 h 1672"/>
                <a:gd name="T32" fmla="*/ 669 w 682"/>
                <a:gd name="T33" fmla="*/ 1234 h 1672"/>
                <a:gd name="T34" fmla="*/ 661 w 682"/>
                <a:gd name="T35" fmla="*/ 1262 h 1672"/>
                <a:gd name="T36" fmla="*/ 654 w 682"/>
                <a:gd name="T37" fmla="*/ 1289 h 1672"/>
                <a:gd name="T38" fmla="*/ 645 w 682"/>
                <a:gd name="T39" fmla="*/ 1315 h 1672"/>
                <a:gd name="T40" fmla="*/ 633 w 682"/>
                <a:gd name="T41" fmla="*/ 1341 h 1672"/>
                <a:gd name="T42" fmla="*/ 622 w 682"/>
                <a:gd name="T43" fmla="*/ 1366 h 1672"/>
                <a:gd name="T44" fmla="*/ 608 w 682"/>
                <a:gd name="T45" fmla="*/ 1391 h 1672"/>
                <a:gd name="T46" fmla="*/ 595 w 682"/>
                <a:gd name="T47" fmla="*/ 1415 h 1672"/>
                <a:gd name="T48" fmla="*/ 579 w 682"/>
                <a:gd name="T49" fmla="*/ 1439 h 1672"/>
                <a:gd name="T50" fmla="*/ 563 w 682"/>
                <a:gd name="T51" fmla="*/ 1462 h 1672"/>
                <a:gd name="T52" fmla="*/ 545 w 682"/>
                <a:gd name="T53" fmla="*/ 1485 h 1672"/>
                <a:gd name="T54" fmla="*/ 526 w 682"/>
                <a:gd name="T55" fmla="*/ 1508 h 1672"/>
                <a:gd name="T56" fmla="*/ 506 w 682"/>
                <a:gd name="T57" fmla="*/ 1530 h 1672"/>
                <a:gd name="T58" fmla="*/ 486 w 682"/>
                <a:gd name="T59" fmla="*/ 1552 h 1672"/>
                <a:gd name="T60" fmla="*/ 464 w 682"/>
                <a:gd name="T61" fmla="*/ 1573 h 1672"/>
                <a:gd name="T62" fmla="*/ 441 w 682"/>
                <a:gd name="T63" fmla="*/ 1594 h 1672"/>
                <a:gd name="T64" fmla="*/ 417 w 682"/>
                <a:gd name="T65" fmla="*/ 1613 h 1672"/>
                <a:gd name="T66" fmla="*/ 392 w 682"/>
                <a:gd name="T67" fmla="*/ 1633 h 1672"/>
                <a:gd name="T68" fmla="*/ 366 w 682"/>
                <a:gd name="T69" fmla="*/ 1653 h 1672"/>
                <a:gd name="T70" fmla="*/ 339 w 682"/>
                <a:gd name="T71" fmla="*/ 1672 h 1672"/>
                <a:gd name="T72" fmla="*/ 339 w 682"/>
                <a:gd name="T73" fmla="*/ 1672 h 1672"/>
                <a:gd name="T74" fmla="*/ 0 w 682"/>
                <a:gd name="T75" fmla="*/ 507 h 1672"/>
                <a:gd name="T76" fmla="*/ 0 w 682"/>
                <a:gd name="T77" fmla="*/ 507 h 1672"/>
                <a:gd name="T78" fmla="*/ 38 w 682"/>
                <a:gd name="T79" fmla="*/ 479 h 1672"/>
                <a:gd name="T80" fmla="*/ 72 w 682"/>
                <a:gd name="T81" fmla="*/ 450 h 1672"/>
                <a:gd name="T82" fmla="*/ 105 w 682"/>
                <a:gd name="T83" fmla="*/ 420 h 1672"/>
                <a:gd name="T84" fmla="*/ 136 w 682"/>
                <a:gd name="T85" fmla="*/ 390 h 1672"/>
                <a:gd name="T86" fmla="*/ 165 w 682"/>
                <a:gd name="T87" fmla="*/ 360 h 1672"/>
                <a:gd name="T88" fmla="*/ 192 w 682"/>
                <a:gd name="T89" fmla="*/ 330 h 1672"/>
                <a:gd name="T90" fmla="*/ 217 w 682"/>
                <a:gd name="T91" fmla="*/ 298 h 1672"/>
                <a:gd name="T92" fmla="*/ 239 w 682"/>
                <a:gd name="T93" fmla="*/ 266 h 1672"/>
                <a:gd name="T94" fmla="*/ 260 w 682"/>
                <a:gd name="T95" fmla="*/ 235 h 1672"/>
                <a:gd name="T96" fmla="*/ 278 w 682"/>
                <a:gd name="T97" fmla="*/ 202 h 1672"/>
                <a:gd name="T98" fmla="*/ 294 w 682"/>
                <a:gd name="T99" fmla="*/ 169 h 1672"/>
                <a:gd name="T100" fmla="*/ 308 w 682"/>
                <a:gd name="T101" fmla="*/ 136 h 1672"/>
                <a:gd name="T102" fmla="*/ 318 w 682"/>
                <a:gd name="T103" fmla="*/ 103 h 1672"/>
                <a:gd name="T104" fmla="*/ 328 w 682"/>
                <a:gd name="T105" fmla="*/ 68 h 1672"/>
                <a:gd name="T106" fmla="*/ 334 w 682"/>
                <a:gd name="T107" fmla="*/ 35 h 1672"/>
                <a:gd name="T108" fmla="*/ 336 w 682"/>
                <a:gd name="T109" fmla="*/ 17 h 1672"/>
                <a:gd name="T110" fmla="*/ 338 w 682"/>
                <a:gd name="T111" fmla="*/ 0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2" h="1672">
                  <a:moveTo>
                    <a:pt x="338" y="0"/>
                  </a:moveTo>
                  <a:lnTo>
                    <a:pt x="338" y="0"/>
                  </a:lnTo>
                  <a:lnTo>
                    <a:pt x="629" y="820"/>
                  </a:lnTo>
                  <a:lnTo>
                    <a:pt x="629" y="820"/>
                  </a:lnTo>
                  <a:lnTo>
                    <a:pt x="641" y="857"/>
                  </a:lnTo>
                  <a:lnTo>
                    <a:pt x="651" y="891"/>
                  </a:lnTo>
                  <a:lnTo>
                    <a:pt x="660" y="926"/>
                  </a:lnTo>
                  <a:lnTo>
                    <a:pt x="668" y="960"/>
                  </a:lnTo>
                  <a:lnTo>
                    <a:pt x="674" y="992"/>
                  </a:lnTo>
                  <a:lnTo>
                    <a:pt x="678" y="1026"/>
                  </a:lnTo>
                  <a:lnTo>
                    <a:pt x="681" y="1057"/>
                  </a:lnTo>
                  <a:lnTo>
                    <a:pt x="682" y="1088"/>
                  </a:lnTo>
                  <a:lnTo>
                    <a:pt x="682" y="1118"/>
                  </a:lnTo>
                  <a:lnTo>
                    <a:pt x="681" y="1149"/>
                  </a:lnTo>
                  <a:lnTo>
                    <a:pt x="678" y="1178"/>
                  </a:lnTo>
                  <a:lnTo>
                    <a:pt x="674" y="1206"/>
                  </a:lnTo>
                  <a:lnTo>
                    <a:pt x="669" y="1234"/>
                  </a:lnTo>
                  <a:lnTo>
                    <a:pt x="661" y="1262"/>
                  </a:lnTo>
                  <a:lnTo>
                    <a:pt x="654" y="1289"/>
                  </a:lnTo>
                  <a:lnTo>
                    <a:pt x="645" y="1315"/>
                  </a:lnTo>
                  <a:lnTo>
                    <a:pt x="633" y="1341"/>
                  </a:lnTo>
                  <a:lnTo>
                    <a:pt x="622" y="1366"/>
                  </a:lnTo>
                  <a:lnTo>
                    <a:pt x="608" y="1391"/>
                  </a:lnTo>
                  <a:lnTo>
                    <a:pt x="595" y="1415"/>
                  </a:lnTo>
                  <a:lnTo>
                    <a:pt x="579" y="1439"/>
                  </a:lnTo>
                  <a:lnTo>
                    <a:pt x="563" y="1462"/>
                  </a:lnTo>
                  <a:lnTo>
                    <a:pt x="545" y="1485"/>
                  </a:lnTo>
                  <a:lnTo>
                    <a:pt x="526" y="1508"/>
                  </a:lnTo>
                  <a:lnTo>
                    <a:pt x="506" y="1530"/>
                  </a:lnTo>
                  <a:lnTo>
                    <a:pt x="486" y="1552"/>
                  </a:lnTo>
                  <a:lnTo>
                    <a:pt x="464" y="1573"/>
                  </a:lnTo>
                  <a:lnTo>
                    <a:pt x="441" y="1594"/>
                  </a:lnTo>
                  <a:lnTo>
                    <a:pt x="417" y="1613"/>
                  </a:lnTo>
                  <a:lnTo>
                    <a:pt x="392" y="1633"/>
                  </a:lnTo>
                  <a:lnTo>
                    <a:pt x="366" y="1653"/>
                  </a:lnTo>
                  <a:lnTo>
                    <a:pt x="339" y="1672"/>
                  </a:lnTo>
                  <a:lnTo>
                    <a:pt x="339" y="1672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38" y="479"/>
                  </a:lnTo>
                  <a:lnTo>
                    <a:pt x="72" y="450"/>
                  </a:lnTo>
                  <a:lnTo>
                    <a:pt x="105" y="420"/>
                  </a:lnTo>
                  <a:lnTo>
                    <a:pt x="136" y="390"/>
                  </a:lnTo>
                  <a:lnTo>
                    <a:pt x="165" y="360"/>
                  </a:lnTo>
                  <a:lnTo>
                    <a:pt x="192" y="330"/>
                  </a:lnTo>
                  <a:lnTo>
                    <a:pt x="217" y="298"/>
                  </a:lnTo>
                  <a:lnTo>
                    <a:pt x="239" y="266"/>
                  </a:lnTo>
                  <a:lnTo>
                    <a:pt x="260" y="235"/>
                  </a:lnTo>
                  <a:lnTo>
                    <a:pt x="278" y="202"/>
                  </a:lnTo>
                  <a:lnTo>
                    <a:pt x="294" y="169"/>
                  </a:lnTo>
                  <a:lnTo>
                    <a:pt x="308" y="136"/>
                  </a:lnTo>
                  <a:lnTo>
                    <a:pt x="318" y="103"/>
                  </a:lnTo>
                  <a:lnTo>
                    <a:pt x="328" y="68"/>
                  </a:lnTo>
                  <a:lnTo>
                    <a:pt x="334" y="35"/>
                  </a:lnTo>
                  <a:lnTo>
                    <a:pt x="336" y="17"/>
                  </a:lnTo>
                  <a:lnTo>
                    <a:pt x="3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8" name="Freeform 19"/>
            <p:cNvSpPr>
              <a:spLocks noEditPoints="1"/>
            </p:cNvSpPr>
            <p:nvPr/>
          </p:nvSpPr>
          <p:spPr bwMode="auto">
            <a:xfrm flipH="1">
              <a:off x="5299460" y="2925397"/>
              <a:ext cx="799856" cy="279912"/>
            </a:xfrm>
            <a:custGeom>
              <a:avLst/>
              <a:gdLst>
                <a:gd name="T0" fmla="*/ 0 w 4340"/>
                <a:gd name="T1" fmla="*/ 1058 h 1954"/>
                <a:gd name="T2" fmla="*/ 5 w 4340"/>
                <a:gd name="T3" fmla="*/ 1092 h 1954"/>
                <a:gd name="T4" fmla="*/ 18 w 4340"/>
                <a:gd name="T5" fmla="*/ 1144 h 1954"/>
                <a:gd name="T6" fmla="*/ 36 w 4340"/>
                <a:gd name="T7" fmla="*/ 1194 h 1954"/>
                <a:gd name="T8" fmla="*/ 61 w 4340"/>
                <a:gd name="T9" fmla="*/ 1244 h 1954"/>
                <a:gd name="T10" fmla="*/ 116 w 4340"/>
                <a:gd name="T11" fmla="*/ 1325 h 1954"/>
                <a:gd name="T12" fmla="*/ 205 w 4340"/>
                <a:gd name="T13" fmla="*/ 1418 h 1954"/>
                <a:gd name="T14" fmla="*/ 314 w 4340"/>
                <a:gd name="T15" fmla="*/ 1505 h 1954"/>
                <a:gd name="T16" fmla="*/ 398 w 4340"/>
                <a:gd name="T17" fmla="*/ 1560 h 1954"/>
                <a:gd name="T18" fmla="*/ 733 w 4340"/>
                <a:gd name="T19" fmla="*/ 403 h 1954"/>
                <a:gd name="T20" fmla="*/ 622 w 4340"/>
                <a:gd name="T21" fmla="*/ 331 h 1954"/>
                <a:gd name="T22" fmla="*/ 529 w 4340"/>
                <a:gd name="T23" fmla="*/ 255 h 1954"/>
                <a:gd name="T24" fmla="*/ 455 w 4340"/>
                <a:gd name="T25" fmla="*/ 174 h 1954"/>
                <a:gd name="T26" fmla="*/ 403 w 4340"/>
                <a:gd name="T27" fmla="*/ 89 h 1954"/>
                <a:gd name="T28" fmla="*/ 387 w 4340"/>
                <a:gd name="T29" fmla="*/ 45 h 1954"/>
                <a:gd name="T30" fmla="*/ 374 w 4340"/>
                <a:gd name="T31" fmla="*/ 0 h 1954"/>
                <a:gd name="T32" fmla="*/ 2171 w 4340"/>
                <a:gd name="T33" fmla="*/ 1954 h 1954"/>
                <a:gd name="T34" fmla="*/ 1841 w 4340"/>
                <a:gd name="T35" fmla="*/ 1943 h 1954"/>
                <a:gd name="T36" fmla="*/ 1526 w 4340"/>
                <a:gd name="T37" fmla="*/ 1912 h 1954"/>
                <a:gd name="T38" fmla="*/ 1232 w 4340"/>
                <a:gd name="T39" fmla="*/ 1862 h 1954"/>
                <a:gd name="T40" fmla="*/ 959 w 4340"/>
                <a:gd name="T41" fmla="*/ 1795 h 1954"/>
                <a:gd name="T42" fmla="*/ 833 w 4340"/>
                <a:gd name="T43" fmla="*/ 1756 h 1954"/>
                <a:gd name="T44" fmla="*/ 714 w 4340"/>
                <a:gd name="T45" fmla="*/ 1713 h 1954"/>
                <a:gd name="T46" fmla="*/ 638 w 4340"/>
                <a:gd name="T47" fmla="*/ 1682 h 1954"/>
                <a:gd name="T48" fmla="*/ 997 w 4340"/>
                <a:gd name="T49" fmla="*/ 524 h 1954"/>
                <a:gd name="T50" fmla="*/ 1199 w 4340"/>
                <a:gd name="T51" fmla="*/ 589 h 1954"/>
                <a:gd name="T52" fmla="*/ 1419 w 4340"/>
                <a:gd name="T53" fmla="*/ 641 h 1954"/>
                <a:gd name="T54" fmla="*/ 1657 w 4340"/>
                <a:gd name="T55" fmla="*/ 679 h 1954"/>
                <a:gd name="T56" fmla="*/ 1911 w 4340"/>
                <a:gd name="T57" fmla="*/ 703 h 1954"/>
                <a:gd name="T58" fmla="*/ 2176 w 4340"/>
                <a:gd name="T59" fmla="*/ 712 h 1954"/>
                <a:gd name="T60" fmla="*/ 2323 w 4340"/>
                <a:gd name="T61" fmla="*/ 710 h 1954"/>
                <a:gd name="T62" fmla="*/ 2540 w 4340"/>
                <a:gd name="T63" fmla="*/ 696 h 1954"/>
                <a:gd name="T64" fmla="*/ 2747 w 4340"/>
                <a:gd name="T65" fmla="*/ 672 h 1954"/>
                <a:gd name="T66" fmla="*/ 2867 w 4340"/>
                <a:gd name="T67" fmla="*/ 1905 h 1954"/>
                <a:gd name="T68" fmla="*/ 2615 w 4340"/>
                <a:gd name="T69" fmla="*/ 1934 h 1954"/>
                <a:gd name="T70" fmla="*/ 2352 w 4340"/>
                <a:gd name="T71" fmla="*/ 1950 h 1954"/>
                <a:gd name="T72" fmla="*/ 2171 w 4340"/>
                <a:gd name="T73" fmla="*/ 1954 h 1954"/>
                <a:gd name="T74" fmla="*/ 3710 w 4340"/>
                <a:gd name="T75" fmla="*/ 345 h 1954"/>
                <a:gd name="T76" fmla="*/ 3760 w 4340"/>
                <a:gd name="T77" fmla="*/ 308 h 1954"/>
                <a:gd name="T78" fmla="*/ 3826 w 4340"/>
                <a:gd name="T79" fmla="*/ 252 h 1954"/>
                <a:gd name="T80" fmla="*/ 3881 w 4340"/>
                <a:gd name="T81" fmla="*/ 193 h 1954"/>
                <a:gd name="T82" fmla="*/ 3924 w 4340"/>
                <a:gd name="T83" fmla="*/ 131 h 1954"/>
                <a:gd name="T84" fmla="*/ 3957 w 4340"/>
                <a:gd name="T85" fmla="*/ 68 h 1954"/>
                <a:gd name="T86" fmla="*/ 3971 w 4340"/>
                <a:gd name="T87" fmla="*/ 24 h 1954"/>
                <a:gd name="T88" fmla="*/ 4336 w 4340"/>
                <a:gd name="T89" fmla="*/ 1091 h 1954"/>
                <a:gd name="T90" fmla="*/ 4311 w 4340"/>
                <a:gd name="T91" fmla="*/ 1177 h 1954"/>
                <a:gd name="T92" fmla="*/ 4269 w 4340"/>
                <a:gd name="T93" fmla="*/ 1261 h 1954"/>
                <a:gd name="T94" fmla="*/ 4210 w 4340"/>
                <a:gd name="T95" fmla="*/ 1341 h 1954"/>
                <a:gd name="T96" fmla="*/ 4134 w 4340"/>
                <a:gd name="T97" fmla="*/ 1418 h 1954"/>
                <a:gd name="T98" fmla="*/ 4044 w 4340"/>
                <a:gd name="T99" fmla="*/ 1492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40" h="1954">
                  <a:moveTo>
                    <a:pt x="374" y="0"/>
                  </a:moveTo>
                  <a:lnTo>
                    <a:pt x="374" y="0"/>
                  </a:lnTo>
                  <a:lnTo>
                    <a:pt x="0" y="1058"/>
                  </a:lnTo>
                  <a:lnTo>
                    <a:pt x="0" y="1058"/>
                  </a:lnTo>
                  <a:lnTo>
                    <a:pt x="2" y="1074"/>
                  </a:lnTo>
                  <a:lnTo>
                    <a:pt x="5" y="1092"/>
                  </a:lnTo>
                  <a:lnTo>
                    <a:pt x="8" y="1110"/>
                  </a:lnTo>
                  <a:lnTo>
                    <a:pt x="12" y="1126"/>
                  </a:lnTo>
                  <a:lnTo>
                    <a:pt x="18" y="1144"/>
                  </a:lnTo>
                  <a:lnTo>
                    <a:pt x="23" y="1161"/>
                  </a:lnTo>
                  <a:lnTo>
                    <a:pt x="29" y="1177"/>
                  </a:lnTo>
                  <a:lnTo>
                    <a:pt x="36" y="1194"/>
                  </a:lnTo>
                  <a:lnTo>
                    <a:pt x="44" y="1211"/>
                  </a:lnTo>
                  <a:lnTo>
                    <a:pt x="52" y="1227"/>
                  </a:lnTo>
                  <a:lnTo>
                    <a:pt x="61" y="1244"/>
                  </a:lnTo>
                  <a:lnTo>
                    <a:pt x="72" y="1261"/>
                  </a:lnTo>
                  <a:lnTo>
                    <a:pt x="92" y="1293"/>
                  </a:lnTo>
                  <a:lnTo>
                    <a:pt x="116" y="1325"/>
                  </a:lnTo>
                  <a:lnTo>
                    <a:pt x="143" y="1357"/>
                  </a:lnTo>
                  <a:lnTo>
                    <a:pt x="172" y="1387"/>
                  </a:lnTo>
                  <a:lnTo>
                    <a:pt x="205" y="1418"/>
                  </a:lnTo>
                  <a:lnTo>
                    <a:pt x="239" y="1447"/>
                  </a:lnTo>
                  <a:lnTo>
                    <a:pt x="275" y="1476"/>
                  </a:lnTo>
                  <a:lnTo>
                    <a:pt x="314" y="1505"/>
                  </a:lnTo>
                  <a:lnTo>
                    <a:pt x="354" y="1533"/>
                  </a:lnTo>
                  <a:lnTo>
                    <a:pt x="398" y="1560"/>
                  </a:lnTo>
                  <a:lnTo>
                    <a:pt x="398" y="1560"/>
                  </a:lnTo>
                  <a:lnTo>
                    <a:pt x="774" y="425"/>
                  </a:lnTo>
                  <a:lnTo>
                    <a:pt x="774" y="425"/>
                  </a:lnTo>
                  <a:lnTo>
                    <a:pt x="733" y="403"/>
                  </a:lnTo>
                  <a:lnTo>
                    <a:pt x="694" y="380"/>
                  </a:lnTo>
                  <a:lnTo>
                    <a:pt x="657" y="356"/>
                  </a:lnTo>
                  <a:lnTo>
                    <a:pt x="622" y="331"/>
                  </a:lnTo>
                  <a:lnTo>
                    <a:pt x="588" y="307"/>
                  </a:lnTo>
                  <a:lnTo>
                    <a:pt x="557" y="281"/>
                  </a:lnTo>
                  <a:lnTo>
                    <a:pt x="529" y="255"/>
                  </a:lnTo>
                  <a:lnTo>
                    <a:pt x="502" y="228"/>
                  </a:lnTo>
                  <a:lnTo>
                    <a:pt x="477" y="201"/>
                  </a:lnTo>
                  <a:lnTo>
                    <a:pt x="455" y="174"/>
                  </a:lnTo>
                  <a:lnTo>
                    <a:pt x="435" y="146"/>
                  </a:lnTo>
                  <a:lnTo>
                    <a:pt x="419" y="118"/>
                  </a:lnTo>
                  <a:lnTo>
                    <a:pt x="403" y="89"/>
                  </a:lnTo>
                  <a:lnTo>
                    <a:pt x="397" y="74"/>
                  </a:lnTo>
                  <a:lnTo>
                    <a:pt x="392" y="59"/>
                  </a:lnTo>
                  <a:lnTo>
                    <a:pt x="387" y="45"/>
                  </a:lnTo>
                  <a:lnTo>
                    <a:pt x="381" y="29"/>
                  </a:lnTo>
                  <a:lnTo>
                    <a:pt x="377" y="15"/>
                  </a:lnTo>
                  <a:lnTo>
                    <a:pt x="374" y="0"/>
                  </a:lnTo>
                  <a:lnTo>
                    <a:pt x="374" y="0"/>
                  </a:lnTo>
                  <a:close/>
                  <a:moveTo>
                    <a:pt x="2171" y="1954"/>
                  </a:moveTo>
                  <a:lnTo>
                    <a:pt x="2171" y="1954"/>
                  </a:lnTo>
                  <a:lnTo>
                    <a:pt x="2058" y="1953"/>
                  </a:lnTo>
                  <a:lnTo>
                    <a:pt x="1949" y="1948"/>
                  </a:lnTo>
                  <a:lnTo>
                    <a:pt x="1841" y="1943"/>
                  </a:lnTo>
                  <a:lnTo>
                    <a:pt x="1734" y="1935"/>
                  </a:lnTo>
                  <a:lnTo>
                    <a:pt x="1629" y="1924"/>
                  </a:lnTo>
                  <a:lnTo>
                    <a:pt x="1526" y="1912"/>
                  </a:lnTo>
                  <a:lnTo>
                    <a:pt x="1426" y="1897"/>
                  </a:lnTo>
                  <a:lnTo>
                    <a:pt x="1327" y="1881"/>
                  </a:lnTo>
                  <a:lnTo>
                    <a:pt x="1232" y="1862"/>
                  </a:lnTo>
                  <a:lnTo>
                    <a:pt x="1138" y="1842"/>
                  </a:lnTo>
                  <a:lnTo>
                    <a:pt x="1048" y="1819"/>
                  </a:lnTo>
                  <a:lnTo>
                    <a:pt x="959" y="1795"/>
                  </a:lnTo>
                  <a:lnTo>
                    <a:pt x="917" y="1783"/>
                  </a:lnTo>
                  <a:lnTo>
                    <a:pt x="874" y="1769"/>
                  </a:lnTo>
                  <a:lnTo>
                    <a:pt x="833" y="1756"/>
                  </a:lnTo>
                  <a:lnTo>
                    <a:pt x="792" y="1742"/>
                  </a:lnTo>
                  <a:lnTo>
                    <a:pt x="753" y="1727"/>
                  </a:lnTo>
                  <a:lnTo>
                    <a:pt x="714" y="1713"/>
                  </a:lnTo>
                  <a:lnTo>
                    <a:pt x="676" y="1697"/>
                  </a:lnTo>
                  <a:lnTo>
                    <a:pt x="638" y="1682"/>
                  </a:lnTo>
                  <a:lnTo>
                    <a:pt x="638" y="1682"/>
                  </a:lnTo>
                  <a:lnTo>
                    <a:pt x="936" y="500"/>
                  </a:lnTo>
                  <a:lnTo>
                    <a:pt x="936" y="500"/>
                  </a:lnTo>
                  <a:lnTo>
                    <a:pt x="997" y="524"/>
                  </a:lnTo>
                  <a:lnTo>
                    <a:pt x="1061" y="547"/>
                  </a:lnTo>
                  <a:lnTo>
                    <a:pt x="1129" y="568"/>
                  </a:lnTo>
                  <a:lnTo>
                    <a:pt x="1199" y="589"/>
                  </a:lnTo>
                  <a:lnTo>
                    <a:pt x="1269" y="607"/>
                  </a:lnTo>
                  <a:lnTo>
                    <a:pt x="1343" y="625"/>
                  </a:lnTo>
                  <a:lnTo>
                    <a:pt x="1419" y="641"/>
                  </a:lnTo>
                  <a:lnTo>
                    <a:pt x="1497" y="655"/>
                  </a:lnTo>
                  <a:lnTo>
                    <a:pt x="1576" y="668"/>
                  </a:lnTo>
                  <a:lnTo>
                    <a:pt x="1657" y="679"/>
                  </a:lnTo>
                  <a:lnTo>
                    <a:pt x="1740" y="689"/>
                  </a:lnTo>
                  <a:lnTo>
                    <a:pt x="1824" y="697"/>
                  </a:lnTo>
                  <a:lnTo>
                    <a:pt x="1911" y="703"/>
                  </a:lnTo>
                  <a:lnTo>
                    <a:pt x="1998" y="708"/>
                  </a:lnTo>
                  <a:lnTo>
                    <a:pt x="2086" y="711"/>
                  </a:lnTo>
                  <a:lnTo>
                    <a:pt x="2176" y="712"/>
                  </a:lnTo>
                  <a:lnTo>
                    <a:pt x="2176" y="712"/>
                  </a:lnTo>
                  <a:lnTo>
                    <a:pt x="2250" y="712"/>
                  </a:lnTo>
                  <a:lnTo>
                    <a:pt x="2323" y="710"/>
                  </a:lnTo>
                  <a:lnTo>
                    <a:pt x="2396" y="706"/>
                  </a:lnTo>
                  <a:lnTo>
                    <a:pt x="2469" y="701"/>
                  </a:lnTo>
                  <a:lnTo>
                    <a:pt x="2540" y="696"/>
                  </a:lnTo>
                  <a:lnTo>
                    <a:pt x="2609" y="690"/>
                  </a:lnTo>
                  <a:lnTo>
                    <a:pt x="2678" y="681"/>
                  </a:lnTo>
                  <a:lnTo>
                    <a:pt x="2747" y="672"/>
                  </a:lnTo>
                  <a:lnTo>
                    <a:pt x="2747" y="672"/>
                  </a:lnTo>
                  <a:lnTo>
                    <a:pt x="2867" y="1905"/>
                  </a:lnTo>
                  <a:lnTo>
                    <a:pt x="2867" y="1905"/>
                  </a:lnTo>
                  <a:lnTo>
                    <a:pt x="2784" y="1916"/>
                  </a:lnTo>
                  <a:lnTo>
                    <a:pt x="2700" y="1925"/>
                  </a:lnTo>
                  <a:lnTo>
                    <a:pt x="2615" y="1934"/>
                  </a:lnTo>
                  <a:lnTo>
                    <a:pt x="2528" y="1941"/>
                  </a:lnTo>
                  <a:lnTo>
                    <a:pt x="2440" y="1946"/>
                  </a:lnTo>
                  <a:lnTo>
                    <a:pt x="2352" y="1950"/>
                  </a:lnTo>
                  <a:lnTo>
                    <a:pt x="2261" y="1953"/>
                  </a:lnTo>
                  <a:lnTo>
                    <a:pt x="2171" y="1954"/>
                  </a:lnTo>
                  <a:lnTo>
                    <a:pt x="2171" y="1954"/>
                  </a:lnTo>
                  <a:close/>
                  <a:moveTo>
                    <a:pt x="4044" y="1492"/>
                  </a:moveTo>
                  <a:lnTo>
                    <a:pt x="4044" y="1492"/>
                  </a:lnTo>
                  <a:lnTo>
                    <a:pt x="3710" y="345"/>
                  </a:lnTo>
                  <a:lnTo>
                    <a:pt x="3710" y="345"/>
                  </a:lnTo>
                  <a:lnTo>
                    <a:pt x="3736" y="327"/>
                  </a:lnTo>
                  <a:lnTo>
                    <a:pt x="3760" y="308"/>
                  </a:lnTo>
                  <a:lnTo>
                    <a:pt x="3783" y="290"/>
                  </a:lnTo>
                  <a:lnTo>
                    <a:pt x="3805" y="271"/>
                  </a:lnTo>
                  <a:lnTo>
                    <a:pt x="3826" y="252"/>
                  </a:lnTo>
                  <a:lnTo>
                    <a:pt x="3845" y="232"/>
                  </a:lnTo>
                  <a:lnTo>
                    <a:pt x="3864" y="212"/>
                  </a:lnTo>
                  <a:lnTo>
                    <a:pt x="3881" y="193"/>
                  </a:lnTo>
                  <a:lnTo>
                    <a:pt x="3897" y="173"/>
                  </a:lnTo>
                  <a:lnTo>
                    <a:pt x="3912" y="152"/>
                  </a:lnTo>
                  <a:lnTo>
                    <a:pt x="3924" y="131"/>
                  </a:lnTo>
                  <a:lnTo>
                    <a:pt x="3937" y="110"/>
                  </a:lnTo>
                  <a:lnTo>
                    <a:pt x="3947" y="89"/>
                  </a:lnTo>
                  <a:lnTo>
                    <a:pt x="3957" y="68"/>
                  </a:lnTo>
                  <a:lnTo>
                    <a:pt x="3965" y="46"/>
                  </a:lnTo>
                  <a:lnTo>
                    <a:pt x="3971" y="24"/>
                  </a:lnTo>
                  <a:lnTo>
                    <a:pt x="3971" y="24"/>
                  </a:lnTo>
                  <a:lnTo>
                    <a:pt x="4340" y="1062"/>
                  </a:lnTo>
                  <a:lnTo>
                    <a:pt x="4340" y="1062"/>
                  </a:lnTo>
                  <a:lnTo>
                    <a:pt x="4336" y="1091"/>
                  </a:lnTo>
                  <a:lnTo>
                    <a:pt x="4330" y="1120"/>
                  </a:lnTo>
                  <a:lnTo>
                    <a:pt x="4322" y="1149"/>
                  </a:lnTo>
                  <a:lnTo>
                    <a:pt x="4311" y="1177"/>
                  </a:lnTo>
                  <a:lnTo>
                    <a:pt x="4299" y="1205"/>
                  </a:lnTo>
                  <a:lnTo>
                    <a:pt x="4285" y="1234"/>
                  </a:lnTo>
                  <a:lnTo>
                    <a:pt x="4269" y="1261"/>
                  </a:lnTo>
                  <a:lnTo>
                    <a:pt x="4251" y="1288"/>
                  </a:lnTo>
                  <a:lnTo>
                    <a:pt x="4231" y="1315"/>
                  </a:lnTo>
                  <a:lnTo>
                    <a:pt x="4210" y="1341"/>
                  </a:lnTo>
                  <a:lnTo>
                    <a:pt x="4186" y="1367"/>
                  </a:lnTo>
                  <a:lnTo>
                    <a:pt x="4162" y="1393"/>
                  </a:lnTo>
                  <a:lnTo>
                    <a:pt x="4134" y="1418"/>
                  </a:lnTo>
                  <a:lnTo>
                    <a:pt x="4106" y="1443"/>
                  </a:lnTo>
                  <a:lnTo>
                    <a:pt x="4076" y="1468"/>
                  </a:lnTo>
                  <a:lnTo>
                    <a:pt x="4044" y="1492"/>
                  </a:lnTo>
                  <a:lnTo>
                    <a:pt x="4044" y="1492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9" name="Freeform 20"/>
            <p:cNvSpPr>
              <a:spLocks noEditPoints="1"/>
            </p:cNvSpPr>
            <p:nvPr/>
          </p:nvSpPr>
          <p:spPr bwMode="auto">
            <a:xfrm flipH="1">
              <a:off x="5433629" y="2637745"/>
              <a:ext cx="531517" cy="221866"/>
            </a:xfrm>
            <a:custGeom>
              <a:avLst/>
              <a:gdLst>
                <a:gd name="T0" fmla="*/ 1448 w 2888"/>
                <a:gd name="T1" fmla="*/ 297 h 1553"/>
                <a:gd name="T2" fmla="*/ 1358 w 2888"/>
                <a:gd name="T3" fmla="*/ 295 h 1553"/>
                <a:gd name="T4" fmla="*/ 1271 w 2888"/>
                <a:gd name="T5" fmla="*/ 291 h 1553"/>
                <a:gd name="T6" fmla="*/ 1185 w 2888"/>
                <a:gd name="T7" fmla="*/ 285 h 1553"/>
                <a:gd name="T8" fmla="*/ 1102 w 2888"/>
                <a:gd name="T9" fmla="*/ 275 h 1553"/>
                <a:gd name="T10" fmla="*/ 1021 w 2888"/>
                <a:gd name="T11" fmla="*/ 264 h 1553"/>
                <a:gd name="T12" fmla="*/ 943 w 2888"/>
                <a:gd name="T13" fmla="*/ 249 h 1553"/>
                <a:gd name="T14" fmla="*/ 867 w 2888"/>
                <a:gd name="T15" fmla="*/ 233 h 1553"/>
                <a:gd name="T16" fmla="*/ 795 w 2888"/>
                <a:gd name="T17" fmla="*/ 214 h 1553"/>
                <a:gd name="T18" fmla="*/ 726 w 2888"/>
                <a:gd name="T19" fmla="*/ 194 h 1553"/>
                <a:gd name="T20" fmla="*/ 661 w 2888"/>
                <a:gd name="T21" fmla="*/ 171 h 1553"/>
                <a:gd name="T22" fmla="*/ 599 w 2888"/>
                <a:gd name="T23" fmla="*/ 147 h 1553"/>
                <a:gd name="T24" fmla="*/ 542 w 2888"/>
                <a:gd name="T25" fmla="*/ 120 h 1553"/>
                <a:gd name="T26" fmla="*/ 489 w 2888"/>
                <a:gd name="T27" fmla="*/ 93 h 1553"/>
                <a:gd name="T28" fmla="*/ 440 w 2888"/>
                <a:gd name="T29" fmla="*/ 64 h 1553"/>
                <a:gd name="T30" fmla="*/ 397 w 2888"/>
                <a:gd name="T31" fmla="*/ 32 h 1553"/>
                <a:gd name="T32" fmla="*/ 358 w 2888"/>
                <a:gd name="T33" fmla="*/ 0 h 1553"/>
                <a:gd name="T34" fmla="*/ 0 w 2888"/>
                <a:gd name="T35" fmla="*/ 1008 h 1553"/>
                <a:gd name="T36" fmla="*/ 5 w 2888"/>
                <a:gd name="T37" fmla="*/ 1022 h 1553"/>
                <a:gd name="T38" fmla="*/ 16 w 2888"/>
                <a:gd name="T39" fmla="*/ 1050 h 1553"/>
                <a:gd name="T40" fmla="*/ 32 w 2888"/>
                <a:gd name="T41" fmla="*/ 1079 h 1553"/>
                <a:gd name="T42" fmla="*/ 50 w 2888"/>
                <a:gd name="T43" fmla="*/ 1107 h 1553"/>
                <a:gd name="T44" fmla="*/ 81 w 2888"/>
                <a:gd name="T45" fmla="*/ 1146 h 1553"/>
                <a:gd name="T46" fmla="*/ 133 w 2888"/>
                <a:gd name="T47" fmla="*/ 1198 h 1553"/>
                <a:gd name="T48" fmla="*/ 194 w 2888"/>
                <a:gd name="T49" fmla="*/ 1247 h 1553"/>
                <a:gd name="T50" fmla="*/ 266 w 2888"/>
                <a:gd name="T51" fmla="*/ 1293 h 1553"/>
                <a:gd name="T52" fmla="*/ 346 w 2888"/>
                <a:gd name="T53" fmla="*/ 1337 h 1553"/>
                <a:gd name="T54" fmla="*/ 434 w 2888"/>
                <a:gd name="T55" fmla="*/ 1377 h 1553"/>
                <a:gd name="T56" fmla="*/ 531 w 2888"/>
                <a:gd name="T57" fmla="*/ 1413 h 1553"/>
                <a:gd name="T58" fmla="*/ 635 w 2888"/>
                <a:gd name="T59" fmla="*/ 1446 h 1553"/>
                <a:gd name="T60" fmla="*/ 745 w 2888"/>
                <a:gd name="T61" fmla="*/ 1476 h 1553"/>
                <a:gd name="T62" fmla="*/ 861 w 2888"/>
                <a:gd name="T63" fmla="*/ 1500 h 1553"/>
                <a:gd name="T64" fmla="*/ 984 w 2888"/>
                <a:gd name="T65" fmla="*/ 1520 h 1553"/>
                <a:gd name="T66" fmla="*/ 1111 w 2888"/>
                <a:gd name="T67" fmla="*/ 1536 h 1553"/>
                <a:gd name="T68" fmla="*/ 1243 w 2888"/>
                <a:gd name="T69" fmla="*/ 1546 h 1553"/>
                <a:gd name="T70" fmla="*/ 1378 w 2888"/>
                <a:gd name="T71" fmla="*/ 1552 h 1553"/>
                <a:gd name="T72" fmla="*/ 1448 w 2888"/>
                <a:gd name="T73" fmla="*/ 1553 h 1553"/>
                <a:gd name="T74" fmla="*/ 1566 w 2888"/>
                <a:gd name="T75" fmla="*/ 1551 h 1553"/>
                <a:gd name="T76" fmla="*/ 1682 w 2888"/>
                <a:gd name="T77" fmla="*/ 1544 h 1553"/>
                <a:gd name="T78" fmla="*/ 1795 w 2888"/>
                <a:gd name="T79" fmla="*/ 1534 h 1553"/>
                <a:gd name="T80" fmla="*/ 1905 w 2888"/>
                <a:gd name="T81" fmla="*/ 1521 h 1553"/>
                <a:gd name="T82" fmla="*/ 1783 w 2888"/>
                <a:gd name="T83" fmla="*/ 276 h 1553"/>
                <a:gd name="T84" fmla="*/ 1743 w 2888"/>
                <a:gd name="T85" fmla="*/ 280 h 1553"/>
                <a:gd name="T86" fmla="*/ 1661 w 2888"/>
                <a:gd name="T87" fmla="*/ 289 h 1553"/>
                <a:gd name="T88" fmla="*/ 1577 w 2888"/>
                <a:gd name="T89" fmla="*/ 294 h 1553"/>
                <a:gd name="T90" fmla="*/ 1491 w 2888"/>
                <a:gd name="T91" fmla="*/ 296 h 1553"/>
                <a:gd name="T92" fmla="*/ 1448 w 2888"/>
                <a:gd name="T93" fmla="*/ 297 h 1553"/>
                <a:gd name="T94" fmla="*/ 2668 w 2888"/>
                <a:gd name="T95" fmla="*/ 1269 h 1553"/>
                <a:gd name="T96" fmla="*/ 2337 w 2888"/>
                <a:gd name="T97" fmla="*/ 128 h 1553"/>
                <a:gd name="T98" fmla="*/ 2391 w 2888"/>
                <a:gd name="T99" fmla="*/ 101 h 1553"/>
                <a:gd name="T100" fmla="*/ 2440 w 2888"/>
                <a:gd name="T101" fmla="*/ 73 h 1553"/>
                <a:gd name="T102" fmla="*/ 2485 w 2888"/>
                <a:gd name="T103" fmla="*/ 43 h 1553"/>
                <a:gd name="T104" fmla="*/ 2525 w 2888"/>
                <a:gd name="T105" fmla="*/ 12 h 1553"/>
                <a:gd name="T106" fmla="*/ 2888 w 2888"/>
                <a:gd name="T107" fmla="*/ 1030 h 1553"/>
                <a:gd name="T108" fmla="*/ 2880 w 2888"/>
                <a:gd name="T109" fmla="*/ 1046 h 1553"/>
                <a:gd name="T110" fmla="*/ 2864 w 2888"/>
                <a:gd name="T111" fmla="*/ 1079 h 1553"/>
                <a:gd name="T112" fmla="*/ 2844 w 2888"/>
                <a:gd name="T113" fmla="*/ 1110 h 1553"/>
                <a:gd name="T114" fmla="*/ 2819 w 2888"/>
                <a:gd name="T115" fmla="*/ 1141 h 1553"/>
                <a:gd name="T116" fmla="*/ 2792 w 2888"/>
                <a:gd name="T117" fmla="*/ 1170 h 1553"/>
                <a:gd name="T118" fmla="*/ 2761 w 2888"/>
                <a:gd name="T119" fmla="*/ 1199 h 1553"/>
                <a:gd name="T120" fmla="*/ 2727 w 2888"/>
                <a:gd name="T121" fmla="*/ 1229 h 1553"/>
                <a:gd name="T122" fmla="*/ 2688 w 2888"/>
                <a:gd name="T123" fmla="*/ 1256 h 1553"/>
                <a:gd name="T124" fmla="*/ 2668 w 2888"/>
                <a:gd name="T125" fmla="*/ 1269 h 1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88" h="1553">
                  <a:moveTo>
                    <a:pt x="1448" y="297"/>
                  </a:moveTo>
                  <a:lnTo>
                    <a:pt x="1448" y="297"/>
                  </a:lnTo>
                  <a:lnTo>
                    <a:pt x="1403" y="296"/>
                  </a:lnTo>
                  <a:lnTo>
                    <a:pt x="1358" y="295"/>
                  </a:lnTo>
                  <a:lnTo>
                    <a:pt x="1314" y="294"/>
                  </a:lnTo>
                  <a:lnTo>
                    <a:pt x="1271" y="291"/>
                  </a:lnTo>
                  <a:lnTo>
                    <a:pt x="1227" y="288"/>
                  </a:lnTo>
                  <a:lnTo>
                    <a:pt x="1185" y="285"/>
                  </a:lnTo>
                  <a:lnTo>
                    <a:pt x="1143" y="280"/>
                  </a:lnTo>
                  <a:lnTo>
                    <a:pt x="1102" y="275"/>
                  </a:lnTo>
                  <a:lnTo>
                    <a:pt x="1061" y="269"/>
                  </a:lnTo>
                  <a:lnTo>
                    <a:pt x="1021" y="264"/>
                  </a:lnTo>
                  <a:lnTo>
                    <a:pt x="981" y="257"/>
                  </a:lnTo>
                  <a:lnTo>
                    <a:pt x="943" y="249"/>
                  </a:lnTo>
                  <a:lnTo>
                    <a:pt x="904" y="241"/>
                  </a:lnTo>
                  <a:lnTo>
                    <a:pt x="867" y="233"/>
                  </a:lnTo>
                  <a:lnTo>
                    <a:pt x="830" y="224"/>
                  </a:lnTo>
                  <a:lnTo>
                    <a:pt x="795" y="214"/>
                  </a:lnTo>
                  <a:lnTo>
                    <a:pt x="760" y="204"/>
                  </a:lnTo>
                  <a:lnTo>
                    <a:pt x="726" y="194"/>
                  </a:lnTo>
                  <a:lnTo>
                    <a:pt x="693" y="183"/>
                  </a:lnTo>
                  <a:lnTo>
                    <a:pt x="661" y="171"/>
                  </a:lnTo>
                  <a:lnTo>
                    <a:pt x="630" y="160"/>
                  </a:lnTo>
                  <a:lnTo>
                    <a:pt x="599" y="147"/>
                  </a:lnTo>
                  <a:lnTo>
                    <a:pt x="570" y="134"/>
                  </a:lnTo>
                  <a:lnTo>
                    <a:pt x="542" y="120"/>
                  </a:lnTo>
                  <a:lnTo>
                    <a:pt x="515" y="106"/>
                  </a:lnTo>
                  <a:lnTo>
                    <a:pt x="489" y="93"/>
                  </a:lnTo>
                  <a:lnTo>
                    <a:pt x="464" y="78"/>
                  </a:lnTo>
                  <a:lnTo>
                    <a:pt x="440" y="64"/>
                  </a:lnTo>
                  <a:lnTo>
                    <a:pt x="418" y="48"/>
                  </a:lnTo>
                  <a:lnTo>
                    <a:pt x="397" y="32"/>
                  </a:lnTo>
                  <a:lnTo>
                    <a:pt x="377" y="17"/>
                  </a:lnTo>
                  <a:lnTo>
                    <a:pt x="358" y="0"/>
                  </a:lnTo>
                  <a:lnTo>
                    <a:pt x="358" y="0"/>
                  </a:lnTo>
                  <a:lnTo>
                    <a:pt x="0" y="1008"/>
                  </a:lnTo>
                  <a:lnTo>
                    <a:pt x="0" y="1008"/>
                  </a:lnTo>
                  <a:lnTo>
                    <a:pt x="5" y="1022"/>
                  </a:lnTo>
                  <a:lnTo>
                    <a:pt x="10" y="1037"/>
                  </a:lnTo>
                  <a:lnTo>
                    <a:pt x="16" y="1050"/>
                  </a:lnTo>
                  <a:lnTo>
                    <a:pt x="24" y="1065"/>
                  </a:lnTo>
                  <a:lnTo>
                    <a:pt x="32" y="1079"/>
                  </a:lnTo>
                  <a:lnTo>
                    <a:pt x="40" y="1092"/>
                  </a:lnTo>
                  <a:lnTo>
                    <a:pt x="50" y="1107"/>
                  </a:lnTo>
                  <a:lnTo>
                    <a:pt x="59" y="1120"/>
                  </a:lnTo>
                  <a:lnTo>
                    <a:pt x="81" y="1146"/>
                  </a:lnTo>
                  <a:lnTo>
                    <a:pt x="106" y="1172"/>
                  </a:lnTo>
                  <a:lnTo>
                    <a:pt x="133" y="1198"/>
                  </a:lnTo>
                  <a:lnTo>
                    <a:pt x="162" y="1222"/>
                  </a:lnTo>
                  <a:lnTo>
                    <a:pt x="194" y="1247"/>
                  </a:lnTo>
                  <a:lnTo>
                    <a:pt x="228" y="1270"/>
                  </a:lnTo>
                  <a:lnTo>
                    <a:pt x="266" y="1293"/>
                  </a:lnTo>
                  <a:lnTo>
                    <a:pt x="304" y="1315"/>
                  </a:lnTo>
                  <a:lnTo>
                    <a:pt x="346" y="1337"/>
                  </a:lnTo>
                  <a:lnTo>
                    <a:pt x="389" y="1357"/>
                  </a:lnTo>
                  <a:lnTo>
                    <a:pt x="434" y="1377"/>
                  </a:lnTo>
                  <a:lnTo>
                    <a:pt x="482" y="1395"/>
                  </a:lnTo>
                  <a:lnTo>
                    <a:pt x="531" y="1413"/>
                  </a:lnTo>
                  <a:lnTo>
                    <a:pt x="582" y="1430"/>
                  </a:lnTo>
                  <a:lnTo>
                    <a:pt x="635" y="1446"/>
                  </a:lnTo>
                  <a:lnTo>
                    <a:pt x="689" y="1461"/>
                  </a:lnTo>
                  <a:lnTo>
                    <a:pt x="745" y="1476"/>
                  </a:lnTo>
                  <a:lnTo>
                    <a:pt x="803" y="1488"/>
                  </a:lnTo>
                  <a:lnTo>
                    <a:pt x="861" y="1500"/>
                  </a:lnTo>
                  <a:lnTo>
                    <a:pt x="923" y="1511"/>
                  </a:lnTo>
                  <a:lnTo>
                    <a:pt x="984" y="1520"/>
                  </a:lnTo>
                  <a:lnTo>
                    <a:pt x="1048" y="1529"/>
                  </a:lnTo>
                  <a:lnTo>
                    <a:pt x="1111" y="1536"/>
                  </a:lnTo>
                  <a:lnTo>
                    <a:pt x="1176" y="1541"/>
                  </a:lnTo>
                  <a:lnTo>
                    <a:pt x="1243" y="1546"/>
                  </a:lnTo>
                  <a:lnTo>
                    <a:pt x="1311" y="1550"/>
                  </a:lnTo>
                  <a:lnTo>
                    <a:pt x="1378" y="1552"/>
                  </a:lnTo>
                  <a:lnTo>
                    <a:pt x="1448" y="1553"/>
                  </a:lnTo>
                  <a:lnTo>
                    <a:pt x="1448" y="1553"/>
                  </a:lnTo>
                  <a:lnTo>
                    <a:pt x="1507" y="1552"/>
                  </a:lnTo>
                  <a:lnTo>
                    <a:pt x="1566" y="1551"/>
                  </a:lnTo>
                  <a:lnTo>
                    <a:pt x="1625" y="1547"/>
                  </a:lnTo>
                  <a:lnTo>
                    <a:pt x="1682" y="1544"/>
                  </a:lnTo>
                  <a:lnTo>
                    <a:pt x="1739" y="1540"/>
                  </a:lnTo>
                  <a:lnTo>
                    <a:pt x="1795" y="1534"/>
                  </a:lnTo>
                  <a:lnTo>
                    <a:pt x="1850" y="1528"/>
                  </a:lnTo>
                  <a:lnTo>
                    <a:pt x="1905" y="1521"/>
                  </a:lnTo>
                  <a:lnTo>
                    <a:pt x="1905" y="1521"/>
                  </a:lnTo>
                  <a:lnTo>
                    <a:pt x="1783" y="276"/>
                  </a:lnTo>
                  <a:lnTo>
                    <a:pt x="1783" y="276"/>
                  </a:lnTo>
                  <a:lnTo>
                    <a:pt x="1743" y="280"/>
                  </a:lnTo>
                  <a:lnTo>
                    <a:pt x="1703" y="285"/>
                  </a:lnTo>
                  <a:lnTo>
                    <a:pt x="1661" y="289"/>
                  </a:lnTo>
                  <a:lnTo>
                    <a:pt x="1619" y="292"/>
                  </a:lnTo>
                  <a:lnTo>
                    <a:pt x="1577" y="294"/>
                  </a:lnTo>
                  <a:lnTo>
                    <a:pt x="1534" y="295"/>
                  </a:lnTo>
                  <a:lnTo>
                    <a:pt x="1491" y="296"/>
                  </a:lnTo>
                  <a:lnTo>
                    <a:pt x="1448" y="297"/>
                  </a:lnTo>
                  <a:lnTo>
                    <a:pt x="1448" y="297"/>
                  </a:lnTo>
                  <a:close/>
                  <a:moveTo>
                    <a:pt x="2668" y="1269"/>
                  </a:moveTo>
                  <a:lnTo>
                    <a:pt x="2668" y="1269"/>
                  </a:lnTo>
                  <a:lnTo>
                    <a:pt x="2337" y="128"/>
                  </a:lnTo>
                  <a:lnTo>
                    <a:pt x="2337" y="128"/>
                  </a:lnTo>
                  <a:lnTo>
                    <a:pt x="2365" y="115"/>
                  </a:lnTo>
                  <a:lnTo>
                    <a:pt x="2391" y="101"/>
                  </a:lnTo>
                  <a:lnTo>
                    <a:pt x="2416" y="87"/>
                  </a:lnTo>
                  <a:lnTo>
                    <a:pt x="2440" y="73"/>
                  </a:lnTo>
                  <a:lnTo>
                    <a:pt x="2464" y="57"/>
                  </a:lnTo>
                  <a:lnTo>
                    <a:pt x="2485" y="43"/>
                  </a:lnTo>
                  <a:lnTo>
                    <a:pt x="2505" y="27"/>
                  </a:lnTo>
                  <a:lnTo>
                    <a:pt x="2525" y="12"/>
                  </a:lnTo>
                  <a:lnTo>
                    <a:pt x="2525" y="12"/>
                  </a:lnTo>
                  <a:lnTo>
                    <a:pt x="2888" y="1030"/>
                  </a:lnTo>
                  <a:lnTo>
                    <a:pt x="2888" y="1030"/>
                  </a:lnTo>
                  <a:lnTo>
                    <a:pt x="2880" y="1046"/>
                  </a:lnTo>
                  <a:lnTo>
                    <a:pt x="2873" y="1062"/>
                  </a:lnTo>
                  <a:lnTo>
                    <a:pt x="2864" y="1079"/>
                  </a:lnTo>
                  <a:lnTo>
                    <a:pt x="2854" y="1094"/>
                  </a:lnTo>
                  <a:lnTo>
                    <a:pt x="2844" y="1110"/>
                  </a:lnTo>
                  <a:lnTo>
                    <a:pt x="2832" y="1125"/>
                  </a:lnTo>
                  <a:lnTo>
                    <a:pt x="2819" y="1141"/>
                  </a:lnTo>
                  <a:lnTo>
                    <a:pt x="2806" y="1156"/>
                  </a:lnTo>
                  <a:lnTo>
                    <a:pt x="2792" y="1170"/>
                  </a:lnTo>
                  <a:lnTo>
                    <a:pt x="2776" y="1186"/>
                  </a:lnTo>
                  <a:lnTo>
                    <a:pt x="2761" y="1199"/>
                  </a:lnTo>
                  <a:lnTo>
                    <a:pt x="2744" y="1214"/>
                  </a:lnTo>
                  <a:lnTo>
                    <a:pt x="2727" y="1229"/>
                  </a:lnTo>
                  <a:lnTo>
                    <a:pt x="2708" y="1242"/>
                  </a:lnTo>
                  <a:lnTo>
                    <a:pt x="2688" y="1256"/>
                  </a:lnTo>
                  <a:lnTo>
                    <a:pt x="2668" y="1269"/>
                  </a:lnTo>
                  <a:lnTo>
                    <a:pt x="2668" y="1269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0" name="Freeform 21"/>
            <p:cNvSpPr>
              <a:spLocks/>
            </p:cNvSpPr>
            <p:nvPr/>
          </p:nvSpPr>
          <p:spPr bwMode="auto">
            <a:xfrm flipH="1">
              <a:off x="5388475" y="3513599"/>
              <a:ext cx="1290" cy="1290"/>
            </a:xfrm>
            <a:custGeom>
              <a:avLst/>
              <a:gdLst>
                <a:gd name="T0" fmla="*/ 5 w 5"/>
                <a:gd name="T1" fmla="*/ 0 h 2"/>
                <a:gd name="T2" fmla="*/ 5 w 5"/>
                <a:gd name="T3" fmla="*/ 0 h 2"/>
                <a:gd name="T4" fmla="*/ 0 w 5"/>
                <a:gd name="T5" fmla="*/ 2 h 2"/>
                <a:gd name="T6" fmla="*/ 0 w 5"/>
                <a:gd name="T7" fmla="*/ 2 h 2"/>
                <a:gd name="T8" fmla="*/ 5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1" name="Freeform 22"/>
            <p:cNvSpPr>
              <a:spLocks/>
            </p:cNvSpPr>
            <p:nvPr/>
          </p:nvSpPr>
          <p:spPr bwMode="auto">
            <a:xfrm flipH="1">
              <a:off x="5388475" y="3513599"/>
              <a:ext cx="1290" cy="1290"/>
            </a:xfrm>
            <a:custGeom>
              <a:avLst/>
              <a:gdLst>
                <a:gd name="T0" fmla="*/ 5 w 5"/>
                <a:gd name="T1" fmla="*/ 0 h 2"/>
                <a:gd name="T2" fmla="*/ 5 w 5"/>
                <a:gd name="T3" fmla="*/ 0 h 2"/>
                <a:gd name="T4" fmla="*/ 0 w 5"/>
                <a:gd name="T5" fmla="*/ 2 h 2"/>
                <a:gd name="T6" fmla="*/ 0 w 5"/>
                <a:gd name="T7" fmla="*/ 2 h 2"/>
                <a:gd name="T8" fmla="*/ 5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2" name="Rectangle 23"/>
            <p:cNvSpPr>
              <a:spLocks noChangeArrowheads="1"/>
            </p:cNvSpPr>
            <p:nvPr/>
          </p:nvSpPr>
          <p:spPr bwMode="auto">
            <a:xfrm flipH="1">
              <a:off x="5232374" y="3462003"/>
              <a:ext cx="1290" cy="1290"/>
            </a:xfrm>
            <a:prstGeom prst="rect">
              <a:avLst/>
            </a:pr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3" name="Rectangle 24"/>
            <p:cNvSpPr>
              <a:spLocks noChangeArrowheads="1"/>
            </p:cNvSpPr>
            <p:nvPr/>
          </p:nvSpPr>
          <p:spPr bwMode="auto">
            <a:xfrm flipH="1">
              <a:off x="5232374" y="3462003"/>
              <a:ext cx="1290" cy="1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4" name="Freeform 25"/>
            <p:cNvSpPr>
              <a:spLocks/>
            </p:cNvSpPr>
            <p:nvPr/>
          </p:nvSpPr>
          <p:spPr bwMode="auto">
            <a:xfrm flipH="1">
              <a:off x="5400086" y="3516179"/>
              <a:ext cx="127719" cy="21929"/>
            </a:xfrm>
            <a:custGeom>
              <a:avLst/>
              <a:gdLst>
                <a:gd name="T0" fmla="*/ 697 w 697"/>
                <a:gd name="T1" fmla="*/ 0 h 147"/>
                <a:gd name="T2" fmla="*/ 697 w 697"/>
                <a:gd name="T3" fmla="*/ 0 h 147"/>
                <a:gd name="T4" fmla="*/ 623 w 697"/>
                <a:gd name="T5" fmla="*/ 22 h 147"/>
                <a:gd name="T6" fmla="*/ 551 w 697"/>
                <a:gd name="T7" fmla="*/ 41 h 147"/>
                <a:gd name="T8" fmla="*/ 482 w 697"/>
                <a:gd name="T9" fmla="*/ 58 h 147"/>
                <a:gd name="T10" fmla="*/ 418 w 697"/>
                <a:gd name="T11" fmla="*/ 74 h 147"/>
                <a:gd name="T12" fmla="*/ 357 w 697"/>
                <a:gd name="T13" fmla="*/ 88 h 147"/>
                <a:gd name="T14" fmla="*/ 299 w 697"/>
                <a:gd name="T15" fmla="*/ 99 h 147"/>
                <a:gd name="T16" fmla="*/ 246 w 697"/>
                <a:gd name="T17" fmla="*/ 110 h 147"/>
                <a:gd name="T18" fmla="*/ 198 w 697"/>
                <a:gd name="T19" fmla="*/ 119 h 147"/>
                <a:gd name="T20" fmla="*/ 114 w 697"/>
                <a:gd name="T21" fmla="*/ 132 h 147"/>
                <a:gd name="T22" fmla="*/ 52 w 697"/>
                <a:gd name="T23" fmla="*/ 141 h 147"/>
                <a:gd name="T24" fmla="*/ 14 w 697"/>
                <a:gd name="T25" fmla="*/ 146 h 147"/>
                <a:gd name="T26" fmla="*/ 0 w 697"/>
                <a:gd name="T27" fmla="*/ 147 h 147"/>
                <a:gd name="T28" fmla="*/ 0 w 697"/>
                <a:gd name="T29" fmla="*/ 147 h 147"/>
                <a:gd name="T30" fmla="*/ 84 w 697"/>
                <a:gd name="T31" fmla="*/ 135 h 147"/>
                <a:gd name="T32" fmla="*/ 170 w 697"/>
                <a:gd name="T33" fmla="*/ 121 h 147"/>
                <a:gd name="T34" fmla="*/ 256 w 697"/>
                <a:gd name="T35" fmla="*/ 105 h 147"/>
                <a:gd name="T36" fmla="*/ 343 w 697"/>
                <a:gd name="T37" fmla="*/ 89 h 147"/>
                <a:gd name="T38" fmla="*/ 432 w 697"/>
                <a:gd name="T39" fmla="*/ 69 h 147"/>
                <a:gd name="T40" fmla="*/ 520 w 697"/>
                <a:gd name="T41" fmla="*/ 48 h 147"/>
                <a:gd name="T42" fmla="*/ 608 w 697"/>
                <a:gd name="T43" fmla="*/ 25 h 147"/>
                <a:gd name="T44" fmla="*/ 697 w 697"/>
                <a:gd name="T4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7" h="147">
                  <a:moveTo>
                    <a:pt x="697" y="0"/>
                  </a:moveTo>
                  <a:lnTo>
                    <a:pt x="697" y="0"/>
                  </a:lnTo>
                  <a:lnTo>
                    <a:pt x="623" y="22"/>
                  </a:lnTo>
                  <a:lnTo>
                    <a:pt x="551" y="41"/>
                  </a:lnTo>
                  <a:lnTo>
                    <a:pt x="482" y="58"/>
                  </a:lnTo>
                  <a:lnTo>
                    <a:pt x="418" y="74"/>
                  </a:lnTo>
                  <a:lnTo>
                    <a:pt x="357" y="88"/>
                  </a:lnTo>
                  <a:lnTo>
                    <a:pt x="299" y="99"/>
                  </a:lnTo>
                  <a:lnTo>
                    <a:pt x="246" y="110"/>
                  </a:lnTo>
                  <a:lnTo>
                    <a:pt x="198" y="119"/>
                  </a:lnTo>
                  <a:lnTo>
                    <a:pt x="114" y="132"/>
                  </a:lnTo>
                  <a:lnTo>
                    <a:pt x="52" y="141"/>
                  </a:lnTo>
                  <a:lnTo>
                    <a:pt x="14" y="146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84" y="135"/>
                  </a:lnTo>
                  <a:lnTo>
                    <a:pt x="170" y="121"/>
                  </a:lnTo>
                  <a:lnTo>
                    <a:pt x="256" y="105"/>
                  </a:lnTo>
                  <a:lnTo>
                    <a:pt x="343" y="89"/>
                  </a:lnTo>
                  <a:lnTo>
                    <a:pt x="432" y="69"/>
                  </a:lnTo>
                  <a:lnTo>
                    <a:pt x="520" y="48"/>
                  </a:lnTo>
                  <a:lnTo>
                    <a:pt x="608" y="25"/>
                  </a:lnTo>
                  <a:lnTo>
                    <a:pt x="697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5" name="Freeform 26"/>
            <p:cNvSpPr>
              <a:spLocks/>
            </p:cNvSpPr>
            <p:nvPr/>
          </p:nvSpPr>
          <p:spPr bwMode="auto">
            <a:xfrm flipH="1">
              <a:off x="5400086" y="3516179"/>
              <a:ext cx="127719" cy="21929"/>
            </a:xfrm>
            <a:custGeom>
              <a:avLst/>
              <a:gdLst>
                <a:gd name="T0" fmla="*/ 697 w 697"/>
                <a:gd name="T1" fmla="*/ 0 h 147"/>
                <a:gd name="T2" fmla="*/ 697 w 697"/>
                <a:gd name="T3" fmla="*/ 0 h 147"/>
                <a:gd name="T4" fmla="*/ 623 w 697"/>
                <a:gd name="T5" fmla="*/ 22 h 147"/>
                <a:gd name="T6" fmla="*/ 551 w 697"/>
                <a:gd name="T7" fmla="*/ 41 h 147"/>
                <a:gd name="T8" fmla="*/ 482 w 697"/>
                <a:gd name="T9" fmla="*/ 58 h 147"/>
                <a:gd name="T10" fmla="*/ 418 w 697"/>
                <a:gd name="T11" fmla="*/ 74 h 147"/>
                <a:gd name="T12" fmla="*/ 357 w 697"/>
                <a:gd name="T13" fmla="*/ 88 h 147"/>
                <a:gd name="T14" fmla="*/ 299 w 697"/>
                <a:gd name="T15" fmla="*/ 99 h 147"/>
                <a:gd name="T16" fmla="*/ 246 w 697"/>
                <a:gd name="T17" fmla="*/ 110 h 147"/>
                <a:gd name="T18" fmla="*/ 198 w 697"/>
                <a:gd name="T19" fmla="*/ 119 h 147"/>
                <a:gd name="T20" fmla="*/ 114 w 697"/>
                <a:gd name="T21" fmla="*/ 132 h 147"/>
                <a:gd name="T22" fmla="*/ 52 w 697"/>
                <a:gd name="T23" fmla="*/ 141 h 147"/>
                <a:gd name="T24" fmla="*/ 14 w 697"/>
                <a:gd name="T25" fmla="*/ 146 h 147"/>
                <a:gd name="T26" fmla="*/ 0 w 697"/>
                <a:gd name="T27" fmla="*/ 147 h 147"/>
                <a:gd name="T28" fmla="*/ 0 w 697"/>
                <a:gd name="T29" fmla="*/ 147 h 147"/>
                <a:gd name="T30" fmla="*/ 84 w 697"/>
                <a:gd name="T31" fmla="*/ 135 h 147"/>
                <a:gd name="T32" fmla="*/ 170 w 697"/>
                <a:gd name="T33" fmla="*/ 121 h 147"/>
                <a:gd name="T34" fmla="*/ 256 w 697"/>
                <a:gd name="T35" fmla="*/ 105 h 147"/>
                <a:gd name="T36" fmla="*/ 343 w 697"/>
                <a:gd name="T37" fmla="*/ 89 h 147"/>
                <a:gd name="T38" fmla="*/ 432 w 697"/>
                <a:gd name="T39" fmla="*/ 69 h 147"/>
                <a:gd name="T40" fmla="*/ 520 w 697"/>
                <a:gd name="T41" fmla="*/ 48 h 147"/>
                <a:gd name="T42" fmla="*/ 608 w 697"/>
                <a:gd name="T43" fmla="*/ 25 h 147"/>
                <a:gd name="T44" fmla="*/ 697 w 697"/>
                <a:gd name="T4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7" h="147">
                  <a:moveTo>
                    <a:pt x="697" y="0"/>
                  </a:moveTo>
                  <a:lnTo>
                    <a:pt x="697" y="0"/>
                  </a:lnTo>
                  <a:lnTo>
                    <a:pt x="623" y="22"/>
                  </a:lnTo>
                  <a:lnTo>
                    <a:pt x="551" y="41"/>
                  </a:lnTo>
                  <a:lnTo>
                    <a:pt x="482" y="58"/>
                  </a:lnTo>
                  <a:lnTo>
                    <a:pt x="418" y="74"/>
                  </a:lnTo>
                  <a:lnTo>
                    <a:pt x="357" y="88"/>
                  </a:lnTo>
                  <a:lnTo>
                    <a:pt x="299" y="99"/>
                  </a:lnTo>
                  <a:lnTo>
                    <a:pt x="246" y="110"/>
                  </a:lnTo>
                  <a:lnTo>
                    <a:pt x="198" y="119"/>
                  </a:lnTo>
                  <a:lnTo>
                    <a:pt x="114" y="132"/>
                  </a:lnTo>
                  <a:lnTo>
                    <a:pt x="52" y="141"/>
                  </a:lnTo>
                  <a:lnTo>
                    <a:pt x="14" y="146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84" y="135"/>
                  </a:lnTo>
                  <a:lnTo>
                    <a:pt x="170" y="121"/>
                  </a:lnTo>
                  <a:lnTo>
                    <a:pt x="256" y="105"/>
                  </a:lnTo>
                  <a:lnTo>
                    <a:pt x="343" y="89"/>
                  </a:lnTo>
                  <a:lnTo>
                    <a:pt x="432" y="69"/>
                  </a:lnTo>
                  <a:lnTo>
                    <a:pt x="520" y="48"/>
                  </a:lnTo>
                  <a:lnTo>
                    <a:pt x="608" y="25"/>
                  </a:lnTo>
                  <a:lnTo>
                    <a:pt x="69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6" name="Freeform 27"/>
            <p:cNvSpPr>
              <a:spLocks/>
            </p:cNvSpPr>
            <p:nvPr/>
          </p:nvSpPr>
          <p:spPr bwMode="auto">
            <a:xfrm flipH="1">
              <a:off x="5393636" y="3514889"/>
              <a:ext cx="3871" cy="1290"/>
            </a:xfrm>
            <a:custGeom>
              <a:avLst/>
              <a:gdLst>
                <a:gd name="T0" fmla="*/ 16 w 16"/>
                <a:gd name="T1" fmla="*/ 0 h 5"/>
                <a:gd name="T2" fmla="*/ 16 w 16"/>
                <a:gd name="T3" fmla="*/ 0 h 5"/>
                <a:gd name="T4" fmla="*/ 0 w 16"/>
                <a:gd name="T5" fmla="*/ 5 h 5"/>
                <a:gd name="T6" fmla="*/ 0 w 16"/>
                <a:gd name="T7" fmla="*/ 5 h 5"/>
                <a:gd name="T8" fmla="*/ 16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16" y="0"/>
                  </a:moveTo>
                  <a:lnTo>
                    <a:pt x="16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7" name="Freeform 28"/>
            <p:cNvSpPr>
              <a:spLocks/>
            </p:cNvSpPr>
            <p:nvPr/>
          </p:nvSpPr>
          <p:spPr bwMode="auto">
            <a:xfrm flipH="1">
              <a:off x="5393636" y="3514889"/>
              <a:ext cx="3871" cy="1290"/>
            </a:xfrm>
            <a:custGeom>
              <a:avLst/>
              <a:gdLst>
                <a:gd name="T0" fmla="*/ 16 w 16"/>
                <a:gd name="T1" fmla="*/ 0 h 5"/>
                <a:gd name="T2" fmla="*/ 16 w 16"/>
                <a:gd name="T3" fmla="*/ 0 h 5"/>
                <a:gd name="T4" fmla="*/ 0 w 16"/>
                <a:gd name="T5" fmla="*/ 5 h 5"/>
                <a:gd name="T6" fmla="*/ 0 w 16"/>
                <a:gd name="T7" fmla="*/ 5 h 5"/>
                <a:gd name="T8" fmla="*/ 16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16" y="0"/>
                  </a:moveTo>
                  <a:lnTo>
                    <a:pt x="16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8" name="Freeform 29"/>
            <p:cNvSpPr>
              <a:spLocks/>
            </p:cNvSpPr>
            <p:nvPr/>
          </p:nvSpPr>
          <p:spPr bwMode="auto">
            <a:xfrm flipH="1">
              <a:off x="5233665" y="3294314"/>
              <a:ext cx="316072" cy="243795"/>
            </a:xfrm>
            <a:custGeom>
              <a:avLst/>
              <a:gdLst>
                <a:gd name="T0" fmla="*/ 1379 w 1718"/>
                <a:gd name="T1" fmla="*/ 0 h 1694"/>
                <a:gd name="T2" fmla="*/ 1718 w 1718"/>
                <a:gd name="T3" fmla="*/ 1165 h 1694"/>
                <a:gd name="T4" fmla="*/ 1664 w 1718"/>
                <a:gd name="T5" fmla="*/ 1196 h 1694"/>
                <a:gd name="T6" fmla="*/ 1554 w 1718"/>
                <a:gd name="T7" fmla="*/ 1254 h 1694"/>
                <a:gd name="T8" fmla="*/ 1445 w 1718"/>
                <a:gd name="T9" fmla="*/ 1309 h 1694"/>
                <a:gd name="T10" fmla="*/ 1337 w 1718"/>
                <a:gd name="T11" fmla="*/ 1357 h 1694"/>
                <a:gd name="T12" fmla="*/ 1229 w 1718"/>
                <a:gd name="T13" fmla="*/ 1403 h 1694"/>
                <a:gd name="T14" fmla="*/ 1124 w 1718"/>
                <a:gd name="T15" fmla="*/ 1444 h 1694"/>
                <a:gd name="T16" fmla="*/ 1022 w 1718"/>
                <a:gd name="T17" fmla="*/ 1481 h 1694"/>
                <a:gd name="T18" fmla="*/ 873 w 1718"/>
                <a:gd name="T19" fmla="*/ 1530 h 1694"/>
                <a:gd name="T20" fmla="*/ 868 w 1718"/>
                <a:gd name="T21" fmla="*/ 1532 h 1694"/>
                <a:gd name="T22" fmla="*/ 846 w 1718"/>
                <a:gd name="T23" fmla="*/ 1538 h 1694"/>
                <a:gd name="T24" fmla="*/ 830 w 1718"/>
                <a:gd name="T25" fmla="*/ 1543 h 1694"/>
                <a:gd name="T26" fmla="*/ 815 w 1718"/>
                <a:gd name="T27" fmla="*/ 1547 h 1694"/>
                <a:gd name="T28" fmla="*/ 726 w 1718"/>
                <a:gd name="T29" fmla="*/ 1572 h 1694"/>
                <a:gd name="T30" fmla="*/ 550 w 1718"/>
                <a:gd name="T31" fmla="*/ 1616 h 1694"/>
                <a:gd name="T32" fmla="*/ 374 w 1718"/>
                <a:gd name="T33" fmla="*/ 1652 h 1694"/>
                <a:gd name="T34" fmla="*/ 202 w 1718"/>
                <a:gd name="T35" fmla="*/ 1682 h 1694"/>
                <a:gd name="T36" fmla="*/ 118 w 1718"/>
                <a:gd name="T37" fmla="*/ 1694 h 1694"/>
                <a:gd name="T38" fmla="*/ 0 w 1718"/>
                <a:gd name="T39" fmla="*/ 486 h 1694"/>
                <a:gd name="T40" fmla="*/ 215 w 1718"/>
                <a:gd name="T41" fmla="*/ 450 h 1694"/>
                <a:gd name="T42" fmla="*/ 420 w 1718"/>
                <a:gd name="T43" fmla="*/ 406 h 1694"/>
                <a:gd name="T44" fmla="*/ 566 w 1718"/>
                <a:gd name="T45" fmla="*/ 369 h 1694"/>
                <a:gd name="T46" fmla="*/ 660 w 1718"/>
                <a:gd name="T47" fmla="*/ 341 h 1694"/>
                <a:gd name="T48" fmla="*/ 750 w 1718"/>
                <a:gd name="T49" fmla="*/ 311 h 1694"/>
                <a:gd name="T50" fmla="*/ 839 w 1718"/>
                <a:gd name="T51" fmla="*/ 280 h 1694"/>
                <a:gd name="T52" fmla="*/ 923 w 1718"/>
                <a:gd name="T53" fmla="*/ 248 h 1694"/>
                <a:gd name="T54" fmla="*/ 1003 w 1718"/>
                <a:gd name="T55" fmla="*/ 213 h 1694"/>
                <a:gd name="T56" fmla="*/ 1081 w 1718"/>
                <a:gd name="T57" fmla="*/ 178 h 1694"/>
                <a:gd name="T58" fmla="*/ 1154 w 1718"/>
                <a:gd name="T59" fmla="*/ 141 h 1694"/>
                <a:gd name="T60" fmla="*/ 1223 w 1718"/>
                <a:gd name="T61" fmla="*/ 102 h 1694"/>
                <a:gd name="T62" fmla="*/ 1289 w 1718"/>
                <a:gd name="T63" fmla="*/ 62 h 1694"/>
                <a:gd name="T64" fmla="*/ 1350 w 1718"/>
                <a:gd name="T65" fmla="*/ 22 h 1694"/>
                <a:gd name="T66" fmla="*/ 1379 w 1718"/>
                <a:gd name="T67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18" h="1694">
                  <a:moveTo>
                    <a:pt x="1379" y="0"/>
                  </a:moveTo>
                  <a:lnTo>
                    <a:pt x="1379" y="0"/>
                  </a:lnTo>
                  <a:lnTo>
                    <a:pt x="1718" y="1165"/>
                  </a:lnTo>
                  <a:lnTo>
                    <a:pt x="1718" y="1165"/>
                  </a:lnTo>
                  <a:lnTo>
                    <a:pt x="1718" y="1165"/>
                  </a:lnTo>
                  <a:lnTo>
                    <a:pt x="1664" y="1196"/>
                  </a:lnTo>
                  <a:lnTo>
                    <a:pt x="1609" y="1226"/>
                  </a:lnTo>
                  <a:lnTo>
                    <a:pt x="1554" y="1254"/>
                  </a:lnTo>
                  <a:lnTo>
                    <a:pt x="1500" y="1281"/>
                  </a:lnTo>
                  <a:lnTo>
                    <a:pt x="1445" y="1309"/>
                  </a:lnTo>
                  <a:lnTo>
                    <a:pt x="1391" y="1334"/>
                  </a:lnTo>
                  <a:lnTo>
                    <a:pt x="1337" y="1357"/>
                  </a:lnTo>
                  <a:lnTo>
                    <a:pt x="1283" y="1380"/>
                  </a:lnTo>
                  <a:lnTo>
                    <a:pt x="1229" y="1403"/>
                  </a:lnTo>
                  <a:lnTo>
                    <a:pt x="1176" y="1424"/>
                  </a:lnTo>
                  <a:lnTo>
                    <a:pt x="1124" y="1444"/>
                  </a:lnTo>
                  <a:lnTo>
                    <a:pt x="1072" y="1463"/>
                  </a:lnTo>
                  <a:lnTo>
                    <a:pt x="1022" y="1481"/>
                  </a:lnTo>
                  <a:lnTo>
                    <a:pt x="971" y="1498"/>
                  </a:lnTo>
                  <a:lnTo>
                    <a:pt x="873" y="1530"/>
                  </a:lnTo>
                  <a:lnTo>
                    <a:pt x="873" y="1530"/>
                  </a:lnTo>
                  <a:lnTo>
                    <a:pt x="868" y="1532"/>
                  </a:lnTo>
                  <a:lnTo>
                    <a:pt x="868" y="1532"/>
                  </a:lnTo>
                  <a:lnTo>
                    <a:pt x="846" y="1538"/>
                  </a:lnTo>
                  <a:lnTo>
                    <a:pt x="846" y="1538"/>
                  </a:lnTo>
                  <a:lnTo>
                    <a:pt x="830" y="1543"/>
                  </a:lnTo>
                  <a:lnTo>
                    <a:pt x="830" y="1543"/>
                  </a:lnTo>
                  <a:lnTo>
                    <a:pt x="815" y="1547"/>
                  </a:lnTo>
                  <a:lnTo>
                    <a:pt x="815" y="1547"/>
                  </a:lnTo>
                  <a:lnTo>
                    <a:pt x="726" y="1572"/>
                  </a:lnTo>
                  <a:lnTo>
                    <a:pt x="638" y="1595"/>
                  </a:lnTo>
                  <a:lnTo>
                    <a:pt x="550" y="1616"/>
                  </a:lnTo>
                  <a:lnTo>
                    <a:pt x="461" y="1636"/>
                  </a:lnTo>
                  <a:lnTo>
                    <a:pt x="374" y="1652"/>
                  </a:lnTo>
                  <a:lnTo>
                    <a:pt x="288" y="1668"/>
                  </a:lnTo>
                  <a:lnTo>
                    <a:pt x="202" y="1682"/>
                  </a:lnTo>
                  <a:lnTo>
                    <a:pt x="118" y="1694"/>
                  </a:lnTo>
                  <a:lnTo>
                    <a:pt x="118" y="1694"/>
                  </a:lnTo>
                  <a:lnTo>
                    <a:pt x="0" y="486"/>
                  </a:lnTo>
                  <a:lnTo>
                    <a:pt x="0" y="486"/>
                  </a:lnTo>
                  <a:lnTo>
                    <a:pt x="108" y="470"/>
                  </a:lnTo>
                  <a:lnTo>
                    <a:pt x="215" y="450"/>
                  </a:lnTo>
                  <a:lnTo>
                    <a:pt x="318" y="429"/>
                  </a:lnTo>
                  <a:lnTo>
                    <a:pt x="420" y="406"/>
                  </a:lnTo>
                  <a:lnTo>
                    <a:pt x="517" y="381"/>
                  </a:lnTo>
                  <a:lnTo>
                    <a:pt x="566" y="369"/>
                  </a:lnTo>
                  <a:lnTo>
                    <a:pt x="613" y="355"/>
                  </a:lnTo>
                  <a:lnTo>
                    <a:pt x="660" y="341"/>
                  </a:lnTo>
                  <a:lnTo>
                    <a:pt x="705" y="326"/>
                  </a:lnTo>
                  <a:lnTo>
                    <a:pt x="750" y="311"/>
                  </a:lnTo>
                  <a:lnTo>
                    <a:pt x="795" y="296"/>
                  </a:lnTo>
                  <a:lnTo>
                    <a:pt x="839" y="280"/>
                  </a:lnTo>
                  <a:lnTo>
                    <a:pt x="880" y="264"/>
                  </a:lnTo>
                  <a:lnTo>
                    <a:pt x="923" y="248"/>
                  </a:lnTo>
                  <a:lnTo>
                    <a:pt x="963" y="231"/>
                  </a:lnTo>
                  <a:lnTo>
                    <a:pt x="1003" y="213"/>
                  </a:lnTo>
                  <a:lnTo>
                    <a:pt x="1042" y="196"/>
                  </a:lnTo>
                  <a:lnTo>
                    <a:pt x="1081" y="178"/>
                  </a:lnTo>
                  <a:lnTo>
                    <a:pt x="1117" y="159"/>
                  </a:lnTo>
                  <a:lnTo>
                    <a:pt x="1154" y="141"/>
                  </a:lnTo>
                  <a:lnTo>
                    <a:pt x="1189" y="122"/>
                  </a:lnTo>
                  <a:lnTo>
                    <a:pt x="1223" y="102"/>
                  </a:lnTo>
                  <a:lnTo>
                    <a:pt x="1256" y="82"/>
                  </a:lnTo>
                  <a:lnTo>
                    <a:pt x="1289" y="62"/>
                  </a:lnTo>
                  <a:lnTo>
                    <a:pt x="1320" y="42"/>
                  </a:lnTo>
                  <a:lnTo>
                    <a:pt x="1350" y="22"/>
                  </a:lnTo>
                  <a:lnTo>
                    <a:pt x="1379" y="0"/>
                  </a:lnTo>
                  <a:lnTo>
                    <a:pt x="1379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9" name="Freeform 30"/>
            <p:cNvSpPr>
              <a:spLocks/>
            </p:cNvSpPr>
            <p:nvPr/>
          </p:nvSpPr>
          <p:spPr bwMode="auto">
            <a:xfrm flipH="1">
              <a:off x="5415568" y="2819624"/>
              <a:ext cx="198674" cy="201227"/>
            </a:xfrm>
            <a:custGeom>
              <a:avLst/>
              <a:gdLst>
                <a:gd name="T0" fmla="*/ 0 w 1077"/>
                <a:gd name="T1" fmla="*/ 252 h 1409"/>
                <a:gd name="T2" fmla="*/ 0 w 1077"/>
                <a:gd name="T3" fmla="*/ 252 h 1409"/>
                <a:gd name="T4" fmla="*/ 58 w 1077"/>
                <a:gd name="T5" fmla="*/ 243 h 1409"/>
                <a:gd name="T6" fmla="*/ 116 w 1077"/>
                <a:gd name="T7" fmla="*/ 233 h 1409"/>
                <a:gd name="T8" fmla="*/ 172 w 1077"/>
                <a:gd name="T9" fmla="*/ 222 h 1409"/>
                <a:gd name="T10" fmla="*/ 227 w 1077"/>
                <a:gd name="T11" fmla="*/ 211 h 1409"/>
                <a:gd name="T12" fmla="*/ 281 w 1077"/>
                <a:gd name="T13" fmla="*/ 197 h 1409"/>
                <a:gd name="T14" fmla="*/ 333 w 1077"/>
                <a:gd name="T15" fmla="*/ 184 h 1409"/>
                <a:gd name="T16" fmla="*/ 384 w 1077"/>
                <a:gd name="T17" fmla="*/ 169 h 1409"/>
                <a:gd name="T18" fmla="*/ 433 w 1077"/>
                <a:gd name="T19" fmla="*/ 153 h 1409"/>
                <a:gd name="T20" fmla="*/ 481 w 1077"/>
                <a:gd name="T21" fmla="*/ 137 h 1409"/>
                <a:gd name="T22" fmla="*/ 526 w 1077"/>
                <a:gd name="T23" fmla="*/ 120 h 1409"/>
                <a:gd name="T24" fmla="*/ 570 w 1077"/>
                <a:gd name="T25" fmla="*/ 101 h 1409"/>
                <a:gd name="T26" fmla="*/ 613 w 1077"/>
                <a:gd name="T27" fmla="*/ 83 h 1409"/>
                <a:gd name="T28" fmla="*/ 653 w 1077"/>
                <a:gd name="T29" fmla="*/ 63 h 1409"/>
                <a:gd name="T30" fmla="*/ 692 w 1077"/>
                <a:gd name="T31" fmla="*/ 43 h 1409"/>
                <a:gd name="T32" fmla="*/ 729 w 1077"/>
                <a:gd name="T33" fmla="*/ 22 h 1409"/>
                <a:gd name="T34" fmla="*/ 763 w 1077"/>
                <a:gd name="T35" fmla="*/ 0 h 1409"/>
                <a:gd name="T36" fmla="*/ 763 w 1077"/>
                <a:gd name="T37" fmla="*/ 0 h 1409"/>
                <a:gd name="T38" fmla="*/ 1077 w 1077"/>
                <a:gd name="T39" fmla="*/ 1082 h 1409"/>
                <a:gd name="T40" fmla="*/ 1077 w 1077"/>
                <a:gd name="T41" fmla="*/ 1082 h 1409"/>
                <a:gd name="T42" fmla="*/ 1035 w 1077"/>
                <a:gd name="T43" fmla="*/ 1110 h 1409"/>
                <a:gd name="T44" fmla="*/ 989 w 1077"/>
                <a:gd name="T45" fmla="*/ 1137 h 1409"/>
                <a:gd name="T46" fmla="*/ 941 w 1077"/>
                <a:gd name="T47" fmla="*/ 1164 h 1409"/>
                <a:gd name="T48" fmla="*/ 890 w 1077"/>
                <a:gd name="T49" fmla="*/ 1189 h 1409"/>
                <a:gd name="T50" fmla="*/ 837 w 1077"/>
                <a:gd name="T51" fmla="*/ 1214 h 1409"/>
                <a:gd name="T52" fmla="*/ 782 w 1077"/>
                <a:gd name="T53" fmla="*/ 1237 h 1409"/>
                <a:gd name="T54" fmla="*/ 724 w 1077"/>
                <a:gd name="T55" fmla="*/ 1260 h 1409"/>
                <a:gd name="T56" fmla="*/ 664 w 1077"/>
                <a:gd name="T57" fmla="*/ 1281 h 1409"/>
                <a:gd name="T58" fmla="*/ 602 w 1077"/>
                <a:gd name="T59" fmla="*/ 1302 h 1409"/>
                <a:gd name="T60" fmla="*/ 538 w 1077"/>
                <a:gd name="T61" fmla="*/ 1320 h 1409"/>
                <a:gd name="T62" fmla="*/ 471 w 1077"/>
                <a:gd name="T63" fmla="*/ 1338 h 1409"/>
                <a:gd name="T64" fmla="*/ 404 w 1077"/>
                <a:gd name="T65" fmla="*/ 1355 h 1409"/>
                <a:gd name="T66" fmla="*/ 333 w 1077"/>
                <a:gd name="T67" fmla="*/ 1370 h 1409"/>
                <a:gd name="T68" fmla="*/ 261 w 1077"/>
                <a:gd name="T69" fmla="*/ 1385 h 1409"/>
                <a:gd name="T70" fmla="*/ 188 w 1077"/>
                <a:gd name="T71" fmla="*/ 1398 h 1409"/>
                <a:gd name="T72" fmla="*/ 114 w 1077"/>
                <a:gd name="T73" fmla="*/ 1409 h 1409"/>
                <a:gd name="T74" fmla="*/ 114 w 1077"/>
                <a:gd name="T75" fmla="*/ 1409 h 1409"/>
                <a:gd name="T76" fmla="*/ 0 w 1077"/>
                <a:gd name="T77" fmla="*/ 252 h 1409"/>
                <a:gd name="T78" fmla="*/ 0 w 1077"/>
                <a:gd name="T79" fmla="*/ 252 h 1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77" h="1409">
                  <a:moveTo>
                    <a:pt x="0" y="252"/>
                  </a:moveTo>
                  <a:lnTo>
                    <a:pt x="0" y="252"/>
                  </a:lnTo>
                  <a:lnTo>
                    <a:pt x="58" y="243"/>
                  </a:lnTo>
                  <a:lnTo>
                    <a:pt x="116" y="233"/>
                  </a:lnTo>
                  <a:lnTo>
                    <a:pt x="172" y="222"/>
                  </a:lnTo>
                  <a:lnTo>
                    <a:pt x="227" y="211"/>
                  </a:lnTo>
                  <a:lnTo>
                    <a:pt x="281" y="197"/>
                  </a:lnTo>
                  <a:lnTo>
                    <a:pt x="333" y="184"/>
                  </a:lnTo>
                  <a:lnTo>
                    <a:pt x="384" y="169"/>
                  </a:lnTo>
                  <a:lnTo>
                    <a:pt x="433" y="153"/>
                  </a:lnTo>
                  <a:lnTo>
                    <a:pt x="481" y="137"/>
                  </a:lnTo>
                  <a:lnTo>
                    <a:pt x="526" y="120"/>
                  </a:lnTo>
                  <a:lnTo>
                    <a:pt x="570" y="101"/>
                  </a:lnTo>
                  <a:lnTo>
                    <a:pt x="613" y="83"/>
                  </a:lnTo>
                  <a:lnTo>
                    <a:pt x="653" y="63"/>
                  </a:lnTo>
                  <a:lnTo>
                    <a:pt x="692" y="43"/>
                  </a:lnTo>
                  <a:lnTo>
                    <a:pt x="729" y="22"/>
                  </a:lnTo>
                  <a:lnTo>
                    <a:pt x="763" y="0"/>
                  </a:lnTo>
                  <a:lnTo>
                    <a:pt x="763" y="0"/>
                  </a:lnTo>
                  <a:lnTo>
                    <a:pt x="1077" y="1082"/>
                  </a:lnTo>
                  <a:lnTo>
                    <a:pt x="1077" y="1082"/>
                  </a:lnTo>
                  <a:lnTo>
                    <a:pt x="1035" y="1110"/>
                  </a:lnTo>
                  <a:lnTo>
                    <a:pt x="989" y="1137"/>
                  </a:lnTo>
                  <a:lnTo>
                    <a:pt x="941" y="1164"/>
                  </a:lnTo>
                  <a:lnTo>
                    <a:pt x="890" y="1189"/>
                  </a:lnTo>
                  <a:lnTo>
                    <a:pt x="837" y="1214"/>
                  </a:lnTo>
                  <a:lnTo>
                    <a:pt x="782" y="1237"/>
                  </a:lnTo>
                  <a:lnTo>
                    <a:pt x="724" y="1260"/>
                  </a:lnTo>
                  <a:lnTo>
                    <a:pt x="664" y="1281"/>
                  </a:lnTo>
                  <a:lnTo>
                    <a:pt x="602" y="1302"/>
                  </a:lnTo>
                  <a:lnTo>
                    <a:pt x="538" y="1320"/>
                  </a:lnTo>
                  <a:lnTo>
                    <a:pt x="471" y="1338"/>
                  </a:lnTo>
                  <a:lnTo>
                    <a:pt x="404" y="1355"/>
                  </a:lnTo>
                  <a:lnTo>
                    <a:pt x="333" y="1370"/>
                  </a:lnTo>
                  <a:lnTo>
                    <a:pt x="261" y="1385"/>
                  </a:lnTo>
                  <a:lnTo>
                    <a:pt x="188" y="1398"/>
                  </a:lnTo>
                  <a:lnTo>
                    <a:pt x="114" y="1409"/>
                  </a:lnTo>
                  <a:lnTo>
                    <a:pt x="114" y="1409"/>
                  </a:lnTo>
                  <a:lnTo>
                    <a:pt x="0" y="252"/>
                  </a:lnTo>
                  <a:lnTo>
                    <a:pt x="0" y="25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0" name="Freeform 31"/>
            <p:cNvSpPr>
              <a:spLocks/>
            </p:cNvSpPr>
            <p:nvPr/>
          </p:nvSpPr>
          <p:spPr bwMode="auto">
            <a:xfrm flipH="1">
              <a:off x="5295589" y="3138233"/>
              <a:ext cx="276079" cy="225736"/>
            </a:xfrm>
            <a:custGeom>
              <a:avLst/>
              <a:gdLst>
                <a:gd name="T0" fmla="*/ 1177 w 1494"/>
                <a:gd name="T1" fmla="*/ 0 h 1575"/>
                <a:gd name="T2" fmla="*/ 1177 w 1494"/>
                <a:gd name="T3" fmla="*/ 0 h 1575"/>
                <a:gd name="T4" fmla="*/ 1494 w 1494"/>
                <a:gd name="T5" fmla="*/ 1089 h 1575"/>
                <a:gd name="T6" fmla="*/ 1494 w 1494"/>
                <a:gd name="T7" fmla="*/ 1089 h 1575"/>
                <a:gd name="T8" fmla="*/ 1465 w 1494"/>
                <a:gd name="T9" fmla="*/ 1111 h 1575"/>
                <a:gd name="T10" fmla="*/ 1435 w 1494"/>
                <a:gd name="T11" fmla="*/ 1131 h 1575"/>
                <a:gd name="T12" fmla="*/ 1404 w 1494"/>
                <a:gd name="T13" fmla="*/ 1151 h 1575"/>
                <a:gd name="T14" fmla="*/ 1371 w 1494"/>
                <a:gd name="T15" fmla="*/ 1171 h 1575"/>
                <a:gd name="T16" fmla="*/ 1338 w 1494"/>
                <a:gd name="T17" fmla="*/ 1191 h 1575"/>
                <a:gd name="T18" fmla="*/ 1304 w 1494"/>
                <a:gd name="T19" fmla="*/ 1211 h 1575"/>
                <a:gd name="T20" fmla="*/ 1269 w 1494"/>
                <a:gd name="T21" fmla="*/ 1230 h 1575"/>
                <a:gd name="T22" fmla="*/ 1232 w 1494"/>
                <a:gd name="T23" fmla="*/ 1248 h 1575"/>
                <a:gd name="T24" fmla="*/ 1196 w 1494"/>
                <a:gd name="T25" fmla="*/ 1267 h 1575"/>
                <a:gd name="T26" fmla="*/ 1157 w 1494"/>
                <a:gd name="T27" fmla="*/ 1285 h 1575"/>
                <a:gd name="T28" fmla="*/ 1118 w 1494"/>
                <a:gd name="T29" fmla="*/ 1302 h 1575"/>
                <a:gd name="T30" fmla="*/ 1078 w 1494"/>
                <a:gd name="T31" fmla="*/ 1320 h 1575"/>
                <a:gd name="T32" fmla="*/ 1038 w 1494"/>
                <a:gd name="T33" fmla="*/ 1337 h 1575"/>
                <a:gd name="T34" fmla="*/ 995 w 1494"/>
                <a:gd name="T35" fmla="*/ 1353 h 1575"/>
                <a:gd name="T36" fmla="*/ 954 w 1494"/>
                <a:gd name="T37" fmla="*/ 1369 h 1575"/>
                <a:gd name="T38" fmla="*/ 910 w 1494"/>
                <a:gd name="T39" fmla="*/ 1385 h 1575"/>
                <a:gd name="T40" fmla="*/ 865 w 1494"/>
                <a:gd name="T41" fmla="*/ 1400 h 1575"/>
                <a:gd name="T42" fmla="*/ 820 w 1494"/>
                <a:gd name="T43" fmla="*/ 1415 h 1575"/>
                <a:gd name="T44" fmla="*/ 775 w 1494"/>
                <a:gd name="T45" fmla="*/ 1430 h 1575"/>
                <a:gd name="T46" fmla="*/ 728 w 1494"/>
                <a:gd name="T47" fmla="*/ 1444 h 1575"/>
                <a:gd name="T48" fmla="*/ 681 w 1494"/>
                <a:gd name="T49" fmla="*/ 1458 h 1575"/>
                <a:gd name="T50" fmla="*/ 632 w 1494"/>
                <a:gd name="T51" fmla="*/ 1470 h 1575"/>
                <a:gd name="T52" fmla="*/ 535 w 1494"/>
                <a:gd name="T53" fmla="*/ 1495 h 1575"/>
                <a:gd name="T54" fmla="*/ 433 w 1494"/>
                <a:gd name="T55" fmla="*/ 1518 h 1575"/>
                <a:gd name="T56" fmla="*/ 330 w 1494"/>
                <a:gd name="T57" fmla="*/ 1539 h 1575"/>
                <a:gd name="T58" fmla="*/ 223 w 1494"/>
                <a:gd name="T59" fmla="*/ 1559 h 1575"/>
                <a:gd name="T60" fmla="*/ 115 w 1494"/>
                <a:gd name="T61" fmla="*/ 1575 h 1575"/>
                <a:gd name="T62" fmla="*/ 115 w 1494"/>
                <a:gd name="T63" fmla="*/ 1575 h 1575"/>
                <a:gd name="T64" fmla="*/ 0 w 1494"/>
                <a:gd name="T65" fmla="*/ 413 h 1575"/>
                <a:gd name="T66" fmla="*/ 0 w 1494"/>
                <a:gd name="T67" fmla="*/ 413 h 1575"/>
                <a:gd name="T68" fmla="*/ 93 w 1494"/>
                <a:gd name="T69" fmla="*/ 398 h 1575"/>
                <a:gd name="T70" fmla="*/ 183 w 1494"/>
                <a:gd name="T71" fmla="*/ 381 h 1575"/>
                <a:gd name="T72" fmla="*/ 272 w 1494"/>
                <a:gd name="T73" fmla="*/ 364 h 1575"/>
                <a:gd name="T74" fmla="*/ 358 w 1494"/>
                <a:gd name="T75" fmla="*/ 345 h 1575"/>
                <a:gd name="T76" fmla="*/ 441 w 1494"/>
                <a:gd name="T77" fmla="*/ 323 h 1575"/>
                <a:gd name="T78" fmla="*/ 522 w 1494"/>
                <a:gd name="T79" fmla="*/ 301 h 1575"/>
                <a:gd name="T80" fmla="*/ 601 w 1494"/>
                <a:gd name="T81" fmla="*/ 276 h 1575"/>
                <a:gd name="T82" fmla="*/ 677 w 1494"/>
                <a:gd name="T83" fmla="*/ 251 h 1575"/>
                <a:gd name="T84" fmla="*/ 751 w 1494"/>
                <a:gd name="T85" fmla="*/ 224 h 1575"/>
                <a:gd name="T86" fmla="*/ 821 w 1494"/>
                <a:gd name="T87" fmla="*/ 196 h 1575"/>
                <a:gd name="T88" fmla="*/ 889 w 1494"/>
                <a:gd name="T89" fmla="*/ 166 h 1575"/>
                <a:gd name="T90" fmla="*/ 954 w 1494"/>
                <a:gd name="T91" fmla="*/ 135 h 1575"/>
                <a:gd name="T92" fmla="*/ 984 w 1494"/>
                <a:gd name="T93" fmla="*/ 120 h 1575"/>
                <a:gd name="T94" fmla="*/ 1014 w 1494"/>
                <a:gd name="T95" fmla="*/ 103 h 1575"/>
                <a:gd name="T96" fmla="*/ 1044 w 1494"/>
                <a:gd name="T97" fmla="*/ 86 h 1575"/>
                <a:gd name="T98" fmla="*/ 1072 w 1494"/>
                <a:gd name="T99" fmla="*/ 70 h 1575"/>
                <a:gd name="T100" fmla="*/ 1100 w 1494"/>
                <a:gd name="T101" fmla="*/ 53 h 1575"/>
                <a:gd name="T102" fmla="*/ 1126 w 1494"/>
                <a:gd name="T103" fmla="*/ 35 h 1575"/>
                <a:gd name="T104" fmla="*/ 1152 w 1494"/>
                <a:gd name="T105" fmla="*/ 18 h 1575"/>
                <a:gd name="T106" fmla="*/ 1177 w 1494"/>
                <a:gd name="T107" fmla="*/ 0 h 1575"/>
                <a:gd name="T108" fmla="*/ 1177 w 1494"/>
                <a:gd name="T109" fmla="*/ 0 h 1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94" h="1575">
                  <a:moveTo>
                    <a:pt x="1177" y="0"/>
                  </a:moveTo>
                  <a:lnTo>
                    <a:pt x="1177" y="0"/>
                  </a:lnTo>
                  <a:lnTo>
                    <a:pt x="1494" y="1089"/>
                  </a:lnTo>
                  <a:lnTo>
                    <a:pt x="1494" y="1089"/>
                  </a:lnTo>
                  <a:lnTo>
                    <a:pt x="1465" y="1111"/>
                  </a:lnTo>
                  <a:lnTo>
                    <a:pt x="1435" y="1131"/>
                  </a:lnTo>
                  <a:lnTo>
                    <a:pt x="1404" y="1151"/>
                  </a:lnTo>
                  <a:lnTo>
                    <a:pt x="1371" y="1171"/>
                  </a:lnTo>
                  <a:lnTo>
                    <a:pt x="1338" y="1191"/>
                  </a:lnTo>
                  <a:lnTo>
                    <a:pt x="1304" y="1211"/>
                  </a:lnTo>
                  <a:lnTo>
                    <a:pt x="1269" y="1230"/>
                  </a:lnTo>
                  <a:lnTo>
                    <a:pt x="1232" y="1248"/>
                  </a:lnTo>
                  <a:lnTo>
                    <a:pt x="1196" y="1267"/>
                  </a:lnTo>
                  <a:lnTo>
                    <a:pt x="1157" y="1285"/>
                  </a:lnTo>
                  <a:lnTo>
                    <a:pt x="1118" y="1302"/>
                  </a:lnTo>
                  <a:lnTo>
                    <a:pt x="1078" y="1320"/>
                  </a:lnTo>
                  <a:lnTo>
                    <a:pt x="1038" y="1337"/>
                  </a:lnTo>
                  <a:lnTo>
                    <a:pt x="995" y="1353"/>
                  </a:lnTo>
                  <a:lnTo>
                    <a:pt x="954" y="1369"/>
                  </a:lnTo>
                  <a:lnTo>
                    <a:pt x="910" y="1385"/>
                  </a:lnTo>
                  <a:lnTo>
                    <a:pt x="865" y="1400"/>
                  </a:lnTo>
                  <a:lnTo>
                    <a:pt x="820" y="1415"/>
                  </a:lnTo>
                  <a:lnTo>
                    <a:pt x="775" y="1430"/>
                  </a:lnTo>
                  <a:lnTo>
                    <a:pt x="728" y="1444"/>
                  </a:lnTo>
                  <a:lnTo>
                    <a:pt x="681" y="1458"/>
                  </a:lnTo>
                  <a:lnTo>
                    <a:pt x="632" y="1470"/>
                  </a:lnTo>
                  <a:lnTo>
                    <a:pt x="535" y="1495"/>
                  </a:lnTo>
                  <a:lnTo>
                    <a:pt x="433" y="1518"/>
                  </a:lnTo>
                  <a:lnTo>
                    <a:pt x="330" y="1539"/>
                  </a:lnTo>
                  <a:lnTo>
                    <a:pt x="223" y="1559"/>
                  </a:lnTo>
                  <a:lnTo>
                    <a:pt x="115" y="1575"/>
                  </a:lnTo>
                  <a:lnTo>
                    <a:pt x="115" y="1575"/>
                  </a:lnTo>
                  <a:lnTo>
                    <a:pt x="0" y="413"/>
                  </a:lnTo>
                  <a:lnTo>
                    <a:pt x="0" y="413"/>
                  </a:lnTo>
                  <a:lnTo>
                    <a:pt x="93" y="398"/>
                  </a:lnTo>
                  <a:lnTo>
                    <a:pt x="183" y="381"/>
                  </a:lnTo>
                  <a:lnTo>
                    <a:pt x="272" y="364"/>
                  </a:lnTo>
                  <a:lnTo>
                    <a:pt x="358" y="345"/>
                  </a:lnTo>
                  <a:lnTo>
                    <a:pt x="441" y="323"/>
                  </a:lnTo>
                  <a:lnTo>
                    <a:pt x="522" y="301"/>
                  </a:lnTo>
                  <a:lnTo>
                    <a:pt x="601" y="276"/>
                  </a:lnTo>
                  <a:lnTo>
                    <a:pt x="677" y="251"/>
                  </a:lnTo>
                  <a:lnTo>
                    <a:pt x="751" y="224"/>
                  </a:lnTo>
                  <a:lnTo>
                    <a:pt x="821" y="196"/>
                  </a:lnTo>
                  <a:lnTo>
                    <a:pt x="889" y="166"/>
                  </a:lnTo>
                  <a:lnTo>
                    <a:pt x="954" y="135"/>
                  </a:lnTo>
                  <a:lnTo>
                    <a:pt x="984" y="120"/>
                  </a:lnTo>
                  <a:lnTo>
                    <a:pt x="1014" y="103"/>
                  </a:lnTo>
                  <a:lnTo>
                    <a:pt x="1044" y="86"/>
                  </a:lnTo>
                  <a:lnTo>
                    <a:pt x="1072" y="70"/>
                  </a:lnTo>
                  <a:lnTo>
                    <a:pt x="1100" y="53"/>
                  </a:lnTo>
                  <a:lnTo>
                    <a:pt x="1126" y="35"/>
                  </a:lnTo>
                  <a:lnTo>
                    <a:pt x="1152" y="18"/>
                  </a:lnTo>
                  <a:lnTo>
                    <a:pt x="1177" y="0"/>
                  </a:lnTo>
                  <a:lnTo>
                    <a:pt x="1177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1" name="Freeform 32"/>
            <p:cNvSpPr>
              <a:spLocks/>
            </p:cNvSpPr>
            <p:nvPr/>
          </p:nvSpPr>
          <p:spPr bwMode="auto">
            <a:xfrm flipH="1">
              <a:off x="5353643" y="2974414"/>
              <a:ext cx="239957" cy="223156"/>
            </a:xfrm>
            <a:custGeom>
              <a:avLst/>
              <a:gdLst>
                <a:gd name="T0" fmla="*/ 0 w 1297"/>
                <a:gd name="T1" fmla="*/ 327 h 1560"/>
                <a:gd name="T2" fmla="*/ 0 w 1297"/>
                <a:gd name="T3" fmla="*/ 327 h 1560"/>
                <a:gd name="T4" fmla="*/ 74 w 1297"/>
                <a:gd name="T5" fmla="*/ 316 h 1560"/>
                <a:gd name="T6" fmla="*/ 147 w 1297"/>
                <a:gd name="T7" fmla="*/ 303 h 1560"/>
                <a:gd name="T8" fmla="*/ 219 w 1297"/>
                <a:gd name="T9" fmla="*/ 288 h 1560"/>
                <a:gd name="T10" fmla="*/ 290 w 1297"/>
                <a:gd name="T11" fmla="*/ 273 h 1560"/>
                <a:gd name="T12" fmla="*/ 357 w 1297"/>
                <a:gd name="T13" fmla="*/ 256 h 1560"/>
                <a:gd name="T14" fmla="*/ 424 w 1297"/>
                <a:gd name="T15" fmla="*/ 238 h 1560"/>
                <a:gd name="T16" fmla="*/ 488 w 1297"/>
                <a:gd name="T17" fmla="*/ 220 h 1560"/>
                <a:gd name="T18" fmla="*/ 550 w 1297"/>
                <a:gd name="T19" fmla="*/ 199 h 1560"/>
                <a:gd name="T20" fmla="*/ 610 w 1297"/>
                <a:gd name="T21" fmla="*/ 178 h 1560"/>
                <a:gd name="T22" fmla="*/ 668 w 1297"/>
                <a:gd name="T23" fmla="*/ 155 h 1560"/>
                <a:gd name="T24" fmla="*/ 723 w 1297"/>
                <a:gd name="T25" fmla="*/ 132 h 1560"/>
                <a:gd name="T26" fmla="*/ 776 w 1297"/>
                <a:gd name="T27" fmla="*/ 107 h 1560"/>
                <a:gd name="T28" fmla="*/ 827 w 1297"/>
                <a:gd name="T29" fmla="*/ 82 h 1560"/>
                <a:gd name="T30" fmla="*/ 875 w 1297"/>
                <a:gd name="T31" fmla="*/ 55 h 1560"/>
                <a:gd name="T32" fmla="*/ 921 w 1297"/>
                <a:gd name="T33" fmla="*/ 28 h 1560"/>
                <a:gd name="T34" fmla="*/ 963 w 1297"/>
                <a:gd name="T35" fmla="*/ 0 h 1560"/>
                <a:gd name="T36" fmla="*/ 963 w 1297"/>
                <a:gd name="T37" fmla="*/ 0 h 1560"/>
                <a:gd name="T38" fmla="*/ 1297 w 1297"/>
                <a:gd name="T39" fmla="*/ 1147 h 1560"/>
                <a:gd name="T40" fmla="*/ 1297 w 1297"/>
                <a:gd name="T41" fmla="*/ 1147 h 1560"/>
                <a:gd name="T42" fmla="*/ 1272 w 1297"/>
                <a:gd name="T43" fmla="*/ 1165 h 1560"/>
                <a:gd name="T44" fmla="*/ 1246 w 1297"/>
                <a:gd name="T45" fmla="*/ 1182 h 1560"/>
                <a:gd name="T46" fmla="*/ 1220 w 1297"/>
                <a:gd name="T47" fmla="*/ 1200 h 1560"/>
                <a:gd name="T48" fmla="*/ 1192 w 1297"/>
                <a:gd name="T49" fmla="*/ 1217 h 1560"/>
                <a:gd name="T50" fmla="*/ 1164 w 1297"/>
                <a:gd name="T51" fmla="*/ 1233 h 1560"/>
                <a:gd name="T52" fmla="*/ 1134 w 1297"/>
                <a:gd name="T53" fmla="*/ 1250 h 1560"/>
                <a:gd name="T54" fmla="*/ 1104 w 1297"/>
                <a:gd name="T55" fmla="*/ 1267 h 1560"/>
                <a:gd name="T56" fmla="*/ 1074 w 1297"/>
                <a:gd name="T57" fmla="*/ 1282 h 1560"/>
                <a:gd name="T58" fmla="*/ 1009 w 1297"/>
                <a:gd name="T59" fmla="*/ 1313 h 1560"/>
                <a:gd name="T60" fmla="*/ 941 w 1297"/>
                <a:gd name="T61" fmla="*/ 1343 h 1560"/>
                <a:gd name="T62" fmla="*/ 871 w 1297"/>
                <a:gd name="T63" fmla="*/ 1371 h 1560"/>
                <a:gd name="T64" fmla="*/ 797 w 1297"/>
                <a:gd name="T65" fmla="*/ 1398 h 1560"/>
                <a:gd name="T66" fmla="*/ 721 w 1297"/>
                <a:gd name="T67" fmla="*/ 1423 h 1560"/>
                <a:gd name="T68" fmla="*/ 642 w 1297"/>
                <a:gd name="T69" fmla="*/ 1448 h 1560"/>
                <a:gd name="T70" fmla="*/ 561 w 1297"/>
                <a:gd name="T71" fmla="*/ 1470 h 1560"/>
                <a:gd name="T72" fmla="*/ 478 w 1297"/>
                <a:gd name="T73" fmla="*/ 1492 h 1560"/>
                <a:gd name="T74" fmla="*/ 392 w 1297"/>
                <a:gd name="T75" fmla="*/ 1511 h 1560"/>
                <a:gd name="T76" fmla="*/ 303 w 1297"/>
                <a:gd name="T77" fmla="*/ 1528 h 1560"/>
                <a:gd name="T78" fmla="*/ 213 w 1297"/>
                <a:gd name="T79" fmla="*/ 1545 h 1560"/>
                <a:gd name="T80" fmla="*/ 120 w 1297"/>
                <a:gd name="T81" fmla="*/ 1560 h 1560"/>
                <a:gd name="T82" fmla="*/ 120 w 1297"/>
                <a:gd name="T83" fmla="*/ 1560 h 1560"/>
                <a:gd name="T84" fmla="*/ 0 w 1297"/>
                <a:gd name="T85" fmla="*/ 327 h 1560"/>
                <a:gd name="T86" fmla="*/ 0 w 1297"/>
                <a:gd name="T87" fmla="*/ 327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97" h="1560">
                  <a:moveTo>
                    <a:pt x="0" y="327"/>
                  </a:moveTo>
                  <a:lnTo>
                    <a:pt x="0" y="327"/>
                  </a:lnTo>
                  <a:lnTo>
                    <a:pt x="74" y="316"/>
                  </a:lnTo>
                  <a:lnTo>
                    <a:pt x="147" y="303"/>
                  </a:lnTo>
                  <a:lnTo>
                    <a:pt x="219" y="288"/>
                  </a:lnTo>
                  <a:lnTo>
                    <a:pt x="290" y="273"/>
                  </a:lnTo>
                  <a:lnTo>
                    <a:pt x="357" y="256"/>
                  </a:lnTo>
                  <a:lnTo>
                    <a:pt x="424" y="238"/>
                  </a:lnTo>
                  <a:lnTo>
                    <a:pt x="488" y="220"/>
                  </a:lnTo>
                  <a:lnTo>
                    <a:pt x="550" y="199"/>
                  </a:lnTo>
                  <a:lnTo>
                    <a:pt x="610" y="178"/>
                  </a:lnTo>
                  <a:lnTo>
                    <a:pt x="668" y="155"/>
                  </a:lnTo>
                  <a:lnTo>
                    <a:pt x="723" y="132"/>
                  </a:lnTo>
                  <a:lnTo>
                    <a:pt x="776" y="107"/>
                  </a:lnTo>
                  <a:lnTo>
                    <a:pt x="827" y="82"/>
                  </a:lnTo>
                  <a:lnTo>
                    <a:pt x="875" y="55"/>
                  </a:lnTo>
                  <a:lnTo>
                    <a:pt x="921" y="28"/>
                  </a:lnTo>
                  <a:lnTo>
                    <a:pt x="963" y="0"/>
                  </a:lnTo>
                  <a:lnTo>
                    <a:pt x="963" y="0"/>
                  </a:lnTo>
                  <a:lnTo>
                    <a:pt x="1297" y="1147"/>
                  </a:lnTo>
                  <a:lnTo>
                    <a:pt x="1297" y="1147"/>
                  </a:lnTo>
                  <a:lnTo>
                    <a:pt x="1272" y="1165"/>
                  </a:lnTo>
                  <a:lnTo>
                    <a:pt x="1246" y="1182"/>
                  </a:lnTo>
                  <a:lnTo>
                    <a:pt x="1220" y="1200"/>
                  </a:lnTo>
                  <a:lnTo>
                    <a:pt x="1192" y="1217"/>
                  </a:lnTo>
                  <a:lnTo>
                    <a:pt x="1164" y="1233"/>
                  </a:lnTo>
                  <a:lnTo>
                    <a:pt x="1134" y="1250"/>
                  </a:lnTo>
                  <a:lnTo>
                    <a:pt x="1104" y="1267"/>
                  </a:lnTo>
                  <a:lnTo>
                    <a:pt x="1074" y="1282"/>
                  </a:lnTo>
                  <a:lnTo>
                    <a:pt x="1009" y="1313"/>
                  </a:lnTo>
                  <a:lnTo>
                    <a:pt x="941" y="1343"/>
                  </a:lnTo>
                  <a:lnTo>
                    <a:pt x="871" y="1371"/>
                  </a:lnTo>
                  <a:lnTo>
                    <a:pt x="797" y="1398"/>
                  </a:lnTo>
                  <a:lnTo>
                    <a:pt x="721" y="1423"/>
                  </a:lnTo>
                  <a:lnTo>
                    <a:pt x="642" y="1448"/>
                  </a:lnTo>
                  <a:lnTo>
                    <a:pt x="561" y="1470"/>
                  </a:lnTo>
                  <a:lnTo>
                    <a:pt x="478" y="1492"/>
                  </a:lnTo>
                  <a:lnTo>
                    <a:pt x="392" y="1511"/>
                  </a:lnTo>
                  <a:lnTo>
                    <a:pt x="303" y="1528"/>
                  </a:lnTo>
                  <a:lnTo>
                    <a:pt x="213" y="1545"/>
                  </a:lnTo>
                  <a:lnTo>
                    <a:pt x="120" y="1560"/>
                  </a:lnTo>
                  <a:lnTo>
                    <a:pt x="120" y="1560"/>
                  </a:lnTo>
                  <a:lnTo>
                    <a:pt x="0" y="327"/>
                  </a:lnTo>
                  <a:lnTo>
                    <a:pt x="0" y="327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2" name="Freeform 33"/>
            <p:cNvSpPr>
              <a:spLocks/>
            </p:cNvSpPr>
            <p:nvPr/>
          </p:nvSpPr>
          <p:spPr bwMode="auto">
            <a:xfrm flipH="1">
              <a:off x="5473621" y="2655804"/>
              <a:ext cx="162551" cy="199938"/>
            </a:xfrm>
            <a:custGeom>
              <a:avLst/>
              <a:gdLst>
                <a:gd name="T0" fmla="*/ 0 w 885"/>
                <a:gd name="T1" fmla="*/ 148 h 1393"/>
                <a:gd name="T2" fmla="*/ 0 w 885"/>
                <a:gd name="T3" fmla="*/ 148 h 1393"/>
                <a:gd name="T4" fmla="*/ 40 w 885"/>
                <a:gd name="T5" fmla="*/ 143 h 1393"/>
                <a:gd name="T6" fmla="*/ 80 w 885"/>
                <a:gd name="T7" fmla="*/ 137 h 1393"/>
                <a:gd name="T8" fmla="*/ 118 w 885"/>
                <a:gd name="T9" fmla="*/ 131 h 1393"/>
                <a:gd name="T10" fmla="*/ 157 w 885"/>
                <a:gd name="T11" fmla="*/ 123 h 1393"/>
                <a:gd name="T12" fmla="*/ 194 w 885"/>
                <a:gd name="T13" fmla="*/ 116 h 1393"/>
                <a:gd name="T14" fmla="*/ 231 w 885"/>
                <a:gd name="T15" fmla="*/ 108 h 1393"/>
                <a:gd name="T16" fmla="*/ 267 w 885"/>
                <a:gd name="T17" fmla="*/ 99 h 1393"/>
                <a:gd name="T18" fmla="*/ 302 w 885"/>
                <a:gd name="T19" fmla="*/ 90 h 1393"/>
                <a:gd name="T20" fmla="*/ 337 w 885"/>
                <a:gd name="T21" fmla="*/ 81 h 1393"/>
                <a:gd name="T22" fmla="*/ 371 w 885"/>
                <a:gd name="T23" fmla="*/ 70 h 1393"/>
                <a:gd name="T24" fmla="*/ 404 w 885"/>
                <a:gd name="T25" fmla="*/ 60 h 1393"/>
                <a:gd name="T26" fmla="*/ 435 w 885"/>
                <a:gd name="T27" fmla="*/ 49 h 1393"/>
                <a:gd name="T28" fmla="*/ 466 w 885"/>
                <a:gd name="T29" fmla="*/ 38 h 1393"/>
                <a:gd name="T30" fmla="*/ 497 w 885"/>
                <a:gd name="T31" fmla="*/ 25 h 1393"/>
                <a:gd name="T32" fmla="*/ 526 w 885"/>
                <a:gd name="T33" fmla="*/ 13 h 1393"/>
                <a:gd name="T34" fmla="*/ 554 w 885"/>
                <a:gd name="T35" fmla="*/ 0 h 1393"/>
                <a:gd name="T36" fmla="*/ 554 w 885"/>
                <a:gd name="T37" fmla="*/ 0 h 1393"/>
                <a:gd name="T38" fmla="*/ 885 w 885"/>
                <a:gd name="T39" fmla="*/ 1141 h 1393"/>
                <a:gd name="T40" fmla="*/ 885 w 885"/>
                <a:gd name="T41" fmla="*/ 1141 h 1393"/>
                <a:gd name="T42" fmla="*/ 851 w 885"/>
                <a:gd name="T43" fmla="*/ 1163 h 1393"/>
                <a:gd name="T44" fmla="*/ 814 w 885"/>
                <a:gd name="T45" fmla="*/ 1184 h 1393"/>
                <a:gd name="T46" fmla="*/ 775 w 885"/>
                <a:gd name="T47" fmla="*/ 1204 h 1393"/>
                <a:gd name="T48" fmla="*/ 735 w 885"/>
                <a:gd name="T49" fmla="*/ 1224 h 1393"/>
                <a:gd name="T50" fmla="*/ 692 w 885"/>
                <a:gd name="T51" fmla="*/ 1242 h 1393"/>
                <a:gd name="T52" fmla="*/ 648 w 885"/>
                <a:gd name="T53" fmla="*/ 1261 h 1393"/>
                <a:gd name="T54" fmla="*/ 603 w 885"/>
                <a:gd name="T55" fmla="*/ 1278 h 1393"/>
                <a:gd name="T56" fmla="*/ 555 w 885"/>
                <a:gd name="T57" fmla="*/ 1294 h 1393"/>
                <a:gd name="T58" fmla="*/ 506 w 885"/>
                <a:gd name="T59" fmla="*/ 1310 h 1393"/>
                <a:gd name="T60" fmla="*/ 455 w 885"/>
                <a:gd name="T61" fmla="*/ 1325 h 1393"/>
                <a:gd name="T62" fmla="*/ 403 w 885"/>
                <a:gd name="T63" fmla="*/ 1338 h 1393"/>
                <a:gd name="T64" fmla="*/ 349 w 885"/>
                <a:gd name="T65" fmla="*/ 1352 h 1393"/>
                <a:gd name="T66" fmla="*/ 294 w 885"/>
                <a:gd name="T67" fmla="*/ 1363 h 1393"/>
                <a:gd name="T68" fmla="*/ 238 w 885"/>
                <a:gd name="T69" fmla="*/ 1374 h 1393"/>
                <a:gd name="T70" fmla="*/ 180 w 885"/>
                <a:gd name="T71" fmla="*/ 1384 h 1393"/>
                <a:gd name="T72" fmla="*/ 122 w 885"/>
                <a:gd name="T73" fmla="*/ 1393 h 1393"/>
                <a:gd name="T74" fmla="*/ 122 w 885"/>
                <a:gd name="T75" fmla="*/ 1393 h 1393"/>
                <a:gd name="T76" fmla="*/ 0 w 885"/>
                <a:gd name="T77" fmla="*/ 148 h 1393"/>
                <a:gd name="T78" fmla="*/ 0 w 885"/>
                <a:gd name="T79" fmla="*/ 148 h 1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85" h="1393">
                  <a:moveTo>
                    <a:pt x="0" y="148"/>
                  </a:moveTo>
                  <a:lnTo>
                    <a:pt x="0" y="148"/>
                  </a:lnTo>
                  <a:lnTo>
                    <a:pt x="40" y="143"/>
                  </a:lnTo>
                  <a:lnTo>
                    <a:pt x="80" y="137"/>
                  </a:lnTo>
                  <a:lnTo>
                    <a:pt x="118" y="131"/>
                  </a:lnTo>
                  <a:lnTo>
                    <a:pt x="157" y="123"/>
                  </a:lnTo>
                  <a:lnTo>
                    <a:pt x="194" y="116"/>
                  </a:lnTo>
                  <a:lnTo>
                    <a:pt x="231" y="108"/>
                  </a:lnTo>
                  <a:lnTo>
                    <a:pt x="267" y="99"/>
                  </a:lnTo>
                  <a:lnTo>
                    <a:pt x="302" y="90"/>
                  </a:lnTo>
                  <a:lnTo>
                    <a:pt x="337" y="81"/>
                  </a:lnTo>
                  <a:lnTo>
                    <a:pt x="371" y="70"/>
                  </a:lnTo>
                  <a:lnTo>
                    <a:pt x="404" y="60"/>
                  </a:lnTo>
                  <a:lnTo>
                    <a:pt x="435" y="49"/>
                  </a:lnTo>
                  <a:lnTo>
                    <a:pt x="466" y="38"/>
                  </a:lnTo>
                  <a:lnTo>
                    <a:pt x="497" y="25"/>
                  </a:lnTo>
                  <a:lnTo>
                    <a:pt x="526" y="13"/>
                  </a:lnTo>
                  <a:lnTo>
                    <a:pt x="554" y="0"/>
                  </a:lnTo>
                  <a:lnTo>
                    <a:pt x="554" y="0"/>
                  </a:lnTo>
                  <a:lnTo>
                    <a:pt x="885" y="1141"/>
                  </a:lnTo>
                  <a:lnTo>
                    <a:pt x="885" y="1141"/>
                  </a:lnTo>
                  <a:lnTo>
                    <a:pt x="851" y="1163"/>
                  </a:lnTo>
                  <a:lnTo>
                    <a:pt x="814" y="1184"/>
                  </a:lnTo>
                  <a:lnTo>
                    <a:pt x="775" y="1204"/>
                  </a:lnTo>
                  <a:lnTo>
                    <a:pt x="735" y="1224"/>
                  </a:lnTo>
                  <a:lnTo>
                    <a:pt x="692" y="1242"/>
                  </a:lnTo>
                  <a:lnTo>
                    <a:pt x="648" y="1261"/>
                  </a:lnTo>
                  <a:lnTo>
                    <a:pt x="603" y="1278"/>
                  </a:lnTo>
                  <a:lnTo>
                    <a:pt x="555" y="1294"/>
                  </a:lnTo>
                  <a:lnTo>
                    <a:pt x="506" y="1310"/>
                  </a:lnTo>
                  <a:lnTo>
                    <a:pt x="455" y="1325"/>
                  </a:lnTo>
                  <a:lnTo>
                    <a:pt x="403" y="1338"/>
                  </a:lnTo>
                  <a:lnTo>
                    <a:pt x="349" y="1352"/>
                  </a:lnTo>
                  <a:lnTo>
                    <a:pt x="294" y="1363"/>
                  </a:lnTo>
                  <a:lnTo>
                    <a:pt x="238" y="1374"/>
                  </a:lnTo>
                  <a:lnTo>
                    <a:pt x="180" y="1384"/>
                  </a:lnTo>
                  <a:lnTo>
                    <a:pt x="122" y="1393"/>
                  </a:lnTo>
                  <a:lnTo>
                    <a:pt x="122" y="1393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3" name="Freeform 34"/>
            <p:cNvSpPr>
              <a:spLocks/>
            </p:cNvSpPr>
            <p:nvPr/>
          </p:nvSpPr>
          <p:spPr bwMode="auto">
            <a:xfrm flipH="1">
              <a:off x="6086414" y="3486511"/>
              <a:ext cx="20641" cy="6450"/>
            </a:xfrm>
            <a:custGeom>
              <a:avLst/>
              <a:gdLst>
                <a:gd name="T0" fmla="*/ 1 w 108"/>
                <a:gd name="T1" fmla="*/ 1 h 48"/>
                <a:gd name="T2" fmla="*/ 2 w 108"/>
                <a:gd name="T3" fmla="*/ 0 h 48"/>
                <a:gd name="T4" fmla="*/ 2 w 108"/>
                <a:gd name="T5" fmla="*/ 0 h 48"/>
                <a:gd name="T6" fmla="*/ 54 w 108"/>
                <a:gd name="T7" fmla="*/ 22 h 48"/>
                <a:gd name="T8" fmla="*/ 108 w 108"/>
                <a:gd name="T9" fmla="*/ 44 h 48"/>
                <a:gd name="T10" fmla="*/ 106 w 108"/>
                <a:gd name="T11" fmla="*/ 48 h 48"/>
                <a:gd name="T12" fmla="*/ 106 w 108"/>
                <a:gd name="T13" fmla="*/ 48 h 48"/>
                <a:gd name="T14" fmla="*/ 54 w 108"/>
                <a:gd name="T15" fmla="*/ 26 h 48"/>
                <a:gd name="T16" fmla="*/ 0 w 108"/>
                <a:gd name="T17" fmla="*/ 3 h 48"/>
                <a:gd name="T18" fmla="*/ 2 w 108"/>
                <a:gd name="T19" fmla="*/ 0 h 48"/>
                <a:gd name="T20" fmla="*/ 1 w 108"/>
                <a:gd name="T21" fmla="*/ 1 h 48"/>
                <a:gd name="T22" fmla="*/ 2 w 108"/>
                <a:gd name="T23" fmla="*/ 0 h 48"/>
                <a:gd name="T24" fmla="*/ 2 w 108"/>
                <a:gd name="T25" fmla="*/ 0 h 48"/>
                <a:gd name="T26" fmla="*/ 55 w 108"/>
                <a:gd name="T27" fmla="*/ 23 h 48"/>
                <a:gd name="T28" fmla="*/ 107 w 108"/>
                <a:gd name="T29" fmla="*/ 44 h 48"/>
                <a:gd name="T30" fmla="*/ 107 w 108"/>
                <a:gd name="T31" fmla="*/ 46 h 48"/>
                <a:gd name="T32" fmla="*/ 106 w 108"/>
                <a:gd name="T33" fmla="*/ 47 h 48"/>
                <a:gd name="T34" fmla="*/ 106 w 108"/>
                <a:gd name="T35" fmla="*/ 47 h 48"/>
                <a:gd name="T36" fmla="*/ 53 w 108"/>
                <a:gd name="T37" fmla="*/ 25 h 48"/>
                <a:gd name="T38" fmla="*/ 0 w 108"/>
                <a:gd name="T39" fmla="*/ 3 h 48"/>
                <a:gd name="T40" fmla="*/ 1 w 108"/>
                <a:gd name="T41" fmla="*/ 1 h 48"/>
                <a:gd name="T42" fmla="*/ 2 w 108"/>
                <a:gd name="T43" fmla="*/ 0 h 48"/>
                <a:gd name="T44" fmla="*/ 1 w 108"/>
                <a:gd name="T45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48">
                  <a:moveTo>
                    <a:pt x="1" y="1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54" y="22"/>
                  </a:lnTo>
                  <a:lnTo>
                    <a:pt x="108" y="44"/>
                  </a:lnTo>
                  <a:lnTo>
                    <a:pt x="106" y="48"/>
                  </a:lnTo>
                  <a:lnTo>
                    <a:pt x="106" y="48"/>
                  </a:lnTo>
                  <a:lnTo>
                    <a:pt x="54" y="26"/>
                  </a:lnTo>
                  <a:lnTo>
                    <a:pt x="0" y="3"/>
                  </a:lnTo>
                  <a:lnTo>
                    <a:pt x="2" y="0"/>
                  </a:lnTo>
                  <a:lnTo>
                    <a:pt x="1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55" y="23"/>
                  </a:lnTo>
                  <a:lnTo>
                    <a:pt x="107" y="44"/>
                  </a:lnTo>
                  <a:lnTo>
                    <a:pt x="107" y="46"/>
                  </a:lnTo>
                  <a:lnTo>
                    <a:pt x="106" y="47"/>
                  </a:lnTo>
                  <a:lnTo>
                    <a:pt x="106" y="47"/>
                  </a:lnTo>
                  <a:lnTo>
                    <a:pt x="53" y="25"/>
                  </a:lnTo>
                  <a:lnTo>
                    <a:pt x="0" y="3"/>
                  </a:lnTo>
                  <a:lnTo>
                    <a:pt x="1" y="1"/>
                  </a:lnTo>
                  <a:lnTo>
                    <a:pt x="2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4" name="Freeform 35"/>
            <p:cNvSpPr>
              <a:spLocks/>
            </p:cNvSpPr>
            <p:nvPr/>
          </p:nvSpPr>
          <p:spPr bwMode="auto">
            <a:xfrm flipH="1">
              <a:off x="6159949" y="3464583"/>
              <a:ext cx="1290" cy="0"/>
            </a:xfrm>
            <a:custGeom>
              <a:avLst/>
              <a:gdLst>
                <a:gd name="T0" fmla="*/ 1 w 3"/>
                <a:gd name="T1" fmla="*/ 2 h 5"/>
                <a:gd name="T2" fmla="*/ 0 w 3"/>
                <a:gd name="T3" fmla="*/ 2 h 5"/>
                <a:gd name="T4" fmla="*/ 0 w 3"/>
                <a:gd name="T5" fmla="*/ 2 h 5"/>
                <a:gd name="T6" fmla="*/ 0 w 3"/>
                <a:gd name="T7" fmla="*/ 0 h 5"/>
                <a:gd name="T8" fmla="*/ 3 w 3"/>
                <a:gd name="T9" fmla="*/ 1 h 5"/>
                <a:gd name="T10" fmla="*/ 1 w 3"/>
                <a:gd name="T11" fmla="*/ 5 h 5"/>
                <a:gd name="T12" fmla="*/ 1 w 3"/>
                <a:gd name="T13" fmla="*/ 5 h 5"/>
                <a:gd name="T14" fmla="*/ 0 w 3"/>
                <a:gd name="T15" fmla="*/ 5 h 5"/>
                <a:gd name="T16" fmla="*/ 0 w 3"/>
                <a:gd name="T17" fmla="*/ 2 h 5"/>
                <a:gd name="T18" fmla="*/ 1 w 3"/>
                <a:gd name="T19" fmla="*/ 2 h 5"/>
                <a:gd name="T20" fmla="*/ 2 w 3"/>
                <a:gd name="T21" fmla="*/ 1 h 5"/>
                <a:gd name="T22" fmla="*/ 2 w 3"/>
                <a:gd name="T23" fmla="*/ 1 h 5"/>
                <a:gd name="T24" fmla="*/ 2 w 3"/>
                <a:gd name="T25" fmla="*/ 4 h 5"/>
                <a:gd name="T26" fmla="*/ 1 w 3"/>
                <a:gd name="T27" fmla="*/ 5 h 5"/>
                <a:gd name="T28" fmla="*/ 0 w 3"/>
                <a:gd name="T29" fmla="*/ 5 h 5"/>
                <a:gd name="T30" fmla="*/ 1 w 3"/>
                <a:gd name="T31" fmla="*/ 2 h 5"/>
                <a:gd name="T32" fmla="*/ 3 w 3"/>
                <a:gd name="T33" fmla="*/ 2 h 5"/>
                <a:gd name="T34" fmla="*/ 3 w 3"/>
                <a:gd name="T35" fmla="*/ 2 h 5"/>
                <a:gd name="T36" fmla="*/ 1 w 3"/>
                <a:gd name="T37" fmla="*/ 2 h 5"/>
                <a:gd name="T38" fmla="*/ 2 w 3"/>
                <a:gd name="T39" fmla="*/ 1 h 5"/>
                <a:gd name="T40" fmla="*/ 1 w 3"/>
                <a:gd name="T4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" h="5">
                  <a:moveTo>
                    <a:pt x="1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1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5" name="Freeform 36"/>
            <p:cNvSpPr>
              <a:spLocks/>
            </p:cNvSpPr>
            <p:nvPr/>
          </p:nvSpPr>
          <p:spPr bwMode="auto">
            <a:xfrm flipH="1">
              <a:off x="5572958" y="2381052"/>
              <a:ext cx="252858" cy="127702"/>
            </a:xfrm>
            <a:custGeom>
              <a:avLst/>
              <a:gdLst>
                <a:gd name="T0" fmla="*/ 1214 w 1373"/>
                <a:gd name="T1" fmla="*/ 641 h 892"/>
                <a:gd name="T2" fmla="*/ 1189 w 1373"/>
                <a:gd name="T3" fmla="*/ 554 h 892"/>
                <a:gd name="T4" fmla="*/ 1159 w 1373"/>
                <a:gd name="T5" fmla="*/ 488 h 892"/>
                <a:gd name="T6" fmla="*/ 1119 w 1373"/>
                <a:gd name="T7" fmla="*/ 441 h 892"/>
                <a:gd name="T8" fmla="*/ 1071 w 1373"/>
                <a:gd name="T9" fmla="*/ 414 h 892"/>
                <a:gd name="T10" fmla="*/ 1017 w 1373"/>
                <a:gd name="T11" fmla="*/ 406 h 892"/>
                <a:gd name="T12" fmla="*/ 960 w 1373"/>
                <a:gd name="T13" fmla="*/ 415 h 892"/>
                <a:gd name="T14" fmla="*/ 942 w 1373"/>
                <a:gd name="T15" fmla="*/ 423 h 892"/>
                <a:gd name="T16" fmla="*/ 922 w 1373"/>
                <a:gd name="T17" fmla="*/ 440 h 892"/>
                <a:gd name="T18" fmla="*/ 906 w 1373"/>
                <a:gd name="T19" fmla="*/ 464 h 892"/>
                <a:gd name="T20" fmla="*/ 895 w 1373"/>
                <a:gd name="T21" fmla="*/ 502 h 892"/>
                <a:gd name="T22" fmla="*/ 888 w 1373"/>
                <a:gd name="T23" fmla="*/ 573 h 892"/>
                <a:gd name="T24" fmla="*/ 892 w 1373"/>
                <a:gd name="T25" fmla="*/ 650 h 892"/>
                <a:gd name="T26" fmla="*/ 902 w 1373"/>
                <a:gd name="T27" fmla="*/ 751 h 892"/>
                <a:gd name="T28" fmla="*/ 860 w 1373"/>
                <a:gd name="T29" fmla="*/ 884 h 892"/>
                <a:gd name="T30" fmla="*/ 693 w 1373"/>
                <a:gd name="T31" fmla="*/ 892 h 892"/>
                <a:gd name="T32" fmla="*/ 573 w 1373"/>
                <a:gd name="T33" fmla="*/ 888 h 892"/>
                <a:gd name="T34" fmla="*/ 407 w 1373"/>
                <a:gd name="T35" fmla="*/ 867 h 892"/>
                <a:gd name="T36" fmla="*/ 259 w 1373"/>
                <a:gd name="T37" fmla="*/ 831 h 892"/>
                <a:gd name="T38" fmla="*/ 155 w 1373"/>
                <a:gd name="T39" fmla="*/ 790 h 892"/>
                <a:gd name="T40" fmla="*/ 102 w 1373"/>
                <a:gd name="T41" fmla="*/ 762 h 892"/>
                <a:gd name="T42" fmla="*/ 57 w 1373"/>
                <a:gd name="T43" fmla="*/ 731 h 892"/>
                <a:gd name="T44" fmla="*/ 20 w 1373"/>
                <a:gd name="T45" fmla="*/ 697 h 892"/>
                <a:gd name="T46" fmla="*/ 0 w 1373"/>
                <a:gd name="T47" fmla="*/ 674 h 892"/>
                <a:gd name="T48" fmla="*/ 91 w 1373"/>
                <a:gd name="T49" fmla="*/ 426 h 892"/>
                <a:gd name="T50" fmla="*/ 112 w 1373"/>
                <a:gd name="T51" fmla="*/ 360 h 892"/>
                <a:gd name="T52" fmla="*/ 142 w 1373"/>
                <a:gd name="T53" fmla="*/ 297 h 892"/>
                <a:gd name="T54" fmla="*/ 180 w 1373"/>
                <a:gd name="T55" fmla="*/ 238 h 892"/>
                <a:gd name="T56" fmla="*/ 227 w 1373"/>
                <a:gd name="T57" fmla="*/ 185 h 892"/>
                <a:gd name="T58" fmla="*/ 280 w 1373"/>
                <a:gd name="T59" fmla="*/ 137 h 892"/>
                <a:gd name="T60" fmla="*/ 339 w 1373"/>
                <a:gd name="T61" fmla="*/ 95 h 892"/>
                <a:gd name="T62" fmla="*/ 405 w 1373"/>
                <a:gd name="T63" fmla="*/ 60 h 892"/>
                <a:gd name="T64" fmla="*/ 476 w 1373"/>
                <a:gd name="T65" fmla="*/ 33 h 892"/>
                <a:gd name="T66" fmla="*/ 550 w 1373"/>
                <a:gd name="T67" fmla="*/ 13 h 892"/>
                <a:gd name="T68" fmla="*/ 628 w 1373"/>
                <a:gd name="T69" fmla="*/ 2 h 892"/>
                <a:gd name="T70" fmla="*/ 682 w 1373"/>
                <a:gd name="T71" fmla="*/ 0 h 892"/>
                <a:gd name="T72" fmla="*/ 757 w 1373"/>
                <a:gd name="T73" fmla="*/ 4 h 892"/>
                <a:gd name="T74" fmla="*/ 830 w 1373"/>
                <a:gd name="T75" fmla="*/ 16 h 892"/>
                <a:gd name="T76" fmla="*/ 899 w 1373"/>
                <a:gd name="T77" fmla="*/ 36 h 892"/>
                <a:gd name="T78" fmla="*/ 964 w 1373"/>
                <a:gd name="T79" fmla="*/ 62 h 892"/>
                <a:gd name="T80" fmla="*/ 1024 w 1373"/>
                <a:gd name="T81" fmla="*/ 95 h 892"/>
                <a:gd name="T82" fmla="*/ 1081 w 1373"/>
                <a:gd name="T83" fmla="*/ 134 h 892"/>
                <a:gd name="T84" fmla="*/ 1131 w 1373"/>
                <a:gd name="T85" fmla="*/ 177 h 892"/>
                <a:gd name="T86" fmla="*/ 1175 w 1373"/>
                <a:gd name="T87" fmla="*/ 227 h 892"/>
                <a:gd name="T88" fmla="*/ 1213 w 1373"/>
                <a:gd name="T89" fmla="*/ 281 h 892"/>
                <a:gd name="T90" fmla="*/ 1244 w 1373"/>
                <a:gd name="T91" fmla="*/ 338 h 892"/>
                <a:gd name="T92" fmla="*/ 1259 w 1373"/>
                <a:gd name="T93" fmla="*/ 378 h 892"/>
                <a:gd name="T94" fmla="*/ 1373 w 1373"/>
                <a:gd name="T95" fmla="*/ 689 h 892"/>
                <a:gd name="T96" fmla="*/ 1335 w 1373"/>
                <a:gd name="T97" fmla="*/ 724 h 892"/>
                <a:gd name="T98" fmla="*/ 1290 w 1373"/>
                <a:gd name="T99" fmla="*/ 758 h 892"/>
                <a:gd name="T100" fmla="*/ 1253 w 1373"/>
                <a:gd name="T101" fmla="*/ 779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73" h="892">
                  <a:moveTo>
                    <a:pt x="1253" y="779"/>
                  </a:moveTo>
                  <a:lnTo>
                    <a:pt x="1253" y="779"/>
                  </a:lnTo>
                  <a:lnTo>
                    <a:pt x="1214" y="641"/>
                  </a:lnTo>
                  <a:lnTo>
                    <a:pt x="1197" y="580"/>
                  </a:lnTo>
                  <a:lnTo>
                    <a:pt x="1197" y="580"/>
                  </a:lnTo>
                  <a:lnTo>
                    <a:pt x="1189" y="554"/>
                  </a:lnTo>
                  <a:lnTo>
                    <a:pt x="1180" y="530"/>
                  </a:lnTo>
                  <a:lnTo>
                    <a:pt x="1170" y="508"/>
                  </a:lnTo>
                  <a:lnTo>
                    <a:pt x="1159" y="488"/>
                  </a:lnTo>
                  <a:lnTo>
                    <a:pt x="1146" y="470"/>
                  </a:lnTo>
                  <a:lnTo>
                    <a:pt x="1133" y="455"/>
                  </a:lnTo>
                  <a:lnTo>
                    <a:pt x="1119" y="441"/>
                  </a:lnTo>
                  <a:lnTo>
                    <a:pt x="1103" y="431"/>
                  </a:lnTo>
                  <a:lnTo>
                    <a:pt x="1088" y="421"/>
                  </a:lnTo>
                  <a:lnTo>
                    <a:pt x="1071" y="414"/>
                  </a:lnTo>
                  <a:lnTo>
                    <a:pt x="1054" y="410"/>
                  </a:lnTo>
                  <a:lnTo>
                    <a:pt x="1036" y="407"/>
                  </a:lnTo>
                  <a:lnTo>
                    <a:pt x="1017" y="406"/>
                  </a:lnTo>
                  <a:lnTo>
                    <a:pt x="998" y="407"/>
                  </a:lnTo>
                  <a:lnTo>
                    <a:pt x="980" y="410"/>
                  </a:lnTo>
                  <a:lnTo>
                    <a:pt x="960" y="415"/>
                  </a:lnTo>
                  <a:lnTo>
                    <a:pt x="960" y="415"/>
                  </a:lnTo>
                  <a:lnTo>
                    <a:pt x="951" y="419"/>
                  </a:lnTo>
                  <a:lnTo>
                    <a:pt x="942" y="423"/>
                  </a:lnTo>
                  <a:lnTo>
                    <a:pt x="935" y="428"/>
                  </a:lnTo>
                  <a:lnTo>
                    <a:pt x="928" y="434"/>
                  </a:lnTo>
                  <a:lnTo>
                    <a:pt x="922" y="440"/>
                  </a:lnTo>
                  <a:lnTo>
                    <a:pt x="916" y="447"/>
                  </a:lnTo>
                  <a:lnTo>
                    <a:pt x="911" y="456"/>
                  </a:lnTo>
                  <a:lnTo>
                    <a:pt x="906" y="464"/>
                  </a:lnTo>
                  <a:lnTo>
                    <a:pt x="903" y="473"/>
                  </a:lnTo>
                  <a:lnTo>
                    <a:pt x="900" y="483"/>
                  </a:lnTo>
                  <a:lnTo>
                    <a:pt x="895" y="502"/>
                  </a:lnTo>
                  <a:lnTo>
                    <a:pt x="890" y="525"/>
                  </a:lnTo>
                  <a:lnTo>
                    <a:pt x="889" y="548"/>
                  </a:lnTo>
                  <a:lnTo>
                    <a:pt x="888" y="573"/>
                  </a:lnTo>
                  <a:lnTo>
                    <a:pt x="889" y="598"/>
                  </a:lnTo>
                  <a:lnTo>
                    <a:pt x="890" y="624"/>
                  </a:lnTo>
                  <a:lnTo>
                    <a:pt x="892" y="650"/>
                  </a:lnTo>
                  <a:lnTo>
                    <a:pt x="898" y="703"/>
                  </a:lnTo>
                  <a:lnTo>
                    <a:pt x="902" y="751"/>
                  </a:lnTo>
                  <a:lnTo>
                    <a:pt x="902" y="751"/>
                  </a:lnTo>
                  <a:lnTo>
                    <a:pt x="913" y="878"/>
                  </a:lnTo>
                  <a:lnTo>
                    <a:pt x="913" y="878"/>
                  </a:lnTo>
                  <a:lnTo>
                    <a:pt x="860" y="884"/>
                  </a:lnTo>
                  <a:lnTo>
                    <a:pt x="805" y="888"/>
                  </a:lnTo>
                  <a:lnTo>
                    <a:pt x="750" y="891"/>
                  </a:lnTo>
                  <a:lnTo>
                    <a:pt x="693" y="892"/>
                  </a:lnTo>
                  <a:lnTo>
                    <a:pt x="693" y="892"/>
                  </a:lnTo>
                  <a:lnTo>
                    <a:pt x="633" y="891"/>
                  </a:lnTo>
                  <a:lnTo>
                    <a:pt x="573" y="888"/>
                  </a:lnTo>
                  <a:lnTo>
                    <a:pt x="516" y="883"/>
                  </a:lnTo>
                  <a:lnTo>
                    <a:pt x="461" y="875"/>
                  </a:lnTo>
                  <a:lnTo>
                    <a:pt x="407" y="867"/>
                  </a:lnTo>
                  <a:lnTo>
                    <a:pt x="356" y="857"/>
                  </a:lnTo>
                  <a:lnTo>
                    <a:pt x="306" y="844"/>
                  </a:lnTo>
                  <a:lnTo>
                    <a:pt x="259" y="831"/>
                  </a:lnTo>
                  <a:lnTo>
                    <a:pt x="216" y="815"/>
                  </a:lnTo>
                  <a:lnTo>
                    <a:pt x="175" y="798"/>
                  </a:lnTo>
                  <a:lnTo>
                    <a:pt x="155" y="790"/>
                  </a:lnTo>
                  <a:lnTo>
                    <a:pt x="137" y="781"/>
                  </a:lnTo>
                  <a:lnTo>
                    <a:pt x="119" y="771"/>
                  </a:lnTo>
                  <a:lnTo>
                    <a:pt x="102" y="762"/>
                  </a:lnTo>
                  <a:lnTo>
                    <a:pt x="87" y="751"/>
                  </a:lnTo>
                  <a:lnTo>
                    <a:pt x="71" y="741"/>
                  </a:lnTo>
                  <a:lnTo>
                    <a:pt x="57" y="731"/>
                  </a:lnTo>
                  <a:lnTo>
                    <a:pt x="44" y="720"/>
                  </a:lnTo>
                  <a:lnTo>
                    <a:pt x="32" y="709"/>
                  </a:lnTo>
                  <a:lnTo>
                    <a:pt x="20" y="697"/>
                  </a:lnTo>
                  <a:lnTo>
                    <a:pt x="10" y="686"/>
                  </a:lnTo>
                  <a:lnTo>
                    <a:pt x="0" y="674"/>
                  </a:lnTo>
                  <a:lnTo>
                    <a:pt x="0" y="674"/>
                  </a:lnTo>
                  <a:lnTo>
                    <a:pt x="57" y="521"/>
                  </a:lnTo>
                  <a:lnTo>
                    <a:pt x="91" y="426"/>
                  </a:lnTo>
                  <a:lnTo>
                    <a:pt x="91" y="426"/>
                  </a:lnTo>
                  <a:lnTo>
                    <a:pt x="97" y="405"/>
                  </a:lnTo>
                  <a:lnTo>
                    <a:pt x="104" y="382"/>
                  </a:lnTo>
                  <a:lnTo>
                    <a:pt x="112" y="360"/>
                  </a:lnTo>
                  <a:lnTo>
                    <a:pt x="121" y="339"/>
                  </a:lnTo>
                  <a:lnTo>
                    <a:pt x="131" y="317"/>
                  </a:lnTo>
                  <a:lnTo>
                    <a:pt x="142" y="297"/>
                  </a:lnTo>
                  <a:lnTo>
                    <a:pt x="154" y="276"/>
                  </a:lnTo>
                  <a:lnTo>
                    <a:pt x="167" y="258"/>
                  </a:lnTo>
                  <a:lnTo>
                    <a:pt x="180" y="238"/>
                  </a:lnTo>
                  <a:lnTo>
                    <a:pt x="195" y="220"/>
                  </a:lnTo>
                  <a:lnTo>
                    <a:pt x="210" y="202"/>
                  </a:lnTo>
                  <a:lnTo>
                    <a:pt x="227" y="185"/>
                  </a:lnTo>
                  <a:lnTo>
                    <a:pt x="244" y="168"/>
                  </a:lnTo>
                  <a:lnTo>
                    <a:pt x="261" y="152"/>
                  </a:lnTo>
                  <a:lnTo>
                    <a:pt x="280" y="137"/>
                  </a:lnTo>
                  <a:lnTo>
                    <a:pt x="300" y="122"/>
                  </a:lnTo>
                  <a:lnTo>
                    <a:pt x="320" y="109"/>
                  </a:lnTo>
                  <a:lnTo>
                    <a:pt x="339" y="95"/>
                  </a:lnTo>
                  <a:lnTo>
                    <a:pt x="361" y="83"/>
                  </a:lnTo>
                  <a:lnTo>
                    <a:pt x="383" y="71"/>
                  </a:lnTo>
                  <a:lnTo>
                    <a:pt x="405" y="60"/>
                  </a:lnTo>
                  <a:lnTo>
                    <a:pt x="428" y="50"/>
                  </a:lnTo>
                  <a:lnTo>
                    <a:pt x="452" y="41"/>
                  </a:lnTo>
                  <a:lnTo>
                    <a:pt x="476" y="33"/>
                  </a:lnTo>
                  <a:lnTo>
                    <a:pt x="499" y="25"/>
                  </a:lnTo>
                  <a:lnTo>
                    <a:pt x="524" y="19"/>
                  </a:lnTo>
                  <a:lnTo>
                    <a:pt x="550" y="13"/>
                  </a:lnTo>
                  <a:lnTo>
                    <a:pt x="575" y="9"/>
                  </a:lnTo>
                  <a:lnTo>
                    <a:pt x="602" y="5"/>
                  </a:lnTo>
                  <a:lnTo>
                    <a:pt x="628" y="2"/>
                  </a:lnTo>
                  <a:lnTo>
                    <a:pt x="655" y="0"/>
                  </a:lnTo>
                  <a:lnTo>
                    <a:pt x="682" y="0"/>
                  </a:lnTo>
                  <a:lnTo>
                    <a:pt x="682" y="0"/>
                  </a:lnTo>
                  <a:lnTo>
                    <a:pt x="707" y="0"/>
                  </a:lnTo>
                  <a:lnTo>
                    <a:pt x="732" y="2"/>
                  </a:lnTo>
                  <a:lnTo>
                    <a:pt x="757" y="4"/>
                  </a:lnTo>
                  <a:lnTo>
                    <a:pt x="782" y="8"/>
                  </a:lnTo>
                  <a:lnTo>
                    <a:pt x="806" y="12"/>
                  </a:lnTo>
                  <a:lnTo>
                    <a:pt x="830" y="16"/>
                  </a:lnTo>
                  <a:lnTo>
                    <a:pt x="853" y="22"/>
                  </a:lnTo>
                  <a:lnTo>
                    <a:pt x="876" y="28"/>
                  </a:lnTo>
                  <a:lnTo>
                    <a:pt x="899" y="36"/>
                  </a:lnTo>
                  <a:lnTo>
                    <a:pt x="920" y="44"/>
                  </a:lnTo>
                  <a:lnTo>
                    <a:pt x="942" y="52"/>
                  </a:lnTo>
                  <a:lnTo>
                    <a:pt x="964" y="62"/>
                  </a:lnTo>
                  <a:lnTo>
                    <a:pt x="985" y="72"/>
                  </a:lnTo>
                  <a:lnTo>
                    <a:pt x="1005" y="84"/>
                  </a:lnTo>
                  <a:lnTo>
                    <a:pt x="1024" y="95"/>
                  </a:lnTo>
                  <a:lnTo>
                    <a:pt x="1044" y="108"/>
                  </a:lnTo>
                  <a:lnTo>
                    <a:pt x="1063" y="120"/>
                  </a:lnTo>
                  <a:lnTo>
                    <a:pt x="1081" y="134"/>
                  </a:lnTo>
                  <a:lnTo>
                    <a:pt x="1098" y="148"/>
                  </a:lnTo>
                  <a:lnTo>
                    <a:pt x="1115" y="163"/>
                  </a:lnTo>
                  <a:lnTo>
                    <a:pt x="1131" y="177"/>
                  </a:lnTo>
                  <a:lnTo>
                    <a:pt x="1146" y="194"/>
                  </a:lnTo>
                  <a:lnTo>
                    <a:pt x="1161" y="210"/>
                  </a:lnTo>
                  <a:lnTo>
                    <a:pt x="1175" y="227"/>
                  </a:lnTo>
                  <a:lnTo>
                    <a:pt x="1189" y="244"/>
                  </a:lnTo>
                  <a:lnTo>
                    <a:pt x="1201" y="263"/>
                  </a:lnTo>
                  <a:lnTo>
                    <a:pt x="1213" y="281"/>
                  </a:lnTo>
                  <a:lnTo>
                    <a:pt x="1224" y="299"/>
                  </a:lnTo>
                  <a:lnTo>
                    <a:pt x="1234" y="319"/>
                  </a:lnTo>
                  <a:lnTo>
                    <a:pt x="1244" y="338"/>
                  </a:lnTo>
                  <a:lnTo>
                    <a:pt x="1252" y="359"/>
                  </a:lnTo>
                  <a:lnTo>
                    <a:pt x="1259" y="378"/>
                  </a:lnTo>
                  <a:lnTo>
                    <a:pt x="1259" y="378"/>
                  </a:lnTo>
                  <a:lnTo>
                    <a:pt x="1302" y="494"/>
                  </a:lnTo>
                  <a:lnTo>
                    <a:pt x="1373" y="689"/>
                  </a:lnTo>
                  <a:lnTo>
                    <a:pt x="1373" y="689"/>
                  </a:lnTo>
                  <a:lnTo>
                    <a:pt x="1361" y="701"/>
                  </a:lnTo>
                  <a:lnTo>
                    <a:pt x="1349" y="713"/>
                  </a:lnTo>
                  <a:lnTo>
                    <a:pt x="1335" y="724"/>
                  </a:lnTo>
                  <a:lnTo>
                    <a:pt x="1321" y="736"/>
                  </a:lnTo>
                  <a:lnTo>
                    <a:pt x="1306" y="747"/>
                  </a:lnTo>
                  <a:lnTo>
                    <a:pt x="1290" y="758"/>
                  </a:lnTo>
                  <a:lnTo>
                    <a:pt x="1272" y="768"/>
                  </a:lnTo>
                  <a:lnTo>
                    <a:pt x="1253" y="779"/>
                  </a:lnTo>
                  <a:lnTo>
                    <a:pt x="1253" y="7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6" name="Freeform 37"/>
            <p:cNvSpPr>
              <a:spLocks/>
            </p:cNvSpPr>
            <p:nvPr/>
          </p:nvSpPr>
          <p:spPr bwMode="auto">
            <a:xfrm flipH="1">
              <a:off x="5594890" y="2439098"/>
              <a:ext cx="67085" cy="68366"/>
            </a:xfrm>
            <a:custGeom>
              <a:avLst/>
              <a:gdLst>
                <a:gd name="T0" fmla="*/ 72 w 365"/>
                <a:gd name="T1" fmla="*/ 9 h 472"/>
                <a:gd name="T2" fmla="*/ 72 w 365"/>
                <a:gd name="T3" fmla="*/ 9 h 472"/>
                <a:gd name="T4" fmla="*/ 92 w 365"/>
                <a:gd name="T5" fmla="*/ 4 h 472"/>
                <a:gd name="T6" fmla="*/ 110 w 365"/>
                <a:gd name="T7" fmla="*/ 1 h 472"/>
                <a:gd name="T8" fmla="*/ 129 w 365"/>
                <a:gd name="T9" fmla="*/ 0 h 472"/>
                <a:gd name="T10" fmla="*/ 148 w 365"/>
                <a:gd name="T11" fmla="*/ 1 h 472"/>
                <a:gd name="T12" fmla="*/ 166 w 365"/>
                <a:gd name="T13" fmla="*/ 4 h 472"/>
                <a:gd name="T14" fmla="*/ 183 w 365"/>
                <a:gd name="T15" fmla="*/ 8 h 472"/>
                <a:gd name="T16" fmla="*/ 200 w 365"/>
                <a:gd name="T17" fmla="*/ 15 h 472"/>
                <a:gd name="T18" fmla="*/ 215 w 365"/>
                <a:gd name="T19" fmla="*/ 25 h 472"/>
                <a:gd name="T20" fmla="*/ 231 w 365"/>
                <a:gd name="T21" fmla="*/ 35 h 472"/>
                <a:gd name="T22" fmla="*/ 245 w 365"/>
                <a:gd name="T23" fmla="*/ 49 h 472"/>
                <a:gd name="T24" fmla="*/ 258 w 365"/>
                <a:gd name="T25" fmla="*/ 64 h 472"/>
                <a:gd name="T26" fmla="*/ 271 w 365"/>
                <a:gd name="T27" fmla="*/ 82 h 472"/>
                <a:gd name="T28" fmla="*/ 282 w 365"/>
                <a:gd name="T29" fmla="*/ 102 h 472"/>
                <a:gd name="T30" fmla="*/ 292 w 365"/>
                <a:gd name="T31" fmla="*/ 124 h 472"/>
                <a:gd name="T32" fmla="*/ 301 w 365"/>
                <a:gd name="T33" fmla="*/ 148 h 472"/>
                <a:gd name="T34" fmla="*/ 309 w 365"/>
                <a:gd name="T35" fmla="*/ 174 h 472"/>
                <a:gd name="T36" fmla="*/ 309 w 365"/>
                <a:gd name="T37" fmla="*/ 174 h 472"/>
                <a:gd name="T38" fmla="*/ 326 w 365"/>
                <a:gd name="T39" fmla="*/ 235 h 472"/>
                <a:gd name="T40" fmla="*/ 365 w 365"/>
                <a:gd name="T41" fmla="*/ 373 h 472"/>
                <a:gd name="T42" fmla="*/ 365 w 365"/>
                <a:gd name="T43" fmla="*/ 373 h 472"/>
                <a:gd name="T44" fmla="*/ 331 w 365"/>
                <a:gd name="T45" fmla="*/ 389 h 472"/>
                <a:gd name="T46" fmla="*/ 293 w 365"/>
                <a:gd name="T47" fmla="*/ 405 h 472"/>
                <a:gd name="T48" fmla="*/ 254 w 365"/>
                <a:gd name="T49" fmla="*/ 418 h 472"/>
                <a:gd name="T50" fmla="*/ 212 w 365"/>
                <a:gd name="T51" fmla="*/ 432 h 472"/>
                <a:gd name="T52" fmla="*/ 169 w 365"/>
                <a:gd name="T53" fmla="*/ 444 h 472"/>
                <a:gd name="T54" fmla="*/ 123 w 365"/>
                <a:gd name="T55" fmla="*/ 455 h 472"/>
                <a:gd name="T56" fmla="*/ 74 w 365"/>
                <a:gd name="T57" fmla="*/ 463 h 472"/>
                <a:gd name="T58" fmla="*/ 25 w 365"/>
                <a:gd name="T59" fmla="*/ 472 h 472"/>
                <a:gd name="T60" fmla="*/ 25 w 365"/>
                <a:gd name="T61" fmla="*/ 472 h 472"/>
                <a:gd name="T62" fmla="*/ 14 w 365"/>
                <a:gd name="T63" fmla="*/ 345 h 472"/>
                <a:gd name="T64" fmla="*/ 14 w 365"/>
                <a:gd name="T65" fmla="*/ 345 h 472"/>
                <a:gd name="T66" fmla="*/ 10 w 365"/>
                <a:gd name="T67" fmla="*/ 297 h 472"/>
                <a:gd name="T68" fmla="*/ 4 w 365"/>
                <a:gd name="T69" fmla="*/ 244 h 472"/>
                <a:gd name="T70" fmla="*/ 2 w 365"/>
                <a:gd name="T71" fmla="*/ 218 h 472"/>
                <a:gd name="T72" fmla="*/ 1 w 365"/>
                <a:gd name="T73" fmla="*/ 192 h 472"/>
                <a:gd name="T74" fmla="*/ 0 w 365"/>
                <a:gd name="T75" fmla="*/ 167 h 472"/>
                <a:gd name="T76" fmla="*/ 1 w 365"/>
                <a:gd name="T77" fmla="*/ 142 h 472"/>
                <a:gd name="T78" fmla="*/ 2 w 365"/>
                <a:gd name="T79" fmla="*/ 119 h 472"/>
                <a:gd name="T80" fmla="*/ 7 w 365"/>
                <a:gd name="T81" fmla="*/ 96 h 472"/>
                <a:gd name="T82" fmla="*/ 12 w 365"/>
                <a:gd name="T83" fmla="*/ 77 h 472"/>
                <a:gd name="T84" fmla="*/ 15 w 365"/>
                <a:gd name="T85" fmla="*/ 67 h 472"/>
                <a:gd name="T86" fmla="*/ 18 w 365"/>
                <a:gd name="T87" fmla="*/ 58 h 472"/>
                <a:gd name="T88" fmla="*/ 23 w 365"/>
                <a:gd name="T89" fmla="*/ 50 h 472"/>
                <a:gd name="T90" fmla="*/ 28 w 365"/>
                <a:gd name="T91" fmla="*/ 41 h 472"/>
                <a:gd name="T92" fmla="*/ 34 w 365"/>
                <a:gd name="T93" fmla="*/ 34 h 472"/>
                <a:gd name="T94" fmla="*/ 40 w 365"/>
                <a:gd name="T95" fmla="*/ 28 h 472"/>
                <a:gd name="T96" fmla="*/ 47 w 365"/>
                <a:gd name="T97" fmla="*/ 22 h 472"/>
                <a:gd name="T98" fmla="*/ 54 w 365"/>
                <a:gd name="T99" fmla="*/ 17 h 472"/>
                <a:gd name="T100" fmla="*/ 63 w 365"/>
                <a:gd name="T101" fmla="*/ 13 h 472"/>
                <a:gd name="T102" fmla="*/ 72 w 365"/>
                <a:gd name="T103" fmla="*/ 9 h 472"/>
                <a:gd name="T104" fmla="*/ 72 w 365"/>
                <a:gd name="T105" fmla="*/ 9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65" h="472">
                  <a:moveTo>
                    <a:pt x="72" y="9"/>
                  </a:moveTo>
                  <a:lnTo>
                    <a:pt x="72" y="9"/>
                  </a:lnTo>
                  <a:lnTo>
                    <a:pt x="92" y="4"/>
                  </a:lnTo>
                  <a:lnTo>
                    <a:pt x="110" y="1"/>
                  </a:lnTo>
                  <a:lnTo>
                    <a:pt x="129" y="0"/>
                  </a:lnTo>
                  <a:lnTo>
                    <a:pt x="148" y="1"/>
                  </a:lnTo>
                  <a:lnTo>
                    <a:pt x="166" y="4"/>
                  </a:lnTo>
                  <a:lnTo>
                    <a:pt x="183" y="8"/>
                  </a:lnTo>
                  <a:lnTo>
                    <a:pt x="200" y="15"/>
                  </a:lnTo>
                  <a:lnTo>
                    <a:pt x="215" y="25"/>
                  </a:lnTo>
                  <a:lnTo>
                    <a:pt x="231" y="35"/>
                  </a:lnTo>
                  <a:lnTo>
                    <a:pt x="245" y="49"/>
                  </a:lnTo>
                  <a:lnTo>
                    <a:pt x="258" y="64"/>
                  </a:lnTo>
                  <a:lnTo>
                    <a:pt x="271" y="82"/>
                  </a:lnTo>
                  <a:lnTo>
                    <a:pt x="282" y="102"/>
                  </a:lnTo>
                  <a:lnTo>
                    <a:pt x="292" y="124"/>
                  </a:lnTo>
                  <a:lnTo>
                    <a:pt x="301" y="148"/>
                  </a:lnTo>
                  <a:lnTo>
                    <a:pt x="309" y="174"/>
                  </a:lnTo>
                  <a:lnTo>
                    <a:pt x="309" y="174"/>
                  </a:lnTo>
                  <a:lnTo>
                    <a:pt x="326" y="235"/>
                  </a:lnTo>
                  <a:lnTo>
                    <a:pt x="365" y="373"/>
                  </a:lnTo>
                  <a:lnTo>
                    <a:pt x="365" y="373"/>
                  </a:lnTo>
                  <a:lnTo>
                    <a:pt x="331" y="389"/>
                  </a:lnTo>
                  <a:lnTo>
                    <a:pt x="293" y="405"/>
                  </a:lnTo>
                  <a:lnTo>
                    <a:pt x="254" y="418"/>
                  </a:lnTo>
                  <a:lnTo>
                    <a:pt x="212" y="432"/>
                  </a:lnTo>
                  <a:lnTo>
                    <a:pt x="169" y="444"/>
                  </a:lnTo>
                  <a:lnTo>
                    <a:pt x="123" y="455"/>
                  </a:lnTo>
                  <a:lnTo>
                    <a:pt x="74" y="463"/>
                  </a:lnTo>
                  <a:lnTo>
                    <a:pt x="25" y="472"/>
                  </a:lnTo>
                  <a:lnTo>
                    <a:pt x="25" y="472"/>
                  </a:lnTo>
                  <a:lnTo>
                    <a:pt x="14" y="345"/>
                  </a:lnTo>
                  <a:lnTo>
                    <a:pt x="14" y="345"/>
                  </a:lnTo>
                  <a:lnTo>
                    <a:pt x="10" y="297"/>
                  </a:lnTo>
                  <a:lnTo>
                    <a:pt x="4" y="244"/>
                  </a:lnTo>
                  <a:lnTo>
                    <a:pt x="2" y="218"/>
                  </a:lnTo>
                  <a:lnTo>
                    <a:pt x="1" y="192"/>
                  </a:lnTo>
                  <a:lnTo>
                    <a:pt x="0" y="167"/>
                  </a:lnTo>
                  <a:lnTo>
                    <a:pt x="1" y="142"/>
                  </a:lnTo>
                  <a:lnTo>
                    <a:pt x="2" y="119"/>
                  </a:lnTo>
                  <a:lnTo>
                    <a:pt x="7" y="96"/>
                  </a:lnTo>
                  <a:lnTo>
                    <a:pt x="12" y="77"/>
                  </a:lnTo>
                  <a:lnTo>
                    <a:pt x="15" y="67"/>
                  </a:lnTo>
                  <a:lnTo>
                    <a:pt x="18" y="58"/>
                  </a:lnTo>
                  <a:lnTo>
                    <a:pt x="23" y="50"/>
                  </a:lnTo>
                  <a:lnTo>
                    <a:pt x="28" y="41"/>
                  </a:lnTo>
                  <a:lnTo>
                    <a:pt x="34" y="34"/>
                  </a:lnTo>
                  <a:lnTo>
                    <a:pt x="40" y="28"/>
                  </a:lnTo>
                  <a:lnTo>
                    <a:pt x="47" y="22"/>
                  </a:lnTo>
                  <a:lnTo>
                    <a:pt x="54" y="17"/>
                  </a:lnTo>
                  <a:lnTo>
                    <a:pt x="63" y="13"/>
                  </a:lnTo>
                  <a:lnTo>
                    <a:pt x="72" y="9"/>
                  </a:lnTo>
                  <a:lnTo>
                    <a:pt x="72" y="9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7" name="Freeform 38"/>
            <p:cNvSpPr>
              <a:spLocks noEditPoints="1"/>
            </p:cNvSpPr>
            <p:nvPr/>
          </p:nvSpPr>
          <p:spPr bwMode="auto">
            <a:xfrm flipH="1">
              <a:off x="5233665" y="2439098"/>
              <a:ext cx="927575" cy="1099009"/>
            </a:xfrm>
            <a:custGeom>
              <a:avLst/>
              <a:gdLst>
                <a:gd name="T0" fmla="*/ 1268 w 5032"/>
                <a:gd name="T1" fmla="*/ 3887 h 7662"/>
                <a:gd name="T2" fmla="*/ 1106 w 5032"/>
                <a:gd name="T3" fmla="*/ 3812 h 7662"/>
                <a:gd name="T4" fmla="*/ 757 w 5032"/>
                <a:gd name="T5" fmla="*/ 4963 h 7662"/>
                <a:gd name="T6" fmla="*/ 970 w 5032"/>
                <a:gd name="T7" fmla="*/ 5069 h 7662"/>
                <a:gd name="T8" fmla="*/ 399 w 5032"/>
                <a:gd name="T9" fmla="*/ 7353 h 7662"/>
                <a:gd name="T10" fmla="*/ 293 w 5032"/>
                <a:gd name="T11" fmla="*/ 7308 h 7662"/>
                <a:gd name="T12" fmla="*/ 138 w 5032"/>
                <a:gd name="T13" fmla="*/ 7230 h 7662"/>
                <a:gd name="T14" fmla="*/ 0 w 5032"/>
                <a:gd name="T15" fmla="*/ 7151 h 7662"/>
                <a:gd name="T16" fmla="*/ 412 w 5032"/>
                <a:gd name="T17" fmla="*/ 6037 h 7662"/>
                <a:gd name="T18" fmla="*/ 565 w 5032"/>
                <a:gd name="T19" fmla="*/ 6123 h 7662"/>
                <a:gd name="T20" fmla="*/ 692 w 5032"/>
                <a:gd name="T21" fmla="*/ 6184 h 7662"/>
                <a:gd name="T22" fmla="*/ 3432 w 5032"/>
                <a:gd name="T23" fmla="*/ 7662 h 7662"/>
                <a:gd name="T24" fmla="*/ 3775 w 5032"/>
                <a:gd name="T25" fmla="*/ 7604 h 7662"/>
                <a:gd name="T26" fmla="*/ 4129 w 5032"/>
                <a:gd name="T27" fmla="*/ 7515 h 7662"/>
                <a:gd name="T28" fmla="*/ 4160 w 5032"/>
                <a:gd name="T29" fmla="*/ 7506 h 7662"/>
                <a:gd name="T30" fmla="*/ 4187 w 5032"/>
                <a:gd name="T31" fmla="*/ 7498 h 7662"/>
                <a:gd name="T32" fmla="*/ 4386 w 5032"/>
                <a:gd name="T33" fmla="*/ 7431 h 7662"/>
                <a:gd name="T34" fmla="*/ 4597 w 5032"/>
                <a:gd name="T35" fmla="*/ 7348 h 7662"/>
                <a:gd name="T36" fmla="*/ 4814 w 5032"/>
                <a:gd name="T37" fmla="*/ 7249 h 7662"/>
                <a:gd name="T38" fmla="*/ 5032 w 5032"/>
                <a:gd name="T39" fmla="*/ 7133 h 7662"/>
                <a:gd name="T40" fmla="*/ 4693 w 5032"/>
                <a:gd name="T41" fmla="*/ 5968 h 7662"/>
                <a:gd name="T42" fmla="*/ 4570 w 5032"/>
                <a:gd name="T43" fmla="*/ 6050 h 7662"/>
                <a:gd name="T44" fmla="*/ 4431 w 5032"/>
                <a:gd name="T45" fmla="*/ 6127 h 7662"/>
                <a:gd name="T46" fmla="*/ 4277 w 5032"/>
                <a:gd name="T47" fmla="*/ 6199 h 7662"/>
                <a:gd name="T48" fmla="*/ 4109 w 5032"/>
                <a:gd name="T49" fmla="*/ 6264 h 7662"/>
                <a:gd name="T50" fmla="*/ 3927 w 5032"/>
                <a:gd name="T51" fmla="*/ 6323 h 7662"/>
                <a:gd name="T52" fmla="*/ 3632 w 5032"/>
                <a:gd name="T53" fmla="*/ 6397 h 7662"/>
                <a:gd name="T54" fmla="*/ 3314 w 5032"/>
                <a:gd name="T55" fmla="*/ 6454 h 7662"/>
                <a:gd name="T56" fmla="*/ 3226 w 5032"/>
                <a:gd name="T57" fmla="*/ 4035 h 7662"/>
                <a:gd name="T58" fmla="*/ 3503 w 5032"/>
                <a:gd name="T59" fmla="*/ 3970 h 7662"/>
                <a:gd name="T60" fmla="*/ 3747 w 5032"/>
                <a:gd name="T61" fmla="*/ 3887 h 7662"/>
                <a:gd name="T62" fmla="*/ 3954 w 5032"/>
                <a:gd name="T63" fmla="*/ 3787 h 7662"/>
                <a:gd name="T64" fmla="*/ 4376 w 5032"/>
                <a:gd name="T65" fmla="*/ 4879 h 7662"/>
                <a:gd name="T66" fmla="*/ 4299 w 5032"/>
                <a:gd name="T67" fmla="*/ 4932 h 7662"/>
                <a:gd name="T68" fmla="*/ 4183 w 5032"/>
                <a:gd name="T69" fmla="*/ 4999 h 7662"/>
                <a:gd name="T70" fmla="*/ 3950 w 5032"/>
                <a:gd name="T71" fmla="*/ 5103 h 7662"/>
                <a:gd name="T72" fmla="*/ 3640 w 5032"/>
                <a:gd name="T73" fmla="*/ 5202 h 7662"/>
                <a:gd name="T74" fmla="*/ 3292 w 5032"/>
                <a:gd name="T75" fmla="*/ 5277 h 7662"/>
                <a:gd name="T76" fmla="*/ 3079 w 5032"/>
                <a:gd name="T77" fmla="*/ 4059 h 7662"/>
                <a:gd name="T78" fmla="*/ 2923 w 5032"/>
                <a:gd name="T79" fmla="*/ 1646 h 7662"/>
                <a:gd name="T80" fmla="*/ 3074 w 5032"/>
                <a:gd name="T81" fmla="*/ 1617 h 7662"/>
                <a:gd name="T82" fmla="*/ 3214 w 5032"/>
                <a:gd name="T83" fmla="*/ 1579 h 7662"/>
                <a:gd name="T84" fmla="*/ 3340 w 5032"/>
                <a:gd name="T85" fmla="*/ 1534 h 7662"/>
                <a:gd name="T86" fmla="*/ 3728 w 5032"/>
                <a:gd name="T87" fmla="*/ 2650 h 7662"/>
                <a:gd name="T88" fmla="*/ 3618 w 5032"/>
                <a:gd name="T89" fmla="*/ 2713 h 7662"/>
                <a:gd name="T90" fmla="*/ 3446 w 5032"/>
                <a:gd name="T91" fmla="*/ 2787 h 7662"/>
                <a:gd name="T92" fmla="*/ 3246 w 5032"/>
                <a:gd name="T93" fmla="*/ 2847 h 7662"/>
                <a:gd name="T94" fmla="*/ 3023 w 5032"/>
                <a:gd name="T95" fmla="*/ 2893 h 7662"/>
                <a:gd name="T96" fmla="*/ 2843 w 5032"/>
                <a:gd name="T97" fmla="*/ 1657 h 7662"/>
                <a:gd name="T98" fmla="*/ 2813 w 5032"/>
                <a:gd name="T99" fmla="*/ 1 h 7662"/>
                <a:gd name="T100" fmla="*/ 2886 w 5032"/>
                <a:gd name="T101" fmla="*/ 8 h 7662"/>
                <a:gd name="T102" fmla="*/ 2948 w 5032"/>
                <a:gd name="T103" fmla="*/ 49 h 7662"/>
                <a:gd name="T104" fmla="*/ 2995 w 5032"/>
                <a:gd name="T105" fmla="*/ 124 h 7662"/>
                <a:gd name="T106" fmla="*/ 3029 w 5032"/>
                <a:gd name="T107" fmla="*/ 235 h 7662"/>
                <a:gd name="T108" fmla="*/ 2996 w 5032"/>
                <a:gd name="T109" fmla="*/ 405 h 7662"/>
                <a:gd name="T110" fmla="*/ 2826 w 5032"/>
                <a:gd name="T111" fmla="*/ 455 h 7662"/>
                <a:gd name="T112" fmla="*/ 2717 w 5032"/>
                <a:gd name="T113" fmla="*/ 345 h 7662"/>
                <a:gd name="T114" fmla="*/ 2705 w 5032"/>
                <a:gd name="T115" fmla="*/ 218 h 7662"/>
                <a:gd name="T116" fmla="*/ 2705 w 5032"/>
                <a:gd name="T117" fmla="*/ 119 h 7662"/>
                <a:gd name="T118" fmla="*/ 2721 w 5032"/>
                <a:gd name="T119" fmla="*/ 58 h 7662"/>
                <a:gd name="T120" fmla="*/ 2743 w 5032"/>
                <a:gd name="T121" fmla="*/ 28 h 7662"/>
                <a:gd name="T122" fmla="*/ 2775 w 5032"/>
                <a:gd name="T123" fmla="*/ 9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32" h="7662">
                  <a:moveTo>
                    <a:pt x="970" y="5069"/>
                  </a:moveTo>
                  <a:lnTo>
                    <a:pt x="970" y="5069"/>
                  </a:lnTo>
                  <a:lnTo>
                    <a:pt x="1268" y="3887"/>
                  </a:lnTo>
                  <a:lnTo>
                    <a:pt x="1268" y="3887"/>
                  </a:lnTo>
                  <a:lnTo>
                    <a:pt x="1225" y="3869"/>
                  </a:lnTo>
                  <a:lnTo>
                    <a:pt x="1184" y="3851"/>
                  </a:lnTo>
                  <a:lnTo>
                    <a:pt x="1145" y="3832"/>
                  </a:lnTo>
                  <a:lnTo>
                    <a:pt x="1106" y="3812"/>
                  </a:lnTo>
                  <a:lnTo>
                    <a:pt x="1106" y="3812"/>
                  </a:lnTo>
                  <a:lnTo>
                    <a:pt x="730" y="4947"/>
                  </a:lnTo>
                  <a:lnTo>
                    <a:pt x="730" y="4947"/>
                  </a:lnTo>
                  <a:lnTo>
                    <a:pt x="757" y="4963"/>
                  </a:lnTo>
                  <a:lnTo>
                    <a:pt x="785" y="4979"/>
                  </a:lnTo>
                  <a:lnTo>
                    <a:pt x="844" y="5010"/>
                  </a:lnTo>
                  <a:lnTo>
                    <a:pt x="906" y="5041"/>
                  </a:lnTo>
                  <a:lnTo>
                    <a:pt x="970" y="5069"/>
                  </a:lnTo>
                  <a:lnTo>
                    <a:pt x="970" y="5069"/>
                  </a:lnTo>
                  <a:close/>
                  <a:moveTo>
                    <a:pt x="692" y="6184"/>
                  </a:moveTo>
                  <a:lnTo>
                    <a:pt x="692" y="6184"/>
                  </a:lnTo>
                  <a:lnTo>
                    <a:pt x="399" y="7353"/>
                  </a:lnTo>
                  <a:lnTo>
                    <a:pt x="399" y="7353"/>
                  </a:lnTo>
                  <a:lnTo>
                    <a:pt x="399" y="7353"/>
                  </a:lnTo>
                  <a:lnTo>
                    <a:pt x="345" y="7331"/>
                  </a:lnTo>
                  <a:lnTo>
                    <a:pt x="293" y="7308"/>
                  </a:lnTo>
                  <a:lnTo>
                    <a:pt x="293" y="7308"/>
                  </a:lnTo>
                  <a:lnTo>
                    <a:pt x="239" y="7282"/>
                  </a:lnTo>
                  <a:lnTo>
                    <a:pt x="186" y="7256"/>
                  </a:lnTo>
                  <a:lnTo>
                    <a:pt x="138" y="7230"/>
                  </a:lnTo>
                  <a:lnTo>
                    <a:pt x="95" y="7206"/>
                  </a:lnTo>
                  <a:lnTo>
                    <a:pt x="28" y="7168"/>
                  </a:lnTo>
                  <a:lnTo>
                    <a:pt x="1" y="7153"/>
                  </a:lnTo>
                  <a:lnTo>
                    <a:pt x="0" y="7151"/>
                  </a:lnTo>
                  <a:lnTo>
                    <a:pt x="0" y="7151"/>
                  </a:lnTo>
                  <a:lnTo>
                    <a:pt x="377" y="6014"/>
                  </a:lnTo>
                  <a:lnTo>
                    <a:pt x="377" y="6014"/>
                  </a:lnTo>
                  <a:lnTo>
                    <a:pt x="412" y="6037"/>
                  </a:lnTo>
                  <a:lnTo>
                    <a:pt x="448" y="6060"/>
                  </a:lnTo>
                  <a:lnTo>
                    <a:pt x="486" y="6081"/>
                  </a:lnTo>
                  <a:lnTo>
                    <a:pt x="524" y="6102"/>
                  </a:lnTo>
                  <a:lnTo>
                    <a:pt x="565" y="6123"/>
                  </a:lnTo>
                  <a:lnTo>
                    <a:pt x="605" y="6144"/>
                  </a:lnTo>
                  <a:lnTo>
                    <a:pt x="648" y="6164"/>
                  </a:lnTo>
                  <a:lnTo>
                    <a:pt x="692" y="6184"/>
                  </a:lnTo>
                  <a:lnTo>
                    <a:pt x="692" y="6184"/>
                  </a:lnTo>
                  <a:close/>
                  <a:moveTo>
                    <a:pt x="3314" y="6454"/>
                  </a:moveTo>
                  <a:lnTo>
                    <a:pt x="3314" y="6454"/>
                  </a:lnTo>
                  <a:lnTo>
                    <a:pt x="3432" y="7662"/>
                  </a:lnTo>
                  <a:lnTo>
                    <a:pt x="3432" y="7662"/>
                  </a:lnTo>
                  <a:lnTo>
                    <a:pt x="3516" y="7650"/>
                  </a:lnTo>
                  <a:lnTo>
                    <a:pt x="3602" y="7636"/>
                  </a:lnTo>
                  <a:lnTo>
                    <a:pt x="3688" y="7620"/>
                  </a:lnTo>
                  <a:lnTo>
                    <a:pt x="3775" y="7604"/>
                  </a:lnTo>
                  <a:lnTo>
                    <a:pt x="3864" y="7584"/>
                  </a:lnTo>
                  <a:lnTo>
                    <a:pt x="3952" y="7563"/>
                  </a:lnTo>
                  <a:lnTo>
                    <a:pt x="4040" y="7540"/>
                  </a:lnTo>
                  <a:lnTo>
                    <a:pt x="4129" y="7515"/>
                  </a:lnTo>
                  <a:lnTo>
                    <a:pt x="4129" y="7515"/>
                  </a:lnTo>
                  <a:lnTo>
                    <a:pt x="4144" y="7511"/>
                  </a:lnTo>
                  <a:lnTo>
                    <a:pt x="4144" y="7511"/>
                  </a:lnTo>
                  <a:lnTo>
                    <a:pt x="4160" y="7506"/>
                  </a:lnTo>
                  <a:lnTo>
                    <a:pt x="4160" y="7506"/>
                  </a:lnTo>
                  <a:lnTo>
                    <a:pt x="4182" y="7500"/>
                  </a:lnTo>
                  <a:lnTo>
                    <a:pt x="4182" y="7500"/>
                  </a:lnTo>
                  <a:lnTo>
                    <a:pt x="4187" y="7498"/>
                  </a:lnTo>
                  <a:lnTo>
                    <a:pt x="4187" y="7498"/>
                  </a:lnTo>
                  <a:lnTo>
                    <a:pt x="4285" y="7466"/>
                  </a:lnTo>
                  <a:lnTo>
                    <a:pt x="4336" y="7449"/>
                  </a:lnTo>
                  <a:lnTo>
                    <a:pt x="4386" y="7431"/>
                  </a:lnTo>
                  <a:lnTo>
                    <a:pt x="4438" y="7412"/>
                  </a:lnTo>
                  <a:lnTo>
                    <a:pt x="4490" y="7392"/>
                  </a:lnTo>
                  <a:lnTo>
                    <a:pt x="4543" y="7371"/>
                  </a:lnTo>
                  <a:lnTo>
                    <a:pt x="4597" y="7348"/>
                  </a:lnTo>
                  <a:lnTo>
                    <a:pt x="4651" y="7325"/>
                  </a:lnTo>
                  <a:lnTo>
                    <a:pt x="4705" y="7302"/>
                  </a:lnTo>
                  <a:lnTo>
                    <a:pt x="4759" y="7277"/>
                  </a:lnTo>
                  <a:lnTo>
                    <a:pt x="4814" y="7249"/>
                  </a:lnTo>
                  <a:lnTo>
                    <a:pt x="4868" y="7222"/>
                  </a:lnTo>
                  <a:lnTo>
                    <a:pt x="4923" y="7194"/>
                  </a:lnTo>
                  <a:lnTo>
                    <a:pt x="4978" y="7164"/>
                  </a:lnTo>
                  <a:lnTo>
                    <a:pt x="5032" y="7133"/>
                  </a:lnTo>
                  <a:lnTo>
                    <a:pt x="5032" y="7133"/>
                  </a:lnTo>
                  <a:lnTo>
                    <a:pt x="5032" y="7133"/>
                  </a:lnTo>
                  <a:lnTo>
                    <a:pt x="4693" y="5968"/>
                  </a:lnTo>
                  <a:lnTo>
                    <a:pt x="4693" y="5968"/>
                  </a:lnTo>
                  <a:lnTo>
                    <a:pt x="4664" y="5990"/>
                  </a:lnTo>
                  <a:lnTo>
                    <a:pt x="4634" y="6010"/>
                  </a:lnTo>
                  <a:lnTo>
                    <a:pt x="4603" y="6030"/>
                  </a:lnTo>
                  <a:lnTo>
                    <a:pt x="4570" y="6050"/>
                  </a:lnTo>
                  <a:lnTo>
                    <a:pt x="4537" y="6070"/>
                  </a:lnTo>
                  <a:lnTo>
                    <a:pt x="4503" y="6090"/>
                  </a:lnTo>
                  <a:lnTo>
                    <a:pt x="4468" y="6109"/>
                  </a:lnTo>
                  <a:lnTo>
                    <a:pt x="4431" y="6127"/>
                  </a:lnTo>
                  <a:lnTo>
                    <a:pt x="4395" y="6146"/>
                  </a:lnTo>
                  <a:lnTo>
                    <a:pt x="4356" y="6164"/>
                  </a:lnTo>
                  <a:lnTo>
                    <a:pt x="4317" y="6181"/>
                  </a:lnTo>
                  <a:lnTo>
                    <a:pt x="4277" y="6199"/>
                  </a:lnTo>
                  <a:lnTo>
                    <a:pt x="4237" y="6216"/>
                  </a:lnTo>
                  <a:lnTo>
                    <a:pt x="4194" y="6232"/>
                  </a:lnTo>
                  <a:lnTo>
                    <a:pt x="4153" y="6248"/>
                  </a:lnTo>
                  <a:lnTo>
                    <a:pt x="4109" y="6264"/>
                  </a:lnTo>
                  <a:lnTo>
                    <a:pt x="4064" y="6279"/>
                  </a:lnTo>
                  <a:lnTo>
                    <a:pt x="4019" y="6294"/>
                  </a:lnTo>
                  <a:lnTo>
                    <a:pt x="3974" y="6309"/>
                  </a:lnTo>
                  <a:lnTo>
                    <a:pt x="3927" y="6323"/>
                  </a:lnTo>
                  <a:lnTo>
                    <a:pt x="3880" y="6337"/>
                  </a:lnTo>
                  <a:lnTo>
                    <a:pt x="3831" y="6349"/>
                  </a:lnTo>
                  <a:lnTo>
                    <a:pt x="3734" y="6374"/>
                  </a:lnTo>
                  <a:lnTo>
                    <a:pt x="3632" y="6397"/>
                  </a:lnTo>
                  <a:lnTo>
                    <a:pt x="3529" y="6418"/>
                  </a:lnTo>
                  <a:lnTo>
                    <a:pt x="3422" y="6438"/>
                  </a:lnTo>
                  <a:lnTo>
                    <a:pt x="3314" y="6454"/>
                  </a:lnTo>
                  <a:lnTo>
                    <a:pt x="3314" y="6454"/>
                  </a:lnTo>
                  <a:close/>
                  <a:moveTo>
                    <a:pt x="3079" y="4059"/>
                  </a:moveTo>
                  <a:lnTo>
                    <a:pt x="3079" y="4059"/>
                  </a:lnTo>
                  <a:lnTo>
                    <a:pt x="3153" y="4048"/>
                  </a:lnTo>
                  <a:lnTo>
                    <a:pt x="3226" y="4035"/>
                  </a:lnTo>
                  <a:lnTo>
                    <a:pt x="3298" y="4020"/>
                  </a:lnTo>
                  <a:lnTo>
                    <a:pt x="3369" y="4005"/>
                  </a:lnTo>
                  <a:lnTo>
                    <a:pt x="3436" y="3988"/>
                  </a:lnTo>
                  <a:lnTo>
                    <a:pt x="3503" y="3970"/>
                  </a:lnTo>
                  <a:lnTo>
                    <a:pt x="3567" y="3952"/>
                  </a:lnTo>
                  <a:lnTo>
                    <a:pt x="3629" y="3931"/>
                  </a:lnTo>
                  <a:lnTo>
                    <a:pt x="3689" y="3910"/>
                  </a:lnTo>
                  <a:lnTo>
                    <a:pt x="3747" y="3887"/>
                  </a:lnTo>
                  <a:lnTo>
                    <a:pt x="3802" y="3864"/>
                  </a:lnTo>
                  <a:lnTo>
                    <a:pt x="3855" y="3839"/>
                  </a:lnTo>
                  <a:lnTo>
                    <a:pt x="3906" y="3814"/>
                  </a:lnTo>
                  <a:lnTo>
                    <a:pt x="3954" y="3787"/>
                  </a:lnTo>
                  <a:lnTo>
                    <a:pt x="4000" y="3760"/>
                  </a:lnTo>
                  <a:lnTo>
                    <a:pt x="4042" y="3732"/>
                  </a:lnTo>
                  <a:lnTo>
                    <a:pt x="4042" y="3732"/>
                  </a:lnTo>
                  <a:lnTo>
                    <a:pt x="4376" y="4879"/>
                  </a:lnTo>
                  <a:lnTo>
                    <a:pt x="4376" y="4879"/>
                  </a:lnTo>
                  <a:lnTo>
                    <a:pt x="4351" y="4897"/>
                  </a:lnTo>
                  <a:lnTo>
                    <a:pt x="4325" y="4914"/>
                  </a:lnTo>
                  <a:lnTo>
                    <a:pt x="4299" y="4932"/>
                  </a:lnTo>
                  <a:lnTo>
                    <a:pt x="4271" y="4949"/>
                  </a:lnTo>
                  <a:lnTo>
                    <a:pt x="4243" y="4965"/>
                  </a:lnTo>
                  <a:lnTo>
                    <a:pt x="4213" y="4982"/>
                  </a:lnTo>
                  <a:lnTo>
                    <a:pt x="4183" y="4999"/>
                  </a:lnTo>
                  <a:lnTo>
                    <a:pt x="4153" y="5014"/>
                  </a:lnTo>
                  <a:lnTo>
                    <a:pt x="4088" y="5045"/>
                  </a:lnTo>
                  <a:lnTo>
                    <a:pt x="4020" y="5075"/>
                  </a:lnTo>
                  <a:lnTo>
                    <a:pt x="3950" y="5103"/>
                  </a:lnTo>
                  <a:lnTo>
                    <a:pt x="3876" y="5130"/>
                  </a:lnTo>
                  <a:lnTo>
                    <a:pt x="3800" y="5155"/>
                  </a:lnTo>
                  <a:lnTo>
                    <a:pt x="3721" y="5180"/>
                  </a:lnTo>
                  <a:lnTo>
                    <a:pt x="3640" y="5202"/>
                  </a:lnTo>
                  <a:lnTo>
                    <a:pt x="3557" y="5224"/>
                  </a:lnTo>
                  <a:lnTo>
                    <a:pt x="3471" y="5243"/>
                  </a:lnTo>
                  <a:lnTo>
                    <a:pt x="3382" y="5260"/>
                  </a:lnTo>
                  <a:lnTo>
                    <a:pt x="3292" y="5277"/>
                  </a:lnTo>
                  <a:lnTo>
                    <a:pt x="3199" y="5292"/>
                  </a:lnTo>
                  <a:lnTo>
                    <a:pt x="3199" y="5292"/>
                  </a:lnTo>
                  <a:lnTo>
                    <a:pt x="3079" y="4059"/>
                  </a:lnTo>
                  <a:lnTo>
                    <a:pt x="3079" y="4059"/>
                  </a:lnTo>
                  <a:close/>
                  <a:moveTo>
                    <a:pt x="2843" y="1657"/>
                  </a:moveTo>
                  <a:lnTo>
                    <a:pt x="2843" y="1657"/>
                  </a:lnTo>
                  <a:lnTo>
                    <a:pt x="2883" y="1652"/>
                  </a:lnTo>
                  <a:lnTo>
                    <a:pt x="2923" y="1646"/>
                  </a:lnTo>
                  <a:lnTo>
                    <a:pt x="2961" y="1640"/>
                  </a:lnTo>
                  <a:lnTo>
                    <a:pt x="3000" y="1632"/>
                  </a:lnTo>
                  <a:lnTo>
                    <a:pt x="3037" y="1625"/>
                  </a:lnTo>
                  <a:lnTo>
                    <a:pt x="3074" y="1617"/>
                  </a:lnTo>
                  <a:lnTo>
                    <a:pt x="3110" y="1608"/>
                  </a:lnTo>
                  <a:lnTo>
                    <a:pt x="3145" y="1599"/>
                  </a:lnTo>
                  <a:lnTo>
                    <a:pt x="3180" y="1590"/>
                  </a:lnTo>
                  <a:lnTo>
                    <a:pt x="3214" y="1579"/>
                  </a:lnTo>
                  <a:lnTo>
                    <a:pt x="3247" y="1569"/>
                  </a:lnTo>
                  <a:lnTo>
                    <a:pt x="3278" y="1558"/>
                  </a:lnTo>
                  <a:lnTo>
                    <a:pt x="3309" y="1547"/>
                  </a:lnTo>
                  <a:lnTo>
                    <a:pt x="3340" y="1534"/>
                  </a:lnTo>
                  <a:lnTo>
                    <a:pt x="3369" y="1522"/>
                  </a:lnTo>
                  <a:lnTo>
                    <a:pt x="3397" y="1509"/>
                  </a:lnTo>
                  <a:lnTo>
                    <a:pt x="3397" y="1509"/>
                  </a:lnTo>
                  <a:lnTo>
                    <a:pt x="3728" y="2650"/>
                  </a:lnTo>
                  <a:lnTo>
                    <a:pt x="3728" y="2650"/>
                  </a:lnTo>
                  <a:lnTo>
                    <a:pt x="3694" y="2672"/>
                  </a:lnTo>
                  <a:lnTo>
                    <a:pt x="3657" y="2693"/>
                  </a:lnTo>
                  <a:lnTo>
                    <a:pt x="3618" y="2713"/>
                  </a:lnTo>
                  <a:lnTo>
                    <a:pt x="3578" y="2733"/>
                  </a:lnTo>
                  <a:lnTo>
                    <a:pt x="3535" y="2751"/>
                  </a:lnTo>
                  <a:lnTo>
                    <a:pt x="3491" y="2770"/>
                  </a:lnTo>
                  <a:lnTo>
                    <a:pt x="3446" y="2787"/>
                  </a:lnTo>
                  <a:lnTo>
                    <a:pt x="3398" y="2803"/>
                  </a:lnTo>
                  <a:lnTo>
                    <a:pt x="3349" y="2819"/>
                  </a:lnTo>
                  <a:lnTo>
                    <a:pt x="3298" y="2834"/>
                  </a:lnTo>
                  <a:lnTo>
                    <a:pt x="3246" y="2847"/>
                  </a:lnTo>
                  <a:lnTo>
                    <a:pt x="3192" y="2861"/>
                  </a:lnTo>
                  <a:lnTo>
                    <a:pt x="3137" y="2872"/>
                  </a:lnTo>
                  <a:lnTo>
                    <a:pt x="3081" y="2883"/>
                  </a:lnTo>
                  <a:lnTo>
                    <a:pt x="3023" y="2893"/>
                  </a:lnTo>
                  <a:lnTo>
                    <a:pt x="2965" y="2902"/>
                  </a:lnTo>
                  <a:lnTo>
                    <a:pt x="2965" y="2902"/>
                  </a:lnTo>
                  <a:lnTo>
                    <a:pt x="2843" y="1657"/>
                  </a:lnTo>
                  <a:lnTo>
                    <a:pt x="2843" y="1657"/>
                  </a:lnTo>
                  <a:close/>
                  <a:moveTo>
                    <a:pt x="2775" y="9"/>
                  </a:moveTo>
                  <a:lnTo>
                    <a:pt x="2775" y="9"/>
                  </a:lnTo>
                  <a:lnTo>
                    <a:pt x="2795" y="4"/>
                  </a:lnTo>
                  <a:lnTo>
                    <a:pt x="2813" y="1"/>
                  </a:lnTo>
                  <a:lnTo>
                    <a:pt x="2832" y="0"/>
                  </a:lnTo>
                  <a:lnTo>
                    <a:pt x="2851" y="1"/>
                  </a:lnTo>
                  <a:lnTo>
                    <a:pt x="2869" y="4"/>
                  </a:lnTo>
                  <a:lnTo>
                    <a:pt x="2886" y="8"/>
                  </a:lnTo>
                  <a:lnTo>
                    <a:pt x="2903" y="15"/>
                  </a:lnTo>
                  <a:lnTo>
                    <a:pt x="2918" y="25"/>
                  </a:lnTo>
                  <a:lnTo>
                    <a:pt x="2934" y="35"/>
                  </a:lnTo>
                  <a:lnTo>
                    <a:pt x="2948" y="49"/>
                  </a:lnTo>
                  <a:lnTo>
                    <a:pt x="2961" y="64"/>
                  </a:lnTo>
                  <a:lnTo>
                    <a:pt x="2974" y="82"/>
                  </a:lnTo>
                  <a:lnTo>
                    <a:pt x="2985" y="102"/>
                  </a:lnTo>
                  <a:lnTo>
                    <a:pt x="2995" y="124"/>
                  </a:lnTo>
                  <a:lnTo>
                    <a:pt x="3004" y="148"/>
                  </a:lnTo>
                  <a:lnTo>
                    <a:pt x="3012" y="174"/>
                  </a:lnTo>
                  <a:lnTo>
                    <a:pt x="3012" y="174"/>
                  </a:lnTo>
                  <a:lnTo>
                    <a:pt x="3029" y="235"/>
                  </a:lnTo>
                  <a:lnTo>
                    <a:pt x="3068" y="373"/>
                  </a:lnTo>
                  <a:lnTo>
                    <a:pt x="3068" y="373"/>
                  </a:lnTo>
                  <a:lnTo>
                    <a:pt x="3034" y="389"/>
                  </a:lnTo>
                  <a:lnTo>
                    <a:pt x="2996" y="405"/>
                  </a:lnTo>
                  <a:lnTo>
                    <a:pt x="2957" y="418"/>
                  </a:lnTo>
                  <a:lnTo>
                    <a:pt x="2915" y="432"/>
                  </a:lnTo>
                  <a:lnTo>
                    <a:pt x="2872" y="444"/>
                  </a:lnTo>
                  <a:lnTo>
                    <a:pt x="2826" y="455"/>
                  </a:lnTo>
                  <a:lnTo>
                    <a:pt x="2777" y="463"/>
                  </a:lnTo>
                  <a:lnTo>
                    <a:pt x="2728" y="472"/>
                  </a:lnTo>
                  <a:lnTo>
                    <a:pt x="2728" y="472"/>
                  </a:lnTo>
                  <a:lnTo>
                    <a:pt x="2717" y="345"/>
                  </a:lnTo>
                  <a:lnTo>
                    <a:pt x="2717" y="345"/>
                  </a:lnTo>
                  <a:lnTo>
                    <a:pt x="2713" y="297"/>
                  </a:lnTo>
                  <a:lnTo>
                    <a:pt x="2707" y="244"/>
                  </a:lnTo>
                  <a:lnTo>
                    <a:pt x="2705" y="218"/>
                  </a:lnTo>
                  <a:lnTo>
                    <a:pt x="2704" y="192"/>
                  </a:lnTo>
                  <a:lnTo>
                    <a:pt x="2703" y="167"/>
                  </a:lnTo>
                  <a:lnTo>
                    <a:pt x="2704" y="142"/>
                  </a:lnTo>
                  <a:lnTo>
                    <a:pt x="2705" y="119"/>
                  </a:lnTo>
                  <a:lnTo>
                    <a:pt x="2710" y="96"/>
                  </a:lnTo>
                  <a:lnTo>
                    <a:pt x="2715" y="77"/>
                  </a:lnTo>
                  <a:lnTo>
                    <a:pt x="2718" y="67"/>
                  </a:lnTo>
                  <a:lnTo>
                    <a:pt x="2721" y="58"/>
                  </a:lnTo>
                  <a:lnTo>
                    <a:pt x="2726" y="50"/>
                  </a:lnTo>
                  <a:lnTo>
                    <a:pt x="2731" y="41"/>
                  </a:lnTo>
                  <a:lnTo>
                    <a:pt x="2737" y="34"/>
                  </a:lnTo>
                  <a:lnTo>
                    <a:pt x="2743" y="28"/>
                  </a:lnTo>
                  <a:lnTo>
                    <a:pt x="2750" y="22"/>
                  </a:lnTo>
                  <a:lnTo>
                    <a:pt x="2757" y="17"/>
                  </a:lnTo>
                  <a:lnTo>
                    <a:pt x="2766" y="13"/>
                  </a:lnTo>
                  <a:lnTo>
                    <a:pt x="2775" y="9"/>
                  </a:lnTo>
                  <a:lnTo>
                    <a:pt x="2775" y="9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8" name="Freeform 39"/>
            <p:cNvSpPr>
              <a:spLocks/>
            </p:cNvSpPr>
            <p:nvPr/>
          </p:nvSpPr>
          <p:spPr bwMode="auto">
            <a:xfrm flipH="1">
              <a:off x="5534256" y="2493275"/>
              <a:ext cx="123849" cy="183168"/>
            </a:xfrm>
            <a:custGeom>
              <a:avLst/>
              <a:gdLst>
                <a:gd name="T0" fmla="*/ 340 w 669"/>
                <a:gd name="T1" fmla="*/ 0 h 1284"/>
                <a:gd name="T2" fmla="*/ 340 w 669"/>
                <a:gd name="T3" fmla="*/ 0 h 1284"/>
                <a:gd name="T4" fmla="*/ 669 w 669"/>
                <a:gd name="T5" fmla="*/ 1136 h 1284"/>
                <a:gd name="T6" fmla="*/ 669 w 669"/>
                <a:gd name="T7" fmla="*/ 1136 h 1284"/>
                <a:gd name="T8" fmla="*/ 641 w 669"/>
                <a:gd name="T9" fmla="*/ 1149 h 1284"/>
                <a:gd name="T10" fmla="*/ 612 w 669"/>
                <a:gd name="T11" fmla="*/ 1161 h 1284"/>
                <a:gd name="T12" fmla="*/ 581 w 669"/>
                <a:gd name="T13" fmla="*/ 1174 h 1284"/>
                <a:gd name="T14" fmla="*/ 550 w 669"/>
                <a:gd name="T15" fmla="*/ 1185 h 1284"/>
                <a:gd name="T16" fmla="*/ 519 w 669"/>
                <a:gd name="T17" fmla="*/ 1196 h 1284"/>
                <a:gd name="T18" fmla="*/ 486 w 669"/>
                <a:gd name="T19" fmla="*/ 1206 h 1284"/>
                <a:gd name="T20" fmla="*/ 452 w 669"/>
                <a:gd name="T21" fmla="*/ 1217 h 1284"/>
                <a:gd name="T22" fmla="*/ 417 w 669"/>
                <a:gd name="T23" fmla="*/ 1226 h 1284"/>
                <a:gd name="T24" fmla="*/ 382 w 669"/>
                <a:gd name="T25" fmla="*/ 1235 h 1284"/>
                <a:gd name="T26" fmla="*/ 346 w 669"/>
                <a:gd name="T27" fmla="*/ 1244 h 1284"/>
                <a:gd name="T28" fmla="*/ 309 w 669"/>
                <a:gd name="T29" fmla="*/ 1252 h 1284"/>
                <a:gd name="T30" fmla="*/ 272 w 669"/>
                <a:gd name="T31" fmla="*/ 1259 h 1284"/>
                <a:gd name="T32" fmla="*/ 233 w 669"/>
                <a:gd name="T33" fmla="*/ 1267 h 1284"/>
                <a:gd name="T34" fmla="*/ 195 w 669"/>
                <a:gd name="T35" fmla="*/ 1273 h 1284"/>
                <a:gd name="T36" fmla="*/ 155 w 669"/>
                <a:gd name="T37" fmla="*/ 1279 h 1284"/>
                <a:gd name="T38" fmla="*/ 115 w 669"/>
                <a:gd name="T39" fmla="*/ 1284 h 1284"/>
                <a:gd name="T40" fmla="*/ 115 w 669"/>
                <a:gd name="T41" fmla="*/ 1284 h 1284"/>
                <a:gd name="T42" fmla="*/ 0 w 669"/>
                <a:gd name="T43" fmla="*/ 99 h 1284"/>
                <a:gd name="T44" fmla="*/ 0 w 669"/>
                <a:gd name="T45" fmla="*/ 99 h 1284"/>
                <a:gd name="T46" fmla="*/ 49 w 669"/>
                <a:gd name="T47" fmla="*/ 90 h 1284"/>
                <a:gd name="T48" fmla="*/ 98 w 669"/>
                <a:gd name="T49" fmla="*/ 82 h 1284"/>
                <a:gd name="T50" fmla="*/ 144 w 669"/>
                <a:gd name="T51" fmla="*/ 71 h 1284"/>
                <a:gd name="T52" fmla="*/ 187 w 669"/>
                <a:gd name="T53" fmla="*/ 59 h 1284"/>
                <a:gd name="T54" fmla="*/ 229 w 669"/>
                <a:gd name="T55" fmla="*/ 45 h 1284"/>
                <a:gd name="T56" fmla="*/ 268 w 669"/>
                <a:gd name="T57" fmla="*/ 32 h 1284"/>
                <a:gd name="T58" fmla="*/ 306 w 669"/>
                <a:gd name="T59" fmla="*/ 16 h 1284"/>
                <a:gd name="T60" fmla="*/ 340 w 669"/>
                <a:gd name="T61" fmla="*/ 0 h 1284"/>
                <a:gd name="T62" fmla="*/ 340 w 669"/>
                <a:gd name="T63" fmla="*/ 0 h 1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69" h="1284">
                  <a:moveTo>
                    <a:pt x="340" y="0"/>
                  </a:moveTo>
                  <a:lnTo>
                    <a:pt x="340" y="0"/>
                  </a:lnTo>
                  <a:lnTo>
                    <a:pt x="669" y="1136"/>
                  </a:lnTo>
                  <a:lnTo>
                    <a:pt x="669" y="1136"/>
                  </a:lnTo>
                  <a:lnTo>
                    <a:pt x="641" y="1149"/>
                  </a:lnTo>
                  <a:lnTo>
                    <a:pt x="612" y="1161"/>
                  </a:lnTo>
                  <a:lnTo>
                    <a:pt x="581" y="1174"/>
                  </a:lnTo>
                  <a:lnTo>
                    <a:pt x="550" y="1185"/>
                  </a:lnTo>
                  <a:lnTo>
                    <a:pt x="519" y="1196"/>
                  </a:lnTo>
                  <a:lnTo>
                    <a:pt x="486" y="1206"/>
                  </a:lnTo>
                  <a:lnTo>
                    <a:pt x="452" y="1217"/>
                  </a:lnTo>
                  <a:lnTo>
                    <a:pt x="417" y="1226"/>
                  </a:lnTo>
                  <a:lnTo>
                    <a:pt x="382" y="1235"/>
                  </a:lnTo>
                  <a:lnTo>
                    <a:pt x="346" y="1244"/>
                  </a:lnTo>
                  <a:lnTo>
                    <a:pt x="309" y="1252"/>
                  </a:lnTo>
                  <a:lnTo>
                    <a:pt x="272" y="1259"/>
                  </a:lnTo>
                  <a:lnTo>
                    <a:pt x="233" y="1267"/>
                  </a:lnTo>
                  <a:lnTo>
                    <a:pt x="195" y="1273"/>
                  </a:lnTo>
                  <a:lnTo>
                    <a:pt x="155" y="1279"/>
                  </a:lnTo>
                  <a:lnTo>
                    <a:pt x="115" y="1284"/>
                  </a:lnTo>
                  <a:lnTo>
                    <a:pt x="115" y="1284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49" y="90"/>
                  </a:lnTo>
                  <a:lnTo>
                    <a:pt x="98" y="82"/>
                  </a:lnTo>
                  <a:lnTo>
                    <a:pt x="144" y="71"/>
                  </a:lnTo>
                  <a:lnTo>
                    <a:pt x="187" y="59"/>
                  </a:lnTo>
                  <a:lnTo>
                    <a:pt x="229" y="45"/>
                  </a:lnTo>
                  <a:lnTo>
                    <a:pt x="268" y="32"/>
                  </a:lnTo>
                  <a:lnTo>
                    <a:pt x="306" y="16"/>
                  </a:lnTo>
                  <a:lnTo>
                    <a:pt x="340" y="0"/>
                  </a:lnTo>
                  <a:lnTo>
                    <a:pt x="34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9" name="Freeform 40"/>
            <p:cNvSpPr>
              <a:spLocks noEditPoints="1"/>
            </p:cNvSpPr>
            <p:nvPr/>
          </p:nvSpPr>
          <p:spPr bwMode="auto">
            <a:xfrm flipH="1">
              <a:off x="5295589" y="2493275"/>
              <a:ext cx="795986" cy="870694"/>
            </a:xfrm>
            <a:custGeom>
              <a:avLst/>
              <a:gdLst>
                <a:gd name="T0" fmla="*/ 807 w 4316"/>
                <a:gd name="T1" fmla="*/ 3478 h 6081"/>
                <a:gd name="T2" fmla="*/ 969 w 4316"/>
                <a:gd name="T3" fmla="*/ 3203 h 6081"/>
                <a:gd name="T4" fmla="*/ 1020 w 4316"/>
                <a:gd name="T5" fmla="*/ 3001 h 6081"/>
                <a:gd name="T6" fmla="*/ 1028 w 4316"/>
                <a:gd name="T7" fmla="*/ 2934 h 6081"/>
                <a:gd name="T8" fmla="*/ 1023 w 4316"/>
                <a:gd name="T9" fmla="*/ 2888 h 6081"/>
                <a:gd name="T10" fmla="*/ 1005 w 4316"/>
                <a:gd name="T11" fmla="*/ 2865 h 6081"/>
                <a:gd name="T12" fmla="*/ 980 w 4316"/>
                <a:gd name="T13" fmla="*/ 2862 h 6081"/>
                <a:gd name="T14" fmla="*/ 951 w 4316"/>
                <a:gd name="T15" fmla="*/ 2878 h 6081"/>
                <a:gd name="T16" fmla="*/ 920 w 4316"/>
                <a:gd name="T17" fmla="*/ 2914 h 6081"/>
                <a:gd name="T18" fmla="*/ 891 w 4316"/>
                <a:gd name="T19" fmla="*/ 2967 h 6081"/>
                <a:gd name="T20" fmla="*/ 828 w 4316"/>
                <a:gd name="T21" fmla="*/ 3143 h 6081"/>
                <a:gd name="T22" fmla="*/ 593 w 4316"/>
                <a:gd name="T23" fmla="*/ 4696 h 6081"/>
                <a:gd name="T24" fmla="*/ 228 w 4316"/>
                <a:gd name="T25" fmla="*/ 5771 h 6081"/>
                <a:gd name="T26" fmla="*/ 71 w 4316"/>
                <a:gd name="T27" fmla="*/ 5687 h 6081"/>
                <a:gd name="T28" fmla="*/ 353 w 4316"/>
                <a:gd name="T29" fmla="*/ 4574 h 6081"/>
                <a:gd name="T30" fmla="*/ 467 w 4316"/>
                <a:gd name="T31" fmla="*/ 4637 h 6081"/>
                <a:gd name="T32" fmla="*/ 2702 w 4316"/>
                <a:gd name="T33" fmla="*/ 3686 h 6081"/>
                <a:gd name="T34" fmla="*/ 2921 w 4316"/>
                <a:gd name="T35" fmla="*/ 3647 h 6081"/>
                <a:gd name="T36" fmla="*/ 3190 w 4316"/>
                <a:gd name="T37" fmla="*/ 3579 h 6081"/>
                <a:gd name="T38" fmla="*/ 3425 w 4316"/>
                <a:gd name="T39" fmla="*/ 3491 h 6081"/>
                <a:gd name="T40" fmla="*/ 3623 w 4316"/>
                <a:gd name="T41" fmla="*/ 3387 h 6081"/>
                <a:gd name="T42" fmla="*/ 3351 w 4316"/>
                <a:gd name="T43" fmla="*/ 2277 h 6081"/>
                <a:gd name="T44" fmla="*/ 3201 w 4316"/>
                <a:gd name="T45" fmla="*/ 2360 h 6081"/>
                <a:gd name="T46" fmla="*/ 3021 w 4316"/>
                <a:gd name="T47" fmla="*/ 2430 h 6081"/>
                <a:gd name="T48" fmla="*/ 2815 w 4316"/>
                <a:gd name="T49" fmla="*/ 2488 h 6081"/>
                <a:gd name="T50" fmla="*/ 2588 w 4316"/>
                <a:gd name="T51" fmla="*/ 2529 h 6081"/>
                <a:gd name="T52" fmla="*/ 3999 w 4316"/>
                <a:gd name="T53" fmla="*/ 4506 h 6081"/>
                <a:gd name="T54" fmla="*/ 4287 w 4316"/>
                <a:gd name="T55" fmla="*/ 5617 h 6081"/>
                <a:gd name="T56" fmla="*/ 4160 w 4316"/>
                <a:gd name="T57" fmla="*/ 5697 h 6081"/>
                <a:gd name="T58" fmla="*/ 4018 w 4316"/>
                <a:gd name="T59" fmla="*/ 5773 h 6081"/>
                <a:gd name="T60" fmla="*/ 3860 w 4316"/>
                <a:gd name="T61" fmla="*/ 5843 h 6081"/>
                <a:gd name="T62" fmla="*/ 3687 w 4316"/>
                <a:gd name="T63" fmla="*/ 5906 h 6081"/>
                <a:gd name="T64" fmla="*/ 3503 w 4316"/>
                <a:gd name="T65" fmla="*/ 5964 h 6081"/>
                <a:gd name="T66" fmla="*/ 3152 w 4316"/>
                <a:gd name="T67" fmla="*/ 6045 h 6081"/>
                <a:gd name="T68" fmla="*/ 2822 w 4316"/>
                <a:gd name="T69" fmla="*/ 4919 h 6081"/>
                <a:gd name="T70" fmla="*/ 3094 w 4316"/>
                <a:gd name="T71" fmla="*/ 4870 h 6081"/>
                <a:gd name="T72" fmla="*/ 3423 w 4316"/>
                <a:gd name="T73" fmla="*/ 4782 h 6081"/>
                <a:gd name="T74" fmla="*/ 3711 w 4316"/>
                <a:gd name="T75" fmla="*/ 4672 h 6081"/>
                <a:gd name="T76" fmla="*/ 3866 w 4316"/>
                <a:gd name="T77" fmla="*/ 4592 h 6081"/>
                <a:gd name="T78" fmla="*/ 3974 w 4316"/>
                <a:gd name="T79" fmla="*/ 4524 h 6081"/>
                <a:gd name="T80" fmla="*/ 2691 w 4316"/>
                <a:gd name="T81" fmla="*/ 0 h 6081"/>
                <a:gd name="T82" fmla="*/ 2963 w 4316"/>
                <a:gd name="T83" fmla="*/ 1161 h 6081"/>
                <a:gd name="T84" fmla="*/ 2837 w 4316"/>
                <a:gd name="T85" fmla="*/ 1206 h 6081"/>
                <a:gd name="T86" fmla="*/ 2697 w 4316"/>
                <a:gd name="T87" fmla="*/ 1244 h 6081"/>
                <a:gd name="T88" fmla="*/ 2546 w 4316"/>
                <a:gd name="T89" fmla="*/ 1273 h 6081"/>
                <a:gd name="T90" fmla="*/ 2351 w 4316"/>
                <a:gd name="T91" fmla="*/ 99 h 6081"/>
                <a:gd name="T92" fmla="*/ 2495 w 4316"/>
                <a:gd name="T93" fmla="*/ 71 h 6081"/>
                <a:gd name="T94" fmla="*/ 2657 w 4316"/>
                <a:gd name="T95" fmla="*/ 16 h 6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316" h="6081">
                  <a:moveTo>
                    <a:pt x="729" y="3439"/>
                  </a:moveTo>
                  <a:lnTo>
                    <a:pt x="729" y="3439"/>
                  </a:lnTo>
                  <a:lnTo>
                    <a:pt x="768" y="3459"/>
                  </a:lnTo>
                  <a:lnTo>
                    <a:pt x="807" y="3478"/>
                  </a:lnTo>
                  <a:lnTo>
                    <a:pt x="848" y="3496"/>
                  </a:lnTo>
                  <a:lnTo>
                    <a:pt x="891" y="3514"/>
                  </a:lnTo>
                  <a:lnTo>
                    <a:pt x="891" y="3514"/>
                  </a:lnTo>
                  <a:lnTo>
                    <a:pt x="969" y="3203"/>
                  </a:lnTo>
                  <a:lnTo>
                    <a:pt x="1010" y="3044"/>
                  </a:lnTo>
                  <a:lnTo>
                    <a:pt x="1010" y="3044"/>
                  </a:lnTo>
                  <a:lnTo>
                    <a:pt x="1015" y="3022"/>
                  </a:lnTo>
                  <a:lnTo>
                    <a:pt x="1020" y="3001"/>
                  </a:lnTo>
                  <a:lnTo>
                    <a:pt x="1024" y="2982"/>
                  </a:lnTo>
                  <a:lnTo>
                    <a:pt x="1026" y="2964"/>
                  </a:lnTo>
                  <a:lnTo>
                    <a:pt x="1028" y="2948"/>
                  </a:lnTo>
                  <a:lnTo>
                    <a:pt x="1028" y="2934"/>
                  </a:lnTo>
                  <a:lnTo>
                    <a:pt x="1028" y="2920"/>
                  </a:lnTo>
                  <a:lnTo>
                    <a:pt x="1027" y="2908"/>
                  </a:lnTo>
                  <a:lnTo>
                    <a:pt x="1025" y="2897"/>
                  </a:lnTo>
                  <a:lnTo>
                    <a:pt x="1023" y="2888"/>
                  </a:lnTo>
                  <a:lnTo>
                    <a:pt x="1018" y="2881"/>
                  </a:lnTo>
                  <a:lnTo>
                    <a:pt x="1015" y="2874"/>
                  </a:lnTo>
                  <a:lnTo>
                    <a:pt x="1010" y="2869"/>
                  </a:lnTo>
                  <a:lnTo>
                    <a:pt x="1005" y="2865"/>
                  </a:lnTo>
                  <a:lnTo>
                    <a:pt x="1000" y="2862"/>
                  </a:lnTo>
                  <a:lnTo>
                    <a:pt x="993" y="2861"/>
                  </a:lnTo>
                  <a:lnTo>
                    <a:pt x="987" y="2861"/>
                  </a:lnTo>
                  <a:lnTo>
                    <a:pt x="980" y="2862"/>
                  </a:lnTo>
                  <a:lnTo>
                    <a:pt x="974" y="2864"/>
                  </a:lnTo>
                  <a:lnTo>
                    <a:pt x="966" y="2868"/>
                  </a:lnTo>
                  <a:lnTo>
                    <a:pt x="958" y="2873"/>
                  </a:lnTo>
                  <a:lnTo>
                    <a:pt x="951" y="2878"/>
                  </a:lnTo>
                  <a:lnTo>
                    <a:pt x="944" y="2886"/>
                  </a:lnTo>
                  <a:lnTo>
                    <a:pt x="935" y="2894"/>
                  </a:lnTo>
                  <a:lnTo>
                    <a:pt x="928" y="2903"/>
                  </a:lnTo>
                  <a:lnTo>
                    <a:pt x="920" y="2914"/>
                  </a:lnTo>
                  <a:lnTo>
                    <a:pt x="912" y="2925"/>
                  </a:lnTo>
                  <a:lnTo>
                    <a:pt x="905" y="2938"/>
                  </a:lnTo>
                  <a:lnTo>
                    <a:pt x="898" y="2952"/>
                  </a:lnTo>
                  <a:lnTo>
                    <a:pt x="891" y="2967"/>
                  </a:lnTo>
                  <a:lnTo>
                    <a:pt x="883" y="2983"/>
                  </a:lnTo>
                  <a:lnTo>
                    <a:pt x="877" y="2999"/>
                  </a:lnTo>
                  <a:lnTo>
                    <a:pt x="877" y="2999"/>
                  </a:lnTo>
                  <a:lnTo>
                    <a:pt x="828" y="3143"/>
                  </a:lnTo>
                  <a:lnTo>
                    <a:pt x="729" y="3439"/>
                  </a:lnTo>
                  <a:lnTo>
                    <a:pt x="729" y="3439"/>
                  </a:lnTo>
                  <a:close/>
                  <a:moveTo>
                    <a:pt x="593" y="4696"/>
                  </a:moveTo>
                  <a:lnTo>
                    <a:pt x="593" y="4696"/>
                  </a:lnTo>
                  <a:lnTo>
                    <a:pt x="315" y="5811"/>
                  </a:lnTo>
                  <a:lnTo>
                    <a:pt x="315" y="5811"/>
                  </a:lnTo>
                  <a:lnTo>
                    <a:pt x="271" y="5791"/>
                  </a:lnTo>
                  <a:lnTo>
                    <a:pt x="228" y="5771"/>
                  </a:lnTo>
                  <a:lnTo>
                    <a:pt x="188" y="5750"/>
                  </a:lnTo>
                  <a:lnTo>
                    <a:pt x="147" y="5729"/>
                  </a:lnTo>
                  <a:lnTo>
                    <a:pt x="109" y="5708"/>
                  </a:lnTo>
                  <a:lnTo>
                    <a:pt x="71" y="5687"/>
                  </a:lnTo>
                  <a:lnTo>
                    <a:pt x="35" y="5664"/>
                  </a:lnTo>
                  <a:lnTo>
                    <a:pt x="0" y="5641"/>
                  </a:lnTo>
                  <a:lnTo>
                    <a:pt x="0" y="5641"/>
                  </a:lnTo>
                  <a:lnTo>
                    <a:pt x="353" y="4574"/>
                  </a:lnTo>
                  <a:lnTo>
                    <a:pt x="353" y="4574"/>
                  </a:lnTo>
                  <a:lnTo>
                    <a:pt x="380" y="4590"/>
                  </a:lnTo>
                  <a:lnTo>
                    <a:pt x="408" y="4606"/>
                  </a:lnTo>
                  <a:lnTo>
                    <a:pt x="467" y="4637"/>
                  </a:lnTo>
                  <a:lnTo>
                    <a:pt x="529" y="4668"/>
                  </a:lnTo>
                  <a:lnTo>
                    <a:pt x="593" y="4696"/>
                  </a:lnTo>
                  <a:lnTo>
                    <a:pt x="593" y="4696"/>
                  </a:lnTo>
                  <a:close/>
                  <a:moveTo>
                    <a:pt x="2702" y="3686"/>
                  </a:moveTo>
                  <a:lnTo>
                    <a:pt x="2702" y="3686"/>
                  </a:lnTo>
                  <a:lnTo>
                    <a:pt x="2776" y="3675"/>
                  </a:lnTo>
                  <a:lnTo>
                    <a:pt x="2849" y="3662"/>
                  </a:lnTo>
                  <a:lnTo>
                    <a:pt x="2921" y="3647"/>
                  </a:lnTo>
                  <a:lnTo>
                    <a:pt x="2992" y="3632"/>
                  </a:lnTo>
                  <a:lnTo>
                    <a:pt x="3059" y="3615"/>
                  </a:lnTo>
                  <a:lnTo>
                    <a:pt x="3126" y="3597"/>
                  </a:lnTo>
                  <a:lnTo>
                    <a:pt x="3190" y="3579"/>
                  </a:lnTo>
                  <a:lnTo>
                    <a:pt x="3252" y="3558"/>
                  </a:lnTo>
                  <a:lnTo>
                    <a:pt x="3312" y="3537"/>
                  </a:lnTo>
                  <a:lnTo>
                    <a:pt x="3370" y="3514"/>
                  </a:lnTo>
                  <a:lnTo>
                    <a:pt x="3425" y="3491"/>
                  </a:lnTo>
                  <a:lnTo>
                    <a:pt x="3478" y="3466"/>
                  </a:lnTo>
                  <a:lnTo>
                    <a:pt x="3529" y="3441"/>
                  </a:lnTo>
                  <a:lnTo>
                    <a:pt x="3577" y="3414"/>
                  </a:lnTo>
                  <a:lnTo>
                    <a:pt x="3623" y="3387"/>
                  </a:lnTo>
                  <a:lnTo>
                    <a:pt x="3665" y="3359"/>
                  </a:lnTo>
                  <a:lnTo>
                    <a:pt x="3665" y="3359"/>
                  </a:lnTo>
                  <a:lnTo>
                    <a:pt x="3351" y="2277"/>
                  </a:lnTo>
                  <a:lnTo>
                    <a:pt x="3351" y="2277"/>
                  </a:lnTo>
                  <a:lnTo>
                    <a:pt x="3317" y="2299"/>
                  </a:lnTo>
                  <a:lnTo>
                    <a:pt x="3280" y="2320"/>
                  </a:lnTo>
                  <a:lnTo>
                    <a:pt x="3241" y="2340"/>
                  </a:lnTo>
                  <a:lnTo>
                    <a:pt x="3201" y="2360"/>
                  </a:lnTo>
                  <a:lnTo>
                    <a:pt x="3158" y="2378"/>
                  </a:lnTo>
                  <a:lnTo>
                    <a:pt x="3114" y="2397"/>
                  </a:lnTo>
                  <a:lnTo>
                    <a:pt x="3069" y="2414"/>
                  </a:lnTo>
                  <a:lnTo>
                    <a:pt x="3021" y="2430"/>
                  </a:lnTo>
                  <a:lnTo>
                    <a:pt x="2972" y="2446"/>
                  </a:lnTo>
                  <a:lnTo>
                    <a:pt x="2921" y="2461"/>
                  </a:lnTo>
                  <a:lnTo>
                    <a:pt x="2869" y="2474"/>
                  </a:lnTo>
                  <a:lnTo>
                    <a:pt x="2815" y="2488"/>
                  </a:lnTo>
                  <a:lnTo>
                    <a:pt x="2760" y="2499"/>
                  </a:lnTo>
                  <a:lnTo>
                    <a:pt x="2704" y="2510"/>
                  </a:lnTo>
                  <a:lnTo>
                    <a:pt x="2646" y="2520"/>
                  </a:lnTo>
                  <a:lnTo>
                    <a:pt x="2588" y="2529"/>
                  </a:lnTo>
                  <a:lnTo>
                    <a:pt x="2588" y="2529"/>
                  </a:lnTo>
                  <a:lnTo>
                    <a:pt x="2702" y="3686"/>
                  </a:lnTo>
                  <a:lnTo>
                    <a:pt x="2702" y="3686"/>
                  </a:lnTo>
                  <a:close/>
                  <a:moveTo>
                    <a:pt x="3999" y="4506"/>
                  </a:moveTo>
                  <a:lnTo>
                    <a:pt x="3999" y="4506"/>
                  </a:lnTo>
                  <a:lnTo>
                    <a:pt x="4316" y="5595"/>
                  </a:lnTo>
                  <a:lnTo>
                    <a:pt x="4316" y="5595"/>
                  </a:lnTo>
                  <a:lnTo>
                    <a:pt x="4287" y="5617"/>
                  </a:lnTo>
                  <a:lnTo>
                    <a:pt x="4257" y="5637"/>
                  </a:lnTo>
                  <a:lnTo>
                    <a:pt x="4226" y="5657"/>
                  </a:lnTo>
                  <a:lnTo>
                    <a:pt x="4193" y="5677"/>
                  </a:lnTo>
                  <a:lnTo>
                    <a:pt x="4160" y="5697"/>
                  </a:lnTo>
                  <a:lnTo>
                    <a:pt x="4126" y="5717"/>
                  </a:lnTo>
                  <a:lnTo>
                    <a:pt x="4091" y="5736"/>
                  </a:lnTo>
                  <a:lnTo>
                    <a:pt x="4054" y="5754"/>
                  </a:lnTo>
                  <a:lnTo>
                    <a:pt x="4018" y="5773"/>
                  </a:lnTo>
                  <a:lnTo>
                    <a:pt x="3979" y="5791"/>
                  </a:lnTo>
                  <a:lnTo>
                    <a:pt x="3940" y="5808"/>
                  </a:lnTo>
                  <a:lnTo>
                    <a:pt x="3900" y="5826"/>
                  </a:lnTo>
                  <a:lnTo>
                    <a:pt x="3860" y="5843"/>
                  </a:lnTo>
                  <a:lnTo>
                    <a:pt x="3817" y="5859"/>
                  </a:lnTo>
                  <a:lnTo>
                    <a:pt x="3776" y="5875"/>
                  </a:lnTo>
                  <a:lnTo>
                    <a:pt x="3732" y="5891"/>
                  </a:lnTo>
                  <a:lnTo>
                    <a:pt x="3687" y="5906"/>
                  </a:lnTo>
                  <a:lnTo>
                    <a:pt x="3642" y="5921"/>
                  </a:lnTo>
                  <a:lnTo>
                    <a:pt x="3597" y="5936"/>
                  </a:lnTo>
                  <a:lnTo>
                    <a:pt x="3550" y="5950"/>
                  </a:lnTo>
                  <a:lnTo>
                    <a:pt x="3503" y="5964"/>
                  </a:lnTo>
                  <a:lnTo>
                    <a:pt x="3454" y="5976"/>
                  </a:lnTo>
                  <a:lnTo>
                    <a:pt x="3357" y="6001"/>
                  </a:lnTo>
                  <a:lnTo>
                    <a:pt x="3255" y="6024"/>
                  </a:lnTo>
                  <a:lnTo>
                    <a:pt x="3152" y="6045"/>
                  </a:lnTo>
                  <a:lnTo>
                    <a:pt x="3045" y="6065"/>
                  </a:lnTo>
                  <a:lnTo>
                    <a:pt x="2937" y="6081"/>
                  </a:lnTo>
                  <a:lnTo>
                    <a:pt x="2937" y="6081"/>
                  </a:lnTo>
                  <a:lnTo>
                    <a:pt x="2822" y="4919"/>
                  </a:lnTo>
                  <a:lnTo>
                    <a:pt x="2822" y="4919"/>
                  </a:lnTo>
                  <a:lnTo>
                    <a:pt x="2915" y="4904"/>
                  </a:lnTo>
                  <a:lnTo>
                    <a:pt x="3005" y="4887"/>
                  </a:lnTo>
                  <a:lnTo>
                    <a:pt x="3094" y="4870"/>
                  </a:lnTo>
                  <a:lnTo>
                    <a:pt x="3180" y="4851"/>
                  </a:lnTo>
                  <a:lnTo>
                    <a:pt x="3263" y="4829"/>
                  </a:lnTo>
                  <a:lnTo>
                    <a:pt x="3344" y="4807"/>
                  </a:lnTo>
                  <a:lnTo>
                    <a:pt x="3423" y="4782"/>
                  </a:lnTo>
                  <a:lnTo>
                    <a:pt x="3499" y="4757"/>
                  </a:lnTo>
                  <a:lnTo>
                    <a:pt x="3573" y="4730"/>
                  </a:lnTo>
                  <a:lnTo>
                    <a:pt x="3643" y="4702"/>
                  </a:lnTo>
                  <a:lnTo>
                    <a:pt x="3711" y="4672"/>
                  </a:lnTo>
                  <a:lnTo>
                    <a:pt x="3776" y="4641"/>
                  </a:lnTo>
                  <a:lnTo>
                    <a:pt x="3806" y="4626"/>
                  </a:lnTo>
                  <a:lnTo>
                    <a:pt x="3836" y="4609"/>
                  </a:lnTo>
                  <a:lnTo>
                    <a:pt x="3866" y="4592"/>
                  </a:lnTo>
                  <a:lnTo>
                    <a:pt x="3894" y="4576"/>
                  </a:lnTo>
                  <a:lnTo>
                    <a:pt x="3922" y="4559"/>
                  </a:lnTo>
                  <a:lnTo>
                    <a:pt x="3948" y="4541"/>
                  </a:lnTo>
                  <a:lnTo>
                    <a:pt x="3974" y="4524"/>
                  </a:lnTo>
                  <a:lnTo>
                    <a:pt x="3999" y="4506"/>
                  </a:lnTo>
                  <a:lnTo>
                    <a:pt x="3999" y="4506"/>
                  </a:lnTo>
                  <a:close/>
                  <a:moveTo>
                    <a:pt x="2691" y="0"/>
                  </a:moveTo>
                  <a:lnTo>
                    <a:pt x="2691" y="0"/>
                  </a:lnTo>
                  <a:lnTo>
                    <a:pt x="3020" y="1136"/>
                  </a:lnTo>
                  <a:lnTo>
                    <a:pt x="3020" y="1136"/>
                  </a:lnTo>
                  <a:lnTo>
                    <a:pt x="2992" y="1149"/>
                  </a:lnTo>
                  <a:lnTo>
                    <a:pt x="2963" y="1161"/>
                  </a:lnTo>
                  <a:lnTo>
                    <a:pt x="2932" y="1174"/>
                  </a:lnTo>
                  <a:lnTo>
                    <a:pt x="2901" y="1185"/>
                  </a:lnTo>
                  <a:lnTo>
                    <a:pt x="2870" y="1196"/>
                  </a:lnTo>
                  <a:lnTo>
                    <a:pt x="2837" y="1206"/>
                  </a:lnTo>
                  <a:lnTo>
                    <a:pt x="2803" y="1217"/>
                  </a:lnTo>
                  <a:lnTo>
                    <a:pt x="2768" y="1226"/>
                  </a:lnTo>
                  <a:lnTo>
                    <a:pt x="2733" y="1235"/>
                  </a:lnTo>
                  <a:lnTo>
                    <a:pt x="2697" y="1244"/>
                  </a:lnTo>
                  <a:lnTo>
                    <a:pt x="2660" y="1252"/>
                  </a:lnTo>
                  <a:lnTo>
                    <a:pt x="2623" y="1259"/>
                  </a:lnTo>
                  <a:lnTo>
                    <a:pt x="2584" y="1267"/>
                  </a:lnTo>
                  <a:lnTo>
                    <a:pt x="2546" y="1273"/>
                  </a:lnTo>
                  <a:lnTo>
                    <a:pt x="2506" y="1279"/>
                  </a:lnTo>
                  <a:lnTo>
                    <a:pt x="2466" y="1284"/>
                  </a:lnTo>
                  <a:lnTo>
                    <a:pt x="2466" y="1284"/>
                  </a:lnTo>
                  <a:lnTo>
                    <a:pt x="2351" y="99"/>
                  </a:lnTo>
                  <a:lnTo>
                    <a:pt x="2351" y="99"/>
                  </a:lnTo>
                  <a:lnTo>
                    <a:pt x="2400" y="90"/>
                  </a:lnTo>
                  <a:lnTo>
                    <a:pt x="2449" y="82"/>
                  </a:lnTo>
                  <a:lnTo>
                    <a:pt x="2495" y="71"/>
                  </a:lnTo>
                  <a:lnTo>
                    <a:pt x="2538" y="59"/>
                  </a:lnTo>
                  <a:lnTo>
                    <a:pt x="2580" y="45"/>
                  </a:lnTo>
                  <a:lnTo>
                    <a:pt x="2619" y="32"/>
                  </a:lnTo>
                  <a:lnTo>
                    <a:pt x="2657" y="16"/>
                  </a:lnTo>
                  <a:lnTo>
                    <a:pt x="2691" y="0"/>
                  </a:lnTo>
                  <a:lnTo>
                    <a:pt x="2691" y="0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0" name="Freeform 41"/>
            <p:cNvSpPr>
              <a:spLocks noEditPoints="1"/>
            </p:cNvSpPr>
            <p:nvPr/>
          </p:nvSpPr>
          <p:spPr bwMode="auto">
            <a:xfrm flipH="1">
              <a:off x="5233665" y="2391372"/>
              <a:ext cx="1331372" cy="1342804"/>
            </a:xfrm>
            <a:custGeom>
              <a:avLst/>
              <a:gdLst>
                <a:gd name="T0" fmla="*/ 4123 w 7222"/>
                <a:gd name="T1" fmla="*/ 8024 h 9367"/>
                <a:gd name="T2" fmla="*/ 3098 w 7222"/>
                <a:gd name="T3" fmla="*/ 7846 h 9367"/>
                <a:gd name="T4" fmla="*/ 2485 w 7222"/>
                <a:gd name="T5" fmla="*/ 7627 h 9367"/>
                <a:gd name="T6" fmla="*/ 1978 w 7222"/>
                <a:gd name="T7" fmla="*/ 7295 h 9367"/>
                <a:gd name="T8" fmla="*/ 1845 w 7222"/>
                <a:gd name="T9" fmla="*/ 7075 h 9367"/>
                <a:gd name="T10" fmla="*/ 1824 w 7222"/>
                <a:gd name="T11" fmla="*/ 6795 h 9367"/>
                <a:gd name="T12" fmla="*/ 82 w 7222"/>
                <a:gd name="T13" fmla="*/ 6993 h 9367"/>
                <a:gd name="T14" fmla="*/ 0 w 7222"/>
                <a:gd name="T15" fmla="*/ 7174 h 9367"/>
                <a:gd name="T16" fmla="*/ 66 w 7222"/>
                <a:gd name="T17" fmla="*/ 7319 h 9367"/>
                <a:gd name="T18" fmla="*/ 4304 w 7222"/>
                <a:gd name="T19" fmla="*/ 9317 h 9367"/>
                <a:gd name="T20" fmla="*/ 2921 w 7222"/>
                <a:gd name="T21" fmla="*/ 5280 h 9367"/>
                <a:gd name="T22" fmla="*/ 2268 w 7222"/>
                <a:gd name="T23" fmla="*/ 6068 h 9367"/>
                <a:gd name="T24" fmla="*/ 2176 w 7222"/>
                <a:gd name="T25" fmla="*/ 5867 h 9367"/>
                <a:gd name="T26" fmla="*/ 2535 w 7222"/>
                <a:gd name="T27" fmla="*/ 4846 h 9367"/>
                <a:gd name="T28" fmla="*/ 2666 w 7222"/>
                <a:gd name="T29" fmla="*/ 5077 h 9367"/>
                <a:gd name="T30" fmla="*/ 2883 w 7222"/>
                <a:gd name="T31" fmla="*/ 6517 h 9367"/>
                <a:gd name="T32" fmla="*/ 3363 w 7222"/>
                <a:gd name="T33" fmla="*/ 6682 h 9367"/>
                <a:gd name="T34" fmla="*/ 3990 w 7222"/>
                <a:gd name="T35" fmla="*/ 6802 h 9367"/>
                <a:gd name="T36" fmla="*/ 4694 w 7222"/>
                <a:gd name="T37" fmla="*/ 6845 h 9367"/>
                <a:gd name="T38" fmla="*/ 5390 w 7222"/>
                <a:gd name="T39" fmla="*/ 5625 h 9367"/>
                <a:gd name="T40" fmla="*/ 4581 w 7222"/>
                <a:gd name="T41" fmla="*/ 5673 h 9367"/>
                <a:gd name="T42" fmla="*/ 3482 w 7222"/>
                <a:gd name="T43" fmla="*/ 5515 h 9367"/>
                <a:gd name="T44" fmla="*/ 7222 w 7222"/>
                <a:gd name="T45" fmla="*/ 5794 h 9367"/>
                <a:gd name="T46" fmla="*/ 6754 w 7222"/>
                <a:gd name="T47" fmla="*/ 5035 h 9367"/>
                <a:gd name="T48" fmla="*/ 6922 w 7222"/>
                <a:gd name="T49" fmla="*/ 6273 h 9367"/>
                <a:gd name="T50" fmla="*/ 7192 w 7222"/>
                <a:gd name="T51" fmla="*/ 5930 h 9367"/>
                <a:gd name="T52" fmla="*/ 4876 w 7222"/>
                <a:gd name="T53" fmla="*/ 3261 h 9367"/>
                <a:gd name="T54" fmla="*/ 5063 w 7222"/>
                <a:gd name="T55" fmla="*/ 4416 h 9367"/>
                <a:gd name="T56" fmla="*/ 4263 w 7222"/>
                <a:gd name="T57" fmla="*/ 4409 h 9367"/>
                <a:gd name="T58" fmla="*/ 3459 w 7222"/>
                <a:gd name="T59" fmla="*/ 4220 h 9367"/>
                <a:gd name="T60" fmla="*/ 3596 w 7222"/>
                <a:gd name="T61" fmla="*/ 3626 h 9367"/>
                <a:gd name="T62" fmla="*/ 3548 w 7222"/>
                <a:gd name="T63" fmla="*/ 3568 h 9367"/>
                <a:gd name="T64" fmla="*/ 3466 w 7222"/>
                <a:gd name="T65" fmla="*/ 3658 h 9367"/>
                <a:gd name="T66" fmla="*/ 3145 w 7222"/>
                <a:gd name="T67" fmla="*/ 4051 h 9367"/>
                <a:gd name="T68" fmla="*/ 2915 w 7222"/>
                <a:gd name="T69" fmla="*/ 3779 h 9367"/>
                <a:gd name="T70" fmla="*/ 3275 w 7222"/>
                <a:gd name="T71" fmla="*/ 2779 h 9367"/>
                <a:gd name="T72" fmla="*/ 3517 w 7222"/>
                <a:gd name="T73" fmla="*/ 3007 h 9367"/>
                <a:gd name="T74" fmla="*/ 4054 w 7222"/>
                <a:gd name="T75" fmla="*/ 3202 h 9367"/>
                <a:gd name="T76" fmla="*/ 4699 w 7222"/>
                <a:gd name="T77" fmla="*/ 3267 h 9367"/>
                <a:gd name="T78" fmla="*/ 6070 w 7222"/>
                <a:gd name="T79" fmla="*/ 2855 h 9367"/>
                <a:gd name="T80" fmla="*/ 6233 w 7222"/>
                <a:gd name="T81" fmla="*/ 4065 h 9367"/>
                <a:gd name="T82" fmla="*/ 6435 w 7222"/>
                <a:gd name="T83" fmla="*/ 3872 h 9367"/>
                <a:gd name="T84" fmla="*/ 5776 w 7222"/>
                <a:gd name="T85" fmla="*/ 1726 h 9367"/>
                <a:gd name="T86" fmla="*/ 5259 w 7222"/>
                <a:gd name="T87" fmla="*/ 706 h 9367"/>
                <a:gd name="T88" fmla="*/ 3609 w 7222"/>
                <a:gd name="T89" fmla="*/ 1714 h 9367"/>
                <a:gd name="T90" fmla="*/ 3850 w 7222"/>
                <a:gd name="T91" fmla="*/ 1861 h 9367"/>
                <a:gd name="T92" fmla="*/ 4232 w 7222"/>
                <a:gd name="T93" fmla="*/ 1971 h 9367"/>
                <a:gd name="T94" fmla="*/ 4699 w 7222"/>
                <a:gd name="T95" fmla="*/ 2011 h 9367"/>
                <a:gd name="T96" fmla="*/ 4919 w 7222"/>
                <a:gd name="T97" fmla="*/ 805 h 9367"/>
                <a:gd name="T98" fmla="*/ 4413 w 7222"/>
                <a:gd name="T99" fmla="*/ 794 h 9367"/>
                <a:gd name="T100" fmla="*/ 4077 w 7222"/>
                <a:gd name="T101" fmla="*/ 668 h 9367"/>
                <a:gd name="T102" fmla="*/ 4301 w 7222"/>
                <a:gd name="T103" fmla="*/ 171 h 9367"/>
                <a:gd name="T104" fmla="*/ 4348 w 7222"/>
                <a:gd name="T105" fmla="*/ 252 h 9367"/>
                <a:gd name="T106" fmla="*/ 4658 w 7222"/>
                <a:gd name="T107" fmla="*/ 341 h 9367"/>
                <a:gd name="T108" fmla="*/ 5006 w 7222"/>
                <a:gd name="T109" fmla="*/ 279 h 9367"/>
                <a:gd name="T110" fmla="*/ 5095 w 7222"/>
                <a:gd name="T111" fmla="*/ 189 h 9367"/>
                <a:gd name="T112" fmla="*/ 5066 w 7222"/>
                <a:gd name="T113" fmla="*/ 104 h 9367"/>
                <a:gd name="T114" fmla="*/ 4817 w 7222"/>
                <a:gd name="T115" fmla="*/ 7 h 9367"/>
                <a:gd name="T116" fmla="*/ 4445 w 7222"/>
                <a:gd name="T117" fmla="*/ 39 h 9367"/>
                <a:gd name="T118" fmla="*/ 4309 w 7222"/>
                <a:gd name="T119" fmla="*/ 137 h 9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222" h="9367">
                  <a:moveTo>
                    <a:pt x="4694" y="9367"/>
                  </a:moveTo>
                  <a:lnTo>
                    <a:pt x="4694" y="8058"/>
                  </a:lnTo>
                  <a:lnTo>
                    <a:pt x="4694" y="8058"/>
                  </a:lnTo>
                  <a:lnTo>
                    <a:pt x="4671" y="8058"/>
                  </a:lnTo>
                  <a:lnTo>
                    <a:pt x="4607" y="8057"/>
                  </a:lnTo>
                  <a:lnTo>
                    <a:pt x="4506" y="8052"/>
                  </a:lnTo>
                  <a:lnTo>
                    <a:pt x="4443" y="8049"/>
                  </a:lnTo>
                  <a:lnTo>
                    <a:pt x="4373" y="8045"/>
                  </a:lnTo>
                  <a:lnTo>
                    <a:pt x="4296" y="8040"/>
                  </a:lnTo>
                  <a:lnTo>
                    <a:pt x="4212" y="8033"/>
                  </a:lnTo>
                  <a:lnTo>
                    <a:pt x="4123" y="8024"/>
                  </a:lnTo>
                  <a:lnTo>
                    <a:pt x="4029" y="8015"/>
                  </a:lnTo>
                  <a:lnTo>
                    <a:pt x="3929" y="8003"/>
                  </a:lnTo>
                  <a:lnTo>
                    <a:pt x="3827" y="7990"/>
                  </a:lnTo>
                  <a:lnTo>
                    <a:pt x="3721" y="7974"/>
                  </a:lnTo>
                  <a:lnTo>
                    <a:pt x="3610" y="7956"/>
                  </a:lnTo>
                  <a:lnTo>
                    <a:pt x="3499" y="7937"/>
                  </a:lnTo>
                  <a:lnTo>
                    <a:pt x="3386" y="7914"/>
                  </a:lnTo>
                  <a:lnTo>
                    <a:pt x="3271" y="7889"/>
                  </a:lnTo>
                  <a:lnTo>
                    <a:pt x="3213" y="7875"/>
                  </a:lnTo>
                  <a:lnTo>
                    <a:pt x="3156" y="7861"/>
                  </a:lnTo>
                  <a:lnTo>
                    <a:pt x="3098" y="7846"/>
                  </a:lnTo>
                  <a:lnTo>
                    <a:pt x="3041" y="7829"/>
                  </a:lnTo>
                  <a:lnTo>
                    <a:pt x="2983" y="7814"/>
                  </a:lnTo>
                  <a:lnTo>
                    <a:pt x="2926" y="7796"/>
                  </a:lnTo>
                  <a:lnTo>
                    <a:pt x="2869" y="7778"/>
                  </a:lnTo>
                  <a:lnTo>
                    <a:pt x="2813" y="7759"/>
                  </a:lnTo>
                  <a:lnTo>
                    <a:pt x="2757" y="7739"/>
                  </a:lnTo>
                  <a:lnTo>
                    <a:pt x="2701" y="7719"/>
                  </a:lnTo>
                  <a:lnTo>
                    <a:pt x="2647" y="7697"/>
                  </a:lnTo>
                  <a:lnTo>
                    <a:pt x="2591" y="7674"/>
                  </a:lnTo>
                  <a:lnTo>
                    <a:pt x="2538" y="7651"/>
                  </a:lnTo>
                  <a:lnTo>
                    <a:pt x="2485" y="7627"/>
                  </a:lnTo>
                  <a:lnTo>
                    <a:pt x="2433" y="7602"/>
                  </a:lnTo>
                  <a:lnTo>
                    <a:pt x="2383" y="7576"/>
                  </a:lnTo>
                  <a:lnTo>
                    <a:pt x="2333" y="7549"/>
                  </a:lnTo>
                  <a:lnTo>
                    <a:pt x="2284" y="7521"/>
                  </a:lnTo>
                  <a:lnTo>
                    <a:pt x="2236" y="7492"/>
                  </a:lnTo>
                  <a:lnTo>
                    <a:pt x="2189" y="7462"/>
                  </a:lnTo>
                  <a:lnTo>
                    <a:pt x="2144" y="7430"/>
                  </a:lnTo>
                  <a:lnTo>
                    <a:pt x="2101" y="7398"/>
                  </a:lnTo>
                  <a:lnTo>
                    <a:pt x="2058" y="7365"/>
                  </a:lnTo>
                  <a:lnTo>
                    <a:pt x="2018" y="7330"/>
                  </a:lnTo>
                  <a:lnTo>
                    <a:pt x="1978" y="7295"/>
                  </a:lnTo>
                  <a:lnTo>
                    <a:pt x="1941" y="7257"/>
                  </a:lnTo>
                  <a:lnTo>
                    <a:pt x="1941" y="7257"/>
                  </a:lnTo>
                  <a:lnTo>
                    <a:pt x="1931" y="7247"/>
                  </a:lnTo>
                  <a:lnTo>
                    <a:pt x="1922" y="7233"/>
                  </a:lnTo>
                  <a:lnTo>
                    <a:pt x="1909" y="7215"/>
                  </a:lnTo>
                  <a:lnTo>
                    <a:pt x="1896" y="7192"/>
                  </a:lnTo>
                  <a:lnTo>
                    <a:pt x="1881" y="7165"/>
                  </a:lnTo>
                  <a:lnTo>
                    <a:pt x="1866" y="7132"/>
                  </a:lnTo>
                  <a:lnTo>
                    <a:pt x="1860" y="7114"/>
                  </a:lnTo>
                  <a:lnTo>
                    <a:pt x="1852" y="7095"/>
                  </a:lnTo>
                  <a:lnTo>
                    <a:pt x="1845" y="7075"/>
                  </a:lnTo>
                  <a:lnTo>
                    <a:pt x="1839" y="7054"/>
                  </a:lnTo>
                  <a:lnTo>
                    <a:pt x="1834" y="7032"/>
                  </a:lnTo>
                  <a:lnTo>
                    <a:pt x="1828" y="7009"/>
                  </a:lnTo>
                  <a:lnTo>
                    <a:pt x="1824" y="6986"/>
                  </a:lnTo>
                  <a:lnTo>
                    <a:pt x="1821" y="6961"/>
                  </a:lnTo>
                  <a:lnTo>
                    <a:pt x="1819" y="6935"/>
                  </a:lnTo>
                  <a:lnTo>
                    <a:pt x="1817" y="6909"/>
                  </a:lnTo>
                  <a:lnTo>
                    <a:pt x="1817" y="6882"/>
                  </a:lnTo>
                  <a:lnTo>
                    <a:pt x="1818" y="6854"/>
                  </a:lnTo>
                  <a:lnTo>
                    <a:pt x="1821" y="6825"/>
                  </a:lnTo>
                  <a:lnTo>
                    <a:pt x="1824" y="6795"/>
                  </a:lnTo>
                  <a:lnTo>
                    <a:pt x="1829" y="6765"/>
                  </a:lnTo>
                  <a:lnTo>
                    <a:pt x="1837" y="6733"/>
                  </a:lnTo>
                  <a:lnTo>
                    <a:pt x="1846" y="6701"/>
                  </a:lnTo>
                  <a:lnTo>
                    <a:pt x="1856" y="6669"/>
                  </a:lnTo>
                  <a:lnTo>
                    <a:pt x="1856" y="6669"/>
                  </a:lnTo>
                  <a:lnTo>
                    <a:pt x="2018" y="6208"/>
                  </a:lnTo>
                  <a:lnTo>
                    <a:pt x="2087" y="6011"/>
                  </a:lnTo>
                  <a:lnTo>
                    <a:pt x="98" y="6976"/>
                  </a:lnTo>
                  <a:lnTo>
                    <a:pt x="98" y="6976"/>
                  </a:lnTo>
                  <a:lnTo>
                    <a:pt x="94" y="6980"/>
                  </a:lnTo>
                  <a:lnTo>
                    <a:pt x="82" y="6993"/>
                  </a:lnTo>
                  <a:lnTo>
                    <a:pt x="64" y="7011"/>
                  </a:lnTo>
                  <a:lnTo>
                    <a:pt x="55" y="7024"/>
                  </a:lnTo>
                  <a:lnTo>
                    <a:pt x="45" y="7037"/>
                  </a:lnTo>
                  <a:lnTo>
                    <a:pt x="36" y="7052"/>
                  </a:lnTo>
                  <a:lnTo>
                    <a:pt x="27" y="7068"/>
                  </a:lnTo>
                  <a:lnTo>
                    <a:pt x="18" y="7085"/>
                  </a:lnTo>
                  <a:lnTo>
                    <a:pt x="11" y="7103"/>
                  </a:lnTo>
                  <a:lnTo>
                    <a:pt x="5" y="7123"/>
                  </a:lnTo>
                  <a:lnTo>
                    <a:pt x="1" y="7143"/>
                  </a:lnTo>
                  <a:lnTo>
                    <a:pt x="0" y="7164"/>
                  </a:lnTo>
                  <a:lnTo>
                    <a:pt x="0" y="7174"/>
                  </a:lnTo>
                  <a:lnTo>
                    <a:pt x="0" y="7184"/>
                  </a:lnTo>
                  <a:lnTo>
                    <a:pt x="0" y="7184"/>
                  </a:lnTo>
                  <a:lnTo>
                    <a:pt x="3" y="7205"/>
                  </a:lnTo>
                  <a:lnTo>
                    <a:pt x="8" y="7225"/>
                  </a:lnTo>
                  <a:lnTo>
                    <a:pt x="14" y="7243"/>
                  </a:lnTo>
                  <a:lnTo>
                    <a:pt x="21" y="7258"/>
                  </a:lnTo>
                  <a:lnTo>
                    <a:pt x="30" y="7274"/>
                  </a:lnTo>
                  <a:lnTo>
                    <a:pt x="38" y="7288"/>
                  </a:lnTo>
                  <a:lnTo>
                    <a:pt x="47" y="7299"/>
                  </a:lnTo>
                  <a:lnTo>
                    <a:pt x="57" y="7309"/>
                  </a:lnTo>
                  <a:lnTo>
                    <a:pt x="66" y="7319"/>
                  </a:lnTo>
                  <a:lnTo>
                    <a:pt x="75" y="7327"/>
                  </a:lnTo>
                  <a:lnTo>
                    <a:pt x="90" y="7339"/>
                  </a:lnTo>
                  <a:lnTo>
                    <a:pt x="102" y="7346"/>
                  </a:lnTo>
                  <a:lnTo>
                    <a:pt x="106" y="7348"/>
                  </a:lnTo>
                  <a:lnTo>
                    <a:pt x="4161" y="9269"/>
                  </a:lnTo>
                  <a:lnTo>
                    <a:pt x="4161" y="9269"/>
                  </a:lnTo>
                  <a:lnTo>
                    <a:pt x="4171" y="9274"/>
                  </a:lnTo>
                  <a:lnTo>
                    <a:pt x="4199" y="9284"/>
                  </a:lnTo>
                  <a:lnTo>
                    <a:pt x="4243" y="9300"/>
                  </a:lnTo>
                  <a:lnTo>
                    <a:pt x="4272" y="9308"/>
                  </a:lnTo>
                  <a:lnTo>
                    <a:pt x="4304" y="9317"/>
                  </a:lnTo>
                  <a:lnTo>
                    <a:pt x="4340" y="9327"/>
                  </a:lnTo>
                  <a:lnTo>
                    <a:pt x="4381" y="9335"/>
                  </a:lnTo>
                  <a:lnTo>
                    <a:pt x="4424" y="9343"/>
                  </a:lnTo>
                  <a:lnTo>
                    <a:pt x="4471" y="9351"/>
                  </a:lnTo>
                  <a:lnTo>
                    <a:pt x="4522" y="9357"/>
                  </a:lnTo>
                  <a:lnTo>
                    <a:pt x="4576" y="9362"/>
                  </a:lnTo>
                  <a:lnTo>
                    <a:pt x="4633" y="9366"/>
                  </a:lnTo>
                  <a:lnTo>
                    <a:pt x="4694" y="9367"/>
                  </a:lnTo>
                  <a:lnTo>
                    <a:pt x="4694" y="9367"/>
                  </a:lnTo>
                  <a:close/>
                  <a:moveTo>
                    <a:pt x="2921" y="5280"/>
                  </a:moveTo>
                  <a:lnTo>
                    <a:pt x="2921" y="5280"/>
                  </a:lnTo>
                  <a:lnTo>
                    <a:pt x="2568" y="6347"/>
                  </a:lnTo>
                  <a:lnTo>
                    <a:pt x="2568" y="6347"/>
                  </a:lnTo>
                  <a:lnTo>
                    <a:pt x="2523" y="6316"/>
                  </a:lnTo>
                  <a:lnTo>
                    <a:pt x="2481" y="6285"/>
                  </a:lnTo>
                  <a:lnTo>
                    <a:pt x="2442" y="6254"/>
                  </a:lnTo>
                  <a:lnTo>
                    <a:pt x="2404" y="6222"/>
                  </a:lnTo>
                  <a:lnTo>
                    <a:pt x="2370" y="6188"/>
                  </a:lnTo>
                  <a:lnTo>
                    <a:pt x="2338" y="6155"/>
                  </a:lnTo>
                  <a:lnTo>
                    <a:pt x="2308" y="6121"/>
                  </a:lnTo>
                  <a:lnTo>
                    <a:pt x="2281" y="6086"/>
                  </a:lnTo>
                  <a:lnTo>
                    <a:pt x="2268" y="6068"/>
                  </a:lnTo>
                  <a:lnTo>
                    <a:pt x="2257" y="6051"/>
                  </a:lnTo>
                  <a:lnTo>
                    <a:pt x="2245" y="6033"/>
                  </a:lnTo>
                  <a:lnTo>
                    <a:pt x="2235" y="6015"/>
                  </a:lnTo>
                  <a:lnTo>
                    <a:pt x="2224" y="5997"/>
                  </a:lnTo>
                  <a:lnTo>
                    <a:pt x="2216" y="5979"/>
                  </a:lnTo>
                  <a:lnTo>
                    <a:pt x="2207" y="5960"/>
                  </a:lnTo>
                  <a:lnTo>
                    <a:pt x="2200" y="5942"/>
                  </a:lnTo>
                  <a:lnTo>
                    <a:pt x="2192" y="5924"/>
                  </a:lnTo>
                  <a:lnTo>
                    <a:pt x="2186" y="5905"/>
                  </a:lnTo>
                  <a:lnTo>
                    <a:pt x="2181" y="5886"/>
                  </a:lnTo>
                  <a:lnTo>
                    <a:pt x="2176" y="5867"/>
                  </a:lnTo>
                  <a:lnTo>
                    <a:pt x="2172" y="5849"/>
                  </a:lnTo>
                  <a:lnTo>
                    <a:pt x="2168" y="5830"/>
                  </a:lnTo>
                  <a:lnTo>
                    <a:pt x="2166" y="5811"/>
                  </a:lnTo>
                  <a:lnTo>
                    <a:pt x="2164" y="5791"/>
                  </a:lnTo>
                  <a:lnTo>
                    <a:pt x="2164" y="5791"/>
                  </a:lnTo>
                  <a:lnTo>
                    <a:pt x="2523" y="4778"/>
                  </a:lnTo>
                  <a:lnTo>
                    <a:pt x="2523" y="4778"/>
                  </a:lnTo>
                  <a:lnTo>
                    <a:pt x="2525" y="4794"/>
                  </a:lnTo>
                  <a:lnTo>
                    <a:pt x="2528" y="4812"/>
                  </a:lnTo>
                  <a:lnTo>
                    <a:pt x="2531" y="4830"/>
                  </a:lnTo>
                  <a:lnTo>
                    <a:pt x="2535" y="4846"/>
                  </a:lnTo>
                  <a:lnTo>
                    <a:pt x="2541" y="4864"/>
                  </a:lnTo>
                  <a:lnTo>
                    <a:pt x="2546" y="4881"/>
                  </a:lnTo>
                  <a:lnTo>
                    <a:pt x="2552" y="4897"/>
                  </a:lnTo>
                  <a:lnTo>
                    <a:pt x="2559" y="4914"/>
                  </a:lnTo>
                  <a:lnTo>
                    <a:pt x="2567" y="4931"/>
                  </a:lnTo>
                  <a:lnTo>
                    <a:pt x="2575" y="4947"/>
                  </a:lnTo>
                  <a:lnTo>
                    <a:pt x="2584" y="4964"/>
                  </a:lnTo>
                  <a:lnTo>
                    <a:pt x="2595" y="4981"/>
                  </a:lnTo>
                  <a:lnTo>
                    <a:pt x="2615" y="5013"/>
                  </a:lnTo>
                  <a:lnTo>
                    <a:pt x="2639" y="5045"/>
                  </a:lnTo>
                  <a:lnTo>
                    <a:pt x="2666" y="5077"/>
                  </a:lnTo>
                  <a:lnTo>
                    <a:pt x="2695" y="5107"/>
                  </a:lnTo>
                  <a:lnTo>
                    <a:pt x="2728" y="5138"/>
                  </a:lnTo>
                  <a:lnTo>
                    <a:pt x="2762" y="5167"/>
                  </a:lnTo>
                  <a:lnTo>
                    <a:pt x="2798" y="5196"/>
                  </a:lnTo>
                  <a:lnTo>
                    <a:pt x="2837" y="5225"/>
                  </a:lnTo>
                  <a:lnTo>
                    <a:pt x="2877" y="5253"/>
                  </a:lnTo>
                  <a:lnTo>
                    <a:pt x="2921" y="5280"/>
                  </a:lnTo>
                  <a:lnTo>
                    <a:pt x="2921" y="5280"/>
                  </a:lnTo>
                  <a:close/>
                  <a:moveTo>
                    <a:pt x="3161" y="5402"/>
                  </a:moveTo>
                  <a:lnTo>
                    <a:pt x="3161" y="5402"/>
                  </a:lnTo>
                  <a:lnTo>
                    <a:pt x="2883" y="6517"/>
                  </a:lnTo>
                  <a:lnTo>
                    <a:pt x="2883" y="6517"/>
                  </a:lnTo>
                  <a:lnTo>
                    <a:pt x="2926" y="6535"/>
                  </a:lnTo>
                  <a:lnTo>
                    <a:pt x="2971" y="6554"/>
                  </a:lnTo>
                  <a:lnTo>
                    <a:pt x="3017" y="6572"/>
                  </a:lnTo>
                  <a:lnTo>
                    <a:pt x="3063" y="6588"/>
                  </a:lnTo>
                  <a:lnTo>
                    <a:pt x="3111" y="6606"/>
                  </a:lnTo>
                  <a:lnTo>
                    <a:pt x="3159" y="6622"/>
                  </a:lnTo>
                  <a:lnTo>
                    <a:pt x="3209" y="6637"/>
                  </a:lnTo>
                  <a:lnTo>
                    <a:pt x="3260" y="6653"/>
                  </a:lnTo>
                  <a:lnTo>
                    <a:pt x="3311" y="6668"/>
                  </a:lnTo>
                  <a:lnTo>
                    <a:pt x="3363" y="6682"/>
                  </a:lnTo>
                  <a:lnTo>
                    <a:pt x="3416" y="6696"/>
                  </a:lnTo>
                  <a:lnTo>
                    <a:pt x="3470" y="6709"/>
                  </a:lnTo>
                  <a:lnTo>
                    <a:pt x="3525" y="6722"/>
                  </a:lnTo>
                  <a:lnTo>
                    <a:pt x="3580" y="6734"/>
                  </a:lnTo>
                  <a:lnTo>
                    <a:pt x="3637" y="6746"/>
                  </a:lnTo>
                  <a:lnTo>
                    <a:pt x="3695" y="6756"/>
                  </a:lnTo>
                  <a:lnTo>
                    <a:pt x="3752" y="6767"/>
                  </a:lnTo>
                  <a:lnTo>
                    <a:pt x="3810" y="6777"/>
                  </a:lnTo>
                  <a:lnTo>
                    <a:pt x="3869" y="6785"/>
                  </a:lnTo>
                  <a:lnTo>
                    <a:pt x="3929" y="6794"/>
                  </a:lnTo>
                  <a:lnTo>
                    <a:pt x="3990" y="6802"/>
                  </a:lnTo>
                  <a:lnTo>
                    <a:pt x="4051" y="6809"/>
                  </a:lnTo>
                  <a:lnTo>
                    <a:pt x="4114" y="6816"/>
                  </a:lnTo>
                  <a:lnTo>
                    <a:pt x="4176" y="6822"/>
                  </a:lnTo>
                  <a:lnTo>
                    <a:pt x="4238" y="6827"/>
                  </a:lnTo>
                  <a:lnTo>
                    <a:pt x="4302" y="6831"/>
                  </a:lnTo>
                  <a:lnTo>
                    <a:pt x="4366" y="6835"/>
                  </a:lnTo>
                  <a:lnTo>
                    <a:pt x="4431" y="6838"/>
                  </a:lnTo>
                  <a:lnTo>
                    <a:pt x="4495" y="6842"/>
                  </a:lnTo>
                  <a:lnTo>
                    <a:pt x="4561" y="6843"/>
                  </a:lnTo>
                  <a:lnTo>
                    <a:pt x="4627" y="6844"/>
                  </a:lnTo>
                  <a:lnTo>
                    <a:pt x="4694" y="6845"/>
                  </a:lnTo>
                  <a:lnTo>
                    <a:pt x="4694" y="6845"/>
                  </a:lnTo>
                  <a:lnTo>
                    <a:pt x="4799" y="6844"/>
                  </a:lnTo>
                  <a:lnTo>
                    <a:pt x="4904" y="6841"/>
                  </a:lnTo>
                  <a:lnTo>
                    <a:pt x="5008" y="6836"/>
                  </a:lnTo>
                  <a:lnTo>
                    <a:pt x="5109" y="6830"/>
                  </a:lnTo>
                  <a:lnTo>
                    <a:pt x="5210" y="6822"/>
                  </a:lnTo>
                  <a:lnTo>
                    <a:pt x="5310" y="6812"/>
                  </a:lnTo>
                  <a:lnTo>
                    <a:pt x="5408" y="6801"/>
                  </a:lnTo>
                  <a:lnTo>
                    <a:pt x="5505" y="6787"/>
                  </a:lnTo>
                  <a:lnTo>
                    <a:pt x="5505" y="6787"/>
                  </a:lnTo>
                  <a:lnTo>
                    <a:pt x="5390" y="5625"/>
                  </a:lnTo>
                  <a:lnTo>
                    <a:pt x="5390" y="5625"/>
                  </a:lnTo>
                  <a:lnTo>
                    <a:pt x="5307" y="5636"/>
                  </a:lnTo>
                  <a:lnTo>
                    <a:pt x="5223" y="5645"/>
                  </a:lnTo>
                  <a:lnTo>
                    <a:pt x="5138" y="5654"/>
                  </a:lnTo>
                  <a:lnTo>
                    <a:pt x="5051" y="5661"/>
                  </a:lnTo>
                  <a:lnTo>
                    <a:pt x="4963" y="5666"/>
                  </a:lnTo>
                  <a:lnTo>
                    <a:pt x="4875" y="5670"/>
                  </a:lnTo>
                  <a:lnTo>
                    <a:pt x="4784" y="5673"/>
                  </a:lnTo>
                  <a:lnTo>
                    <a:pt x="4694" y="5674"/>
                  </a:lnTo>
                  <a:lnTo>
                    <a:pt x="4694" y="5674"/>
                  </a:lnTo>
                  <a:lnTo>
                    <a:pt x="4581" y="5673"/>
                  </a:lnTo>
                  <a:lnTo>
                    <a:pt x="4472" y="5668"/>
                  </a:lnTo>
                  <a:lnTo>
                    <a:pt x="4364" y="5663"/>
                  </a:lnTo>
                  <a:lnTo>
                    <a:pt x="4257" y="5655"/>
                  </a:lnTo>
                  <a:lnTo>
                    <a:pt x="4152" y="5644"/>
                  </a:lnTo>
                  <a:lnTo>
                    <a:pt x="4049" y="5632"/>
                  </a:lnTo>
                  <a:lnTo>
                    <a:pt x="3949" y="5617"/>
                  </a:lnTo>
                  <a:lnTo>
                    <a:pt x="3850" y="5601"/>
                  </a:lnTo>
                  <a:lnTo>
                    <a:pt x="3755" y="5582"/>
                  </a:lnTo>
                  <a:lnTo>
                    <a:pt x="3661" y="5562"/>
                  </a:lnTo>
                  <a:lnTo>
                    <a:pt x="3571" y="5539"/>
                  </a:lnTo>
                  <a:lnTo>
                    <a:pt x="3482" y="5515"/>
                  </a:lnTo>
                  <a:lnTo>
                    <a:pt x="3440" y="5503"/>
                  </a:lnTo>
                  <a:lnTo>
                    <a:pt x="3397" y="5489"/>
                  </a:lnTo>
                  <a:lnTo>
                    <a:pt x="3356" y="5476"/>
                  </a:lnTo>
                  <a:lnTo>
                    <a:pt x="3315" y="5462"/>
                  </a:lnTo>
                  <a:lnTo>
                    <a:pt x="3276" y="5447"/>
                  </a:lnTo>
                  <a:lnTo>
                    <a:pt x="3237" y="5433"/>
                  </a:lnTo>
                  <a:lnTo>
                    <a:pt x="3199" y="5417"/>
                  </a:lnTo>
                  <a:lnTo>
                    <a:pt x="3161" y="5402"/>
                  </a:lnTo>
                  <a:lnTo>
                    <a:pt x="3161" y="5402"/>
                  </a:lnTo>
                  <a:close/>
                  <a:moveTo>
                    <a:pt x="7222" y="5794"/>
                  </a:moveTo>
                  <a:lnTo>
                    <a:pt x="7222" y="5794"/>
                  </a:lnTo>
                  <a:lnTo>
                    <a:pt x="6863" y="4782"/>
                  </a:lnTo>
                  <a:lnTo>
                    <a:pt x="6863" y="4782"/>
                  </a:lnTo>
                  <a:lnTo>
                    <a:pt x="6859" y="4811"/>
                  </a:lnTo>
                  <a:lnTo>
                    <a:pt x="6853" y="4840"/>
                  </a:lnTo>
                  <a:lnTo>
                    <a:pt x="6845" y="4869"/>
                  </a:lnTo>
                  <a:lnTo>
                    <a:pt x="6834" y="4897"/>
                  </a:lnTo>
                  <a:lnTo>
                    <a:pt x="6822" y="4925"/>
                  </a:lnTo>
                  <a:lnTo>
                    <a:pt x="6808" y="4954"/>
                  </a:lnTo>
                  <a:lnTo>
                    <a:pt x="6792" y="4981"/>
                  </a:lnTo>
                  <a:lnTo>
                    <a:pt x="6774" y="5008"/>
                  </a:lnTo>
                  <a:lnTo>
                    <a:pt x="6754" y="5035"/>
                  </a:lnTo>
                  <a:lnTo>
                    <a:pt x="6733" y="5061"/>
                  </a:lnTo>
                  <a:lnTo>
                    <a:pt x="6709" y="5087"/>
                  </a:lnTo>
                  <a:lnTo>
                    <a:pt x="6685" y="5113"/>
                  </a:lnTo>
                  <a:lnTo>
                    <a:pt x="6657" y="5138"/>
                  </a:lnTo>
                  <a:lnTo>
                    <a:pt x="6629" y="5163"/>
                  </a:lnTo>
                  <a:lnTo>
                    <a:pt x="6599" y="5188"/>
                  </a:lnTo>
                  <a:lnTo>
                    <a:pt x="6567" y="5212"/>
                  </a:lnTo>
                  <a:lnTo>
                    <a:pt x="6567" y="5212"/>
                  </a:lnTo>
                  <a:lnTo>
                    <a:pt x="6884" y="6301"/>
                  </a:lnTo>
                  <a:lnTo>
                    <a:pt x="6884" y="6301"/>
                  </a:lnTo>
                  <a:lnTo>
                    <a:pt x="6922" y="6273"/>
                  </a:lnTo>
                  <a:lnTo>
                    <a:pt x="6956" y="6244"/>
                  </a:lnTo>
                  <a:lnTo>
                    <a:pt x="6989" y="6214"/>
                  </a:lnTo>
                  <a:lnTo>
                    <a:pt x="7020" y="6184"/>
                  </a:lnTo>
                  <a:lnTo>
                    <a:pt x="7049" y="6154"/>
                  </a:lnTo>
                  <a:lnTo>
                    <a:pt x="7076" y="6124"/>
                  </a:lnTo>
                  <a:lnTo>
                    <a:pt x="7101" y="6092"/>
                  </a:lnTo>
                  <a:lnTo>
                    <a:pt x="7123" y="6060"/>
                  </a:lnTo>
                  <a:lnTo>
                    <a:pt x="7144" y="6029"/>
                  </a:lnTo>
                  <a:lnTo>
                    <a:pt x="7162" y="5996"/>
                  </a:lnTo>
                  <a:lnTo>
                    <a:pt x="7178" y="5963"/>
                  </a:lnTo>
                  <a:lnTo>
                    <a:pt x="7192" y="5930"/>
                  </a:lnTo>
                  <a:lnTo>
                    <a:pt x="7202" y="5897"/>
                  </a:lnTo>
                  <a:lnTo>
                    <a:pt x="7212" y="5862"/>
                  </a:lnTo>
                  <a:lnTo>
                    <a:pt x="7218" y="5829"/>
                  </a:lnTo>
                  <a:lnTo>
                    <a:pt x="7220" y="5811"/>
                  </a:lnTo>
                  <a:lnTo>
                    <a:pt x="7222" y="5794"/>
                  </a:lnTo>
                  <a:lnTo>
                    <a:pt x="7222" y="5794"/>
                  </a:lnTo>
                  <a:close/>
                  <a:moveTo>
                    <a:pt x="4699" y="3267"/>
                  </a:moveTo>
                  <a:lnTo>
                    <a:pt x="4699" y="3267"/>
                  </a:lnTo>
                  <a:lnTo>
                    <a:pt x="4758" y="3266"/>
                  </a:lnTo>
                  <a:lnTo>
                    <a:pt x="4817" y="3265"/>
                  </a:lnTo>
                  <a:lnTo>
                    <a:pt x="4876" y="3261"/>
                  </a:lnTo>
                  <a:lnTo>
                    <a:pt x="4933" y="3258"/>
                  </a:lnTo>
                  <a:lnTo>
                    <a:pt x="4990" y="3254"/>
                  </a:lnTo>
                  <a:lnTo>
                    <a:pt x="5046" y="3248"/>
                  </a:lnTo>
                  <a:lnTo>
                    <a:pt x="5101" y="3242"/>
                  </a:lnTo>
                  <a:lnTo>
                    <a:pt x="5156" y="3235"/>
                  </a:lnTo>
                  <a:lnTo>
                    <a:pt x="5156" y="3235"/>
                  </a:lnTo>
                  <a:lnTo>
                    <a:pt x="5270" y="4392"/>
                  </a:lnTo>
                  <a:lnTo>
                    <a:pt x="5270" y="4392"/>
                  </a:lnTo>
                  <a:lnTo>
                    <a:pt x="5201" y="4401"/>
                  </a:lnTo>
                  <a:lnTo>
                    <a:pt x="5132" y="4410"/>
                  </a:lnTo>
                  <a:lnTo>
                    <a:pt x="5063" y="4416"/>
                  </a:lnTo>
                  <a:lnTo>
                    <a:pt x="4992" y="4421"/>
                  </a:lnTo>
                  <a:lnTo>
                    <a:pt x="4919" y="4426"/>
                  </a:lnTo>
                  <a:lnTo>
                    <a:pt x="4846" y="4430"/>
                  </a:lnTo>
                  <a:lnTo>
                    <a:pt x="4773" y="4432"/>
                  </a:lnTo>
                  <a:lnTo>
                    <a:pt x="4699" y="4432"/>
                  </a:lnTo>
                  <a:lnTo>
                    <a:pt x="4699" y="4432"/>
                  </a:lnTo>
                  <a:lnTo>
                    <a:pt x="4609" y="4431"/>
                  </a:lnTo>
                  <a:lnTo>
                    <a:pt x="4521" y="4428"/>
                  </a:lnTo>
                  <a:lnTo>
                    <a:pt x="4434" y="4423"/>
                  </a:lnTo>
                  <a:lnTo>
                    <a:pt x="4347" y="4417"/>
                  </a:lnTo>
                  <a:lnTo>
                    <a:pt x="4263" y="4409"/>
                  </a:lnTo>
                  <a:lnTo>
                    <a:pt x="4180" y="4399"/>
                  </a:lnTo>
                  <a:lnTo>
                    <a:pt x="4099" y="4388"/>
                  </a:lnTo>
                  <a:lnTo>
                    <a:pt x="4020" y="4375"/>
                  </a:lnTo>
                  <a:lnTo>
                    <a:pt x="3942" y="4361"/>
                  </a:lnTo>
                  <a:lnTo>
                    <a:pt x="3866" y="4345"/>
                  </a:lnTo>
                  <a:lnTo>
                    <a:pt x="3792" y="4327"/>
                  </a:lnTo>
                  <a:lnTo>
                    <a:pt x="3722" y="4309"/>
                  </a:lnTo>
                  <a:lnTo>
                    <a:pt x="3652" y="4288"/>
                  </a:lnTo>
                  <a:lnTo>
                    <a:pt x="3584" y="4267"/>
                  </a:lnTo>
                  <a:lnTo>
                    <a:pt x="3520" y="4244"/>
                  </a:lnTo>
                  <a:lnTo>
                    <a:pt x="3459" y="4220"/>
                  </a:lnTo>
                  <a:lnTo>
                    <a:pt x="3459" y="4220"/>
                  </a:lnTo>
                  <a:lnTo>
                    <a:pt x="3537" y="3909"/>
                  </a:lnTo>
                  <a:lnTo>
                    <a:pt x="3578" y="3750"/>
                  </a:lnTo>
                  <a:lnTo>
                    <a:pt x="3578" y="3750"/>
                  </a:lnTo>
                  <a:lnTo>
                    <a:pt x="3583" y="3728"/>
                  </a:lnTo>
                  <a:lnTo>
                    <a:pt x="3588" y="3707"/>
                  </a:lnTo>
                  <a:lnTo>
                    <a:pt x="3592" y="3688"/>
                  </a:lnTo>
                  <a:lnTo>
                    <a:pt x="3594" y="3670"/>
                  </a:lnTo>
                  <a:lnTo>
                    <a:pt x="3596" y="3654"/>
                  </a:lnTo>
                  <a:lnTo>
                    <a:pt x="3596" y="3640"/>
                  </a:lnTo>
                  <a:lnTo>
                    <a:pt x="3596" y="3626"/>
                  </a:lnTo>
                  <a:lnTo>
                    <a:pt x="3595" y="3614"/>
                  </a:lnTo>
                  <a:lnTo>
                    <a:pt x="3593" y="3603"/>
                  </a:lnTo>
                  <a:lnTo>
                    <a:pt x="3591" y="3594"/>
                  </a:lnTo>
                  <a:lnTo>
                    <a:pt x="3586" y="3587"/>
                  </a:lnTo>
                  <a:lnTo>
                    <a:pt x="3583" y="3580"/>
                  </a:lnTo>
                  <a:lnTo>
                    <a:pt x="3578" y="3575"/>
                  </a:lnTo>
                  <a:lnTo>
                    <a:pt x="3573" y="3571"/>
                  </a:lnTo>
                  <a:lnTo>
                    <a:pt x="3568" y="3568"/>
                  </a:lnTo>
                  <a:lnTo>
                    <a:pt x="3561" y="3567"/>
                  </a:lnTo>
                  <a:lnTo>
                    <a:pt x="3555" y="3567"/>
                  </a:lnTo>
                  <a:lnTo>
                    <a:pt x="3548" y="3568"/>
                  </a:lnTo>
                  <a:lnTo>
                    <a:pt x="3542" y="3570"/>
                  </a:lnTo>
                  <a:lnTo>
                    <a:pt x="3534" y="3574"/>
                  </a:lnTo>
                  <a:lnTo>
                    <a:pt x="3526" y="3579"/>
                  </a:lnTo>
                  <a:lnTo>
                    <a:pt x="3519" y="3584"/>
                  </a:lnTo>
                  <a:lnTo>
                    <a:pt x="3512" y="3592"/>
                  </a:lnTo>
                  <a:lnTo>
                    <a:pt x="3503" y="3600"/>
                  </a:lnTo>
                  <a:lnTo>
                    <a:pt x="3496" y="3609"/>
                  </a:lnTo>
                  <a:lnTo>
                    <a:pt x="3488" y="3620"/>
                  </a:lnTo>
                  <a:lnTo>
                    <a:pt x="3480" y="3631"/>
                  </a:lnTo>
                  <a:lnTo>
                    <a:pt x="3473" y="3644"/>
                  </a:lnTo>
                  <a:lnTo>
                    <a:pt x="3466" y="3658"/>
                  </a:lnTo>
                  <a:lnTo>
                    <a:pt x="3459" y="3673"/>
                  </a:lnTo>
                  <a:lnTo>
                    <a:pt x="3451" y="3689"/>
                  </a:lnTo>
                  <a:lnTo>
                    <a:pt x="3445" y="3705"/>
                  </a:lnTo>
                  <a:lnTo>
                    <a:pt x="3445" y="3705"/>
                  </a:lnTo>
                  <a:lnTo>
                    <a:pt x="3396" y="3849"/>
                  </a:lnTo>
                  <a:lnTo>
                    <a:pt x="3297" y="4145"/>
                  </a:lnTo>
                  <a:lnTo>
                    <a:pt x="3297" y="4145"/>
                  </a:lnTo>
                  <a:lnTo>
                    <a:pt x="3256" y="4123"/>
                  </a:lnTo>
                  <a:lnTo>
                    <a:pt x="3217" y="4100"/>
                  </a:lnTo>
                  <a:lnTo>
                    <a:pt x="3180" y="4076"/>
                  </a:lnTo>
                  <a:lnTo>
                    <a:pt x="3145" y="4051"/>
                  </a:lnTo>
                  <a:lnTo>
                    <a:pt x="3111" y="4027"/>
                  </a:lnTo>
                  <a:lnTo>
                    <a:pt x="3080" y="4001"/>
                  </a:lnTo>
                  <a:lnTo>
                    <a:pt x="3052" y="3975"/>
                  </a:lnTo>
                  <a:lnTo>
                    <a:pt x="3025" y="3948"/>
                  </a:lnTo>
                  <a:lnTo>
                    <a:pt x="3000" y="3921"/>
                  </a:lnTo>
                  <a:lnTo>
                    <a:pt x="2978" y="3894"/>
                  </a:lnTo>
                  <a:lnTo>
                    <a:pt x="2958" y="3866"/>
                  </a:lnTo>
                  <a:lnTo>
                    <a:pt x="2942" y="3838"/>
                  </a:lnTo>
                  <a:lnTo>
                    <a:pt x="2926" y="3809"/>
                  </a:lnTo>
                  <a:lnTo>
                    <a:pt x="2920" y="3794"/>
                  </a:lnTo>
                  <a:lnTo>
                    <a:pt x="2915" y="3779"/>
                  </a:lnTo>
                  <a:lnTo>
                    <a:pt x="2910" y="3765"/>
                  </a:lnTo>
                  <a:lnTo>
                    <a:pt x="2904" y="3749"/>
                  </a:lnTo>
                  <a:lnTo>
                    <a:pt x="2900" y="3735"/>
                  </a:lnTo>
                  <a:lnTo>
                    <a:pt x="2897" y="3720"/>
                  </a:lnTo>
                  <a:lnTo>
                    <a:pt x="2897" y="3720"/>
                  </a:lnTo>
                  <a:lnTo>
                    <a:pt x="3251" y="2722"/>
                  </a:lnTo>
                  <a:lnTo>
                    <a:pt x="3251" y="2722"/>
                  </a:lnTo>
                  <a:lnTo>
                    <a:pt x="3256" y="2736"/>
                  </a:lnTo>
                  <a:lnTo>
                    <a:pt x="3261" y="2751"/>
                  </a:lnTo>
                  <a:lnTo>
                    <a:pt x="3267" y="2764"/>
                  </a:lnTo>
                  <a:lnTo>
                    <a:pt x="3275" y="2779"/>
                  </a:lnTo>
                  <a:lnTo>
                    <a:pt x="3283" y="2793"/>
                  </a:lnTo>
                  <a:lnTo>
                    <a:pt x="3291" y="2806"/>
                  </a:lnTo>
                  <a:lnTo>
                    <a:pt x="3301" y="2821"/>
                  </a:lnTo>
                  <a:lnTo>
                    <a:pt x="3310" y="2834"/>
                  </a:lnTo>
                  <a:lnTo>
                    <a:pt x="3332" y="2860"/>
                  </a:lnTo>
                  <a:lnTo>
                    <a:pt x="3357" y="2886"/>
                  </a:lnTo>
                  <a:lnTo>
                    <a:pt x="3384" y="2912"/>
                  </a:lnTo>
                  <a:lnTo>
                    <a:pt x="3413" y="2936"/>
                  </a:lnTo>
                  <a:lnTo>
                    <a:pt x="3445" y="2961"/>
                  </a:lnTo>
                  <a:lnTo>
                    <a:pt x="3479" y="2984"/>
                  </a:lnTo>
                  <a:lnTo>
                    <a:pt x="3517" y="3007"/>
                  </a:lnTo>
                  <a:lnTo>
                    <a:pt x="3555" y="3029"/>
                  </a:lnTo>
                  <a:lnTo>
                    <a:pt x="3597" y="3051"/>
                  </a:lnTo>
                  <a:lnTo>
                    <a:pt x="3640" y="3071"/>
                  </a:lnTo>
                  <a:lnTo>
                    <a:pt x="3685" y="3091"/>
                  </a:lnTo>
                  <a:lnTo>
                    <a:pt x="3733" y="3109"/>
                  </a:lnTo>
                  <a:lnTo>
                    <a:pt x="3782" y="3127"/>
                  </a:lnTo>
                  <a:lnTo>
                    <a:pt x="3833" y="3144"/>
                  </a:lnTo>
                  <a:lnTo>
                    <a:pt x="3886" y="3160"/>
                  </a:lnTo>
                  <a:lnTo>
                    <a:pt x="3940" y="3175"/>
                  </a:lnTo>
                  <a:lnTo>
                    <a:pt x="3996" y="3190"/>
                  </a:lnTo>
                  <a:lnTo>
                    <a:pt x="4054" y="3202"/>
                  </a:lnTo>
                  <a:lnTo>
                    <a:pt x="4112" y="3214"/>
                  </a:lnTo>
                  <a:lnTo>
                    <a:pt x="4174" y="3225"/>
                  </a:lnTo>
                  <a:lnTo>
                    <a:pt x="4235" y="3234"/>
                  </a:lnTo>
                  <a:lnTo>
                    <a:pt x="4299" y="3243"/>
                  </a:lnTo>
                  <a:lnTo>
                    <a:pt x="4362" y="3250"/>
                  </a:lnTo>
                  <a:lnTo>
                    <a:pt x="4427" y="3255"/>
                  </a:lnTo>
                  <a:lnTo>
                    <a:pt x="4494" y="3260"/>
                  </a:lnTo>
                  <a:lnTo>
                    <a:pt x="4562" y="3264"/>
                  </a:lnTo>
                  <a:lnTo>
                    <a:pt x="4629" y="3266"/>
                  </a:lnTo>
                  <a:lnTo>
                    <a:pt x="4699" y="3267"/>
                  </a:lnTo>
                  <a:lnTo>
                    <a:pt x="4699" y="3267"/>
                  </a:lnTo>
                  <a:close/>
                  <a:moveTo>
                    <a:pt x="6494" y="3744"/>
                  </a:moveTo>
                  <a:lnTo>
                    <a:pt x="6494" y="3744"/>
                  </a:lnTo>
                  <a:lnTo>
                    <a:pt x="6139" y="2744"/>
                  </a:lnTo>
                  <a:lnTo>
                    <a:pt x="6139" y="2744"/>
                  </a:lnTo>
                  <a:lnTo>
                    <a:pt x="6131" y="2760"/>
                  </a:lnTo>
                  <a:lnTo>
                    <a:pt x="6124" y="2776"/>
                  </a:lnTo>
                  <a:lnTo>
                    <a:pt x="6115" y="2793"/>
                  </a:lnTo>
                  <a:lnTo>
                    <a:pt x="6105" y="2808"/>
                  </a:lnTo>
                  <a:lnTo>
                    <a:pt x="6095" y="2824"/>
                  </a:lnTo>
                  <a:lnTo>
                    <a:pt x="6083" y="2839"/>
                  </a:lnTo>
                  <a:lnTo>
                    <a:pt x="6070" y="2855"/>
                  </a:lnTo>
                  <a:lnTo>
                    <a:pt x="6057" y="2870"/>
                  </a:lnTo>
                  <a:lnTo>
                    <a:pt x="6043" y="2884"/>
                  </a:lnTo>
                  <a:lnTo>
                    <a:pt x="6027" y="2900"/>
                  </a:lnTo>
                  <a:lnTo>
                    <a:pt x="6012" y="2913"/>
                  </a:lnTo>
                  <a:lnTo>
                    <a:pt x="5995" y="2928"/>
                  </a:lnTo>
                  <a:lnTo>
                    <a:pt x="5978" y="2943"/>
                  </a:lnTo>
                  <a:lnTo>
                    <a:pt x="5959" y="2956"/>
                  </a:lnTo>
                  <a:lnTo>
                    <a:pt x="5939" y="2970"/>
                  </a:lnTo>
                  <a:lnTo>
                    <a:pt x="5919" y="2983"/>
                  </a:lnTo>
                  <a:lnTo>
                    <a:pt x="5919" y="2983"/>
                  </a:lnTo>
                  <a:lnTo>
                    <a:pt x="6233" y="4065"/>
                  </a:lnTo>
                  <a:lnTo>
                    <a:pt x="6233" y="4065"/>
                  </a:lnTo>
                  <a:lnTo>
                    <a:pt x="6259" y="4047"/>
                  </a:lnTo>
                  <a:lnTo>
                    <a:pt x="6283" y="4028"/>
                  </a:lnTo>
                  <a:lnTo>
                    <a:pt x="6306" y="4010"/>
                  </a:lnTo>
                  <a:lnTo>
                    <a:pt x="6328" y="3991"/>
                  </a:lnTo>
                  <a:lnTo>
                    <a:pt x="6349" y="3972"/>
                  </a:lnTo>
                  <a:lnTo>
                    <a:pt x="6368" y="3952"/>
                  </a:lnTo>
                  <a:lnTo>
                    <a:pt x="6387" y="3932"/>
                  </a:lnTo>
                  <a:lnTo>
                    <a:pt x="6404" y="3913"/>
                  </a:lnTo>
                  <a:lnTo>
                    <a:pt x="6420" y="3893"/>
                  </a:lnTo>
                  <a:lnTo>
                    <a:pt x="6435" y="3872"/>
                  </a:lnTo>
                  <a:lnTo>
                    <a:pt x="6447" y="3851"/>
                  </a:lnTo>
                  <a:lnTo>
                    <a:pt x="6460" y="3830"/>
                  </a:lnTo>
                  <a:lnTo>
                    <a:pt x="6470" y="3809"/>
                  </a:lnTo>
                  <a:lnTo>
                    <a:pt x="6480" y="3788"/>
                  </a:lnTo>
                  <a:lnTo>
                    <a:pt x="6488" y="3766"/>
                  </a:lnTo>
                  <a:lnTo>
                    <a:pt x="6494" y="3744"/>
                  </a:lnTo>
                  <a:lnTo>
                    <a:pt x="6494" y="3744"/>
                  </a:lnTo>
                  <a:close/>
                  <a:moveTo>
                    <a:pt x="5379" y="616"/>
                  </a:moveTo>
                  <a:lnTo>
                    <a:pt x="5379" y="616"/>
                  </a:lnTo>
                  <a:lnTo>
                    <a:pt x="5551" y="1095"/>
                  </a:lnTo>
                  <a:lnTo>
                    <a:pt x="5776" y="1726"/>
                  </a:lnTo>
                  <a:lnTo>
                    <a:pt x="5776" y="1726"/>
                  </a:lnTo>
                  <a:lnTo>
                    <a:pt x="5756" y="1741"/>
                  </a:lnTo>
                  <a:lnTo>
                    <a:pt x="5736" y="1757"/>
                  </a:lnTo>
                  <a:lnTo>
                    <a:pt x="5715" y="1771"/>
                  </a:lnTo>
                  <a:lnTo>
                    <a:pt x="5691" y="1787"/>
                  </a:lnTo>
                  <a:lnTo>
                    <a:pt x="5667" y="1801"/>
                  </a:lnTo>
                  <a:lnTo>
                    <a:pt x="5642" y="1815"/>
                  </a:lnTo>
                  <a:lnTo>
                    <a:pt x="5616" y="1829"/>
                  </a:lnTo>
                  <a:lnTo>
                    <a:pt x="5588" y="1842"/>
                  </a:lnTo>
                  <a:lnTo>
                    <a:pt x="5588" y="1842"/>
                  </a:lnTo>
                  <a:lnTo>
                    <a:pt x="5259" y="706"/>
                  </a:lnTo>
                  <a:lnTo>
                    <a:pt x="5259" y="706"/>
                  </a:lnTo>
                  <a:lnTo>
                    <a:pt x="5278" y="695"/>
                  </a:lnTo>
                  <a:lnTo>
                    <a:pt x="5296" y="685"/>
                  </a:lnTo>
                  <a:lnTo>
                    <a:pt x="5312" y="674"/>
                  </a:lnTo>
                  <a:lnTo>
                    <a:pt x="5327" y="663"/>
                  </a:lnTo>
                  <a:lnTo>
                    <a:pt x="5341" y="651"/>
                  </a:lnTo>
                  <a:lnTo>
                    <a:pt x="5355" y="640"/>
                  </a:lnTo>
                  <a:lnTo>
                    <a:pt x="5367" y="628"/>
                  </a:lnTo>
                  <a:lnTo>
                    <a:pt x="5379" y="616"/>
                  </a:lnTo>
                  <a:lnTo>
                    <a:pt x="5379" y="616"/>
                  </a:lnTo>
                  <a:close/>
                  <a:moveTo>
                    <a:pt x="3609" y="1714"/>
                  </a:moveTo>
                  <a:lnTo>
                    <a:pt x="3609" y="1714"/>
                  </a:lnTo>
                  <a:lnTo>
                    <a:pt x="3628" y="1731"/>
                  </a:lnTo>
                  <a:lnTo>
                    <a:pt x="3648" y="1746"/>
                  </a:lnTo>
                  <a:lnTo>
                    <a:pt x="3669" y="1762"/>
                  </a:lnTo>
                  <a:lnTo>
                    <a:pt x="3691" y="1778"/>
                  </a:lnTo>
                  <a:lnTo>
                    <a:pt x="3715" y="1792"/>
                  </a:lnTo>
                  <a:lnTo>
                    <a:pt x="3740" y="1807"/>
                  </a:lnTo>
                  <a:lnTo>
                    <a:pt x="3766" y="1820"/>
                  </a:lnTo>
                  <a:lnTo>
                    <a:pt x="3793" y="1834"/>
                  </a:lnTo>
                  <a:lnTo>
                    <a:pt x="3821" y="1848"/>
                  </a:lnTo>
                  <a:lnTo>
                    <a:pt x="3850" y="1861"/>
                  </a:lnTo>
                  <a:lnTo>
                    <a:pt x="3881" y="1874"/>
                  </a:lnTo>
                  <a:lnTo>
                    <a:pt x="3912" y="1885"/>
                  </a:lnTo>
                  <a:lnTo>
                    <a:pt x="3944" y="1897"/>
                  </a:lnTo>
                  <a:lnTo>
                    <a:pt x="3977" y="1908"/>
                  </a:lnTo>
                  <a:lnTo>
                    <a:pt x="4011" y="1918"/>
                  </a:lnTo>
                  <a:lnTo>
                    <a:pt x="4046" y="1928"/>
                  </a:lnTo>
                  <a:lnTo>
                    <a:pt x="4081" y="1938"/>
                  </a:lnTo>
                  <a:lnTo>
                    <a:pt x="4118" y="1947"/>
                  </a:lnTo>
                  <a:lnTo>
                    <a:pt x="4155" y="1955"/>
                  </a:lnTo>
                  <a:lnTo>
                    <a:pt x="4194" y="1963"/>
                  </a:lnTo>
                  <a:lnTo>
                    <a:pt x="4232" y="1971"/>
                  </a:lnTo>
                  <a:lnTo>
                    <a:pt x="4272" y="1978"/>
                  </a:lnTo>
                  <a:lnTo>
                    <a:pt x="4312" y="1983"/>
                  </a:lnTo>
                  <a:lnTo>
                    <a:pt x="4353" y="1989"/>
                  </a:lnTo>
                  <a:lnTo>
                    <a:pt x="4394" y="1994"/>
                  </a:lnTo>
                  <a:lnTo>
                    <a:pt x="4436" y="1999"/>
                  </a:lnTo>
                  <a:lnTo>
                    <a:pt x="4478" y="2002"/>
                  </a:lnTo>
                  <a:lnTo>
                    <a:pt x="4522" y="2005"/>
                  </a:lnTo>
                  <a:lnTo>
                    <a:pt x="4565" y="2008"/>
                  </a:lnTo>
                  <a:lnTo>
                    <a:pt x="4609" y="2009"/>
                  </a:lnTo>
                  <a:lnTo>
                    <a:pt x="4654" y="2010"/>
                  </a:lnTo>
                  <a:lnTo>
                    <a:pt x="4699" y="2011"/>
                  </a:lnTo>
                  <a:lnTo>
                    <a:pt x="4699" y="2011"/>
                  </a:lnTo>
                  <a:lnTo>
                    <a:pt x="4742" y="2010"/>
                  </a:lnTo>
                  <a:lnTo>
                    <a:pt x="4785" y="2009"/>
                  </a:lnTo>
                  <a:lnTo>
                    <a:pt x="4828" y="2008"/>
                  </a:lnTo>
                  <a:lnTo>
                    <a:pt x="4870" y="2006"/>
                  </a:lnTo>
                  <a:lnTo>
                    <a:pt x="4912" y="2003"/>
                  </a:lnTo>
                  <a:lnTo>
                    <a:pt x="4954" y="1999"/>
                  </a:lnTo>
                  <a:lnTo>
                    <a:pt x="4994" y="1994"/>
                  </a:lnTo>
                  <a:lnTo>
                    <a:pt x="5034" y="1990"/>
                  </a:lnTo>
                  <a:lnTo>
                    <a:pt x="5034" y="1990"/>
                  </a:lnTo>
                  <a:lnTo>
                    <a:pt x="4919" y="805"/>
                  </a:lnTo>
                  <a:lnTo>
                    <a:pt x="4919" y="805"/>
                  </a:lnTo>
                  <a:lnTo>
                    <a:pt x="4866" y="811"/>
                  </a:lnTo>
                  <a:lnTo>
                    <a:pt x="4811" y="815"/>
                  </a:lnTo>
                  <a:lnTo>
                    <a:pt x="4756" y="818"/>
                  </a:lnTo>
                  <a:lnTo>
                    <a:pt x="4699" y="819"/>
                  </a:lnTo>
                  <a:lnTo>
                    <a:pt x="4699" y="819"/>
                  </a:lnTo>
                  <a:lnTo>
                    <a:pt x="4639" y="818"/>
                  </a:lnTo>
                  <a:lnTo>
                    <a:pt x="4579" y="815"/>
                  </a:lnTo>
                  <a:lnTo>
                    <a:pt x="4522" y="810"/>
                  </a:lnTo>
                  <a:lnTo>
                    <a:pt x="4467" y="802"/>
                  </a:lnTo>
                  <a:lnTo>
                    <a:pt x="4413" y="794"/>
                  </a:lnTo>
                  <a:lnTo>
                    <a:pt x="4362" y="784"/>
                  </a:lnTo>
                  <a:lnTo>
                    <a:pt x="4312" y="771"/>
                  </a:lnTo>
                  <a:lnTo>
                    <a:pt x="4265" y="758"/>
                  </a:lnTo>
                  <a:lnTo>
                    <a:pt x="4222" y="742"/>
                  </a:lnTo>
                  <a:lnTo>
                    <a:pt x="4181" y="725"/>
                  </a:lnTo>
                  <a:lnTo>
                    <a:pt x="4161" y="717"/>
                  </a:lnTo>
                  <a:lnTo>
                    <a:pt x="4143" y="708"/>
                  </a:lnTo>
                  <a:lnTo>
                    <a:pt x="4125" y="698"/>
                  </a:lnTo>
                  <a:lnTo>
                    <a:pt x="4108" y="689"/>
                  </a:lnTo>
                  <a:lnTo>
                    <a:pt x="4093" y="678"/>
                  </a:lnTo>
                  <a:lnTo>
                    <a:pt x="4077" y="668"/>
                  </a:lnTo>
                  <a:lnTo>
                    <a:pt x="4063" y="658"/>
                  </a:lnTo>
                  <a:lnTo>
                    <a:pt x="4050" y="647"/>
                  </a:lnTo>
                  <a:lnTo>
                    <a:pt x="4038" y="636"/>
                  </a:lnTo>
                  <a:lnTo>
                    <a:pt x="4026" y="624"/>
                  </a:lnTo>
                  <a:lnTo>
                    <a:pt x="4016" y="613"/>
                  </a:lnTo>
                  <a:lnTo>
                    <a:pt x="4006" y="601"/>
                  </a:lnTo>
                  <a:lnTo>
                    <a:pt x="4006" y="601"/>
                  </a:lnTo>
                  <a:lnTo>
                    <a:pt x="3837" y="1073"/>
                  </a:lnTo>
                  <a:lnTo>
                    <a:pt x="3609" y="1714"/>
                  </a:lnTo>
                  <a:lnTo>
                    <a:pt x="3609" y="1714"/>
                  </a:lnTo>
                  <a:close/>
                  <a:moveTo>
                    <a:pt x="4301" y="171"/>
                  </a:moveTo>
                  <a:lnTo>
                    <a:pt x="4301" y="171"/>
                  </a:lnTo>
                  <a:lnTo>
                    <a:pt x="4302" y="180"/>
                  </a:lnTo>
                  <a:lnTo>
                    <a:pt x="4303" y="189"/>
                  </a:lnTo>
                  <a:lnTo>
                    <a:pt x="4305" y="197"/>
                  </a:lnTo>
                  <a:lnTo>
                    <a:pt x="4309" y="205"/>
                  </a:lnTo>
                  <a:lnTo>
                    <a:pt x="4313" y="214"/>
                  </a:lnTo>
                  <a:lnTo>
                    <a:pt x="4318" y="222"/>
                  </a:lnTo>
                  <a:lnTo>
                    <a:pt x="4325" y="230"/>
                  </a:lnTo>
                  <a:lnTo>
                    <a:pt x="4332" y="238"/>
                  </a:lnTo>
                  <a:lnTo>
                    <a:pt x="4340" y="245"/>
                  </a:lnTo>
                  <a:lnTo>
                    <a:pt x="4348" y="252"/>
                  </a:lnTo>
                  <a:lnTo>
                    <a:pt x="4358" y="260"/>
                  </a:lnTo>
                  <a:lnTo>
                    <a:pt x="4368" y="267"/>
                  </a:lnTo>
                  <a:lnTo>
                    <a:pt x="4391" y="279"/>
                  </a:lnTo>
                  <a:lnTo>
                    <a:pt x="4417" y="292"/>
                  </a:lnTo>
                  <a:lnTo>
                    <a:pt x="4445" y="303"/>
                  </a:lnTo>
                  <a:lnTo>
                    <a:pt x="4476" y="313"/>
                  </a:lnTo>
                  <a:lnTo>
                    <a:pt x="4509" y="321"/>
                  </a:lnTo>
                  <a:lnTo>
                    <a:pt x="4544" y="328"/>
                  </a:lnTo>
                  <a:lnTo>
                    <a:pt x="4580" y="335"/>
                  </a:lnTo>
                  <a:lnTo>
                    <a:pt x="4619" y="339"/>
                  </a:lnTo>
                  <a:lnTo>
                    <a:pt x="4658" y="341"/>
                  </a:lnTo>
                  <a:lnTo>
                    <a:pt x="4699" y="342"/>
                  </a:lnTo>
                  <a:lnTo>
                    <a:pt x="4699" y="342"/>
                  </a:lnTo>
                  <a:lnTo>
                    <a:pt x="4739" y="341"/>
                  </a:lnTo>
                  <a:lnTo>
                    <a:pt x="4779" y="339"/>
                  </a:lnTo>
                  <a:lnTo>
                    <a:pt x="4817" y="335"/>
                  </a:lnTo>
                  <a:lnTo>
                    <a:pt x="4854" y="328"/>
                  </a:lnTo>
                  <a:lnTo>
                    <a:pt x="4888" y="321"/>
                  </a:lnTo>
                  <a:lnTo>
                    <a:pt x="4921" y="313"/>
                  </a:lnTo>
                  <a:lnTo>
                    <a:pt x="4951" y="303"/>
                  </a:lnTo>
                  <a:lnTo>
                    <a:pt x="4980" y="292"/>
                  </a:lnTo>
                  <a:lnTo>
                    <a:pt x="5006" y="279"/>
                  </a:lnTo>
                  <a:lnTo>
                    <a:pt x="5028" y="267"/>
                  </a:lnTo>
                  <a:lnTo>
                    <a:pt x="5039" y="260"/>
                  </a:lnTo>
                  <a:lnTo>
                    <a:pt x="5048" y="252"/>
                  </a:lnTo>
                  <a:lnTo>
                    <a:pt x="5057" y="245"/>
                  </a:lnTo>
                  <a:lnTo>
                    <a:pt x="5066" y="238"/>
                  </a:lnTo>
                  <a:lnTo>
                    <a:pt x="5072" y="230"/>
                  </a:lnTo>
                  <a:lnTo>
                    <a:pt x="5078" y="222"/>
                  </a:lnTo>
                  <a:lnTo>
                    <a:pt x="5085" y="214"/>
                  </a:lnTo>
                  <a:lnTo>
                    <a:pt x="5089" y="205"/>
                  </a:lnTo>
                  <a:lnTo>
                    <a:pt x="5092" y="197"/>
                  </a:lnTo>
                  <a:lnTo>
                    <a:pt x="5095" y="189"/>
                  </a:lnTo>
                  <a:lnTo>
                    <a:pt x="5096" y="180"/>
                  </a:lnTo>
                  <a:lnTo>
                    <a:pt x="5097" y="171"/>
                  </a:lnTo>
                  <a:lnTo>
                    <a:pt x="5097" y="171"/>
                  </a:lnTo>
                  <a:lnTo>
                    <a:pt x="5096" y="163"/>
                  </a:lnTo>
                  <a:lnTo>
                    <a:pt x="5095" y="153"/>
                  </a:lnTo>
                  <a:lnTo>
                    <a:pt x="5092" y="145"/>
                  </a:lnTo>
                  <a:lnTo>
                    <a:pt x="5089" y="137"/>
                  </a:lnTo>
                  <a:lnTo>
                    <a:pt x="5085" y="128"/>
                  </a:lnTo>
                  <a:lnTo>
                    <a:pt x="5078" y="120"/>
                  </a:lnTo>
                  <a:lnTo>
                    <a:pt x="5072" y="113"/>
                  </a:lnTo>
                  <a:lnTo>
                    <a:pt x="5066" y="104"/>
                  </a:lnTo>
                  <a:lnTo>
                    <a:pt x="5057" y="97"/>
                  </a:lnTo>
                  <a:lnTo>
                    <a:pt x="5048" y="90"/>
                  </a:lnTo>
                  <a:lnTo>
                    <a:pt x="5039" y="83"/>
                  </a:lnTo>
                  <a:lnTo>
                    <a:pt x="5028" y="75"/>
                  </a:lnTo>
                  <a:lnTo>
                    <a:pt x="5006" y="63"/>
                  </a:lnTo>
                  <a:lnTo>
                    <a:pt x="4980" y="50"/>
                  </a:lnTo>
                  <a:lnTo>
                    <a:pt x="4951" y="39"/>
                  </a:lnTo>
                  <a:lnTo>
                    <a:pt x="4921" y="29"/>
                  </a:lnTo>
                  <a:lnTo>
                    <a:pt x="4888" y="21"/>
                  </a:lnTo>
                  <a:lnTo>
                    <a:pt x="4854" y="14"/>
                  </a:lnTo>
                  <a:lnTo>
                    <a:pt x="4817" y="7"/>
                  </a:lnTo>
                  <a:lnTo>
                    <a:pt x="4779" y="3"/>
                  </a:lnTo>
                  <a:lnTo>
                    <a:pt x="4739" y="1"/>
                  </a:lnTo>
                  <a:lnTo>
                    <a:pt x="4699" y="0"/>
                  </a:lnTo>
                  <a:lnTo>
                    <a:pt x="4699" y="0"/>
                  </a:lnTo>
                  <a:lnTo>
                    <a:pt x="4658" y="1"/>
                  </a:lnTo>
                  <a:lnTo>
                    <a:pt x="4619" y="3"/>
                  </a:lnTo>
                  <a:lnTo>
                    <a:pt x="4580" y="7"/>
                  </a:lnTo>
                  <a:lnTo>
                    <a:pt x="4544" y="14"/>
                  </a:lnTo>
                  <a:lnTo>
                    <a:pt x="4509" y="21"/>
                  </a:lnTo>
                  <a:lnTo>
                    <a:pt x="4476" y="29"/>
                  </a:lnTo>
                  <a:lnTo>
                    <a:pt x="4445" y="39"/>
                  </a:lnTo>
                  <a:lnTo>
                    <a:pt x="4417" y="50"/>
                  </a:lnTo>
                  <a:lnTo>
                    <a:pt x="4391" y="63"/>
                  </a:lnTo>
                  <a:lnTo>
                    <a:pt x="4368" y="75"/>
                  </a:lnTo>
                  <a:lnTo>
                    <a:pt x="4358" y="83"/>
                  </a:lnTo>
                  <a:lnTo>
                    <a:pt x="4348" y="90"/>
                  </a:lnTo>
                  <a:lnTo>
                    <a:pt x="4340" y="97"/>
                  </a:lnTo>
                  <a:lnTo>
                    <a:pt x="4332" y="104"/>
                  </a:lnTo>
                  <a:lnTo>
                    <a:pt x="4325" y="113"/>
                  </a:lnTo>
                  <a:lnTo>
                    <a:pt x="4318" y="120"/>
                  </a:lnTo>
                  <a:lnTo>
                    <a:pt x="4313" y="128"/>
                  </a:lnTo>
                  <a:lnTo>
                    <a:pt x="4309" y="137"/>
                  </a:lnTo>
                  <a:lnTo>
                    <a:pt x="4305" y="145"/>
                  </a:lnTo>
                  <a:lnTo>
                    <a:pt x="4303" y="153"/>
                  </a:lnTo>
                  <a:lnTo>
                    <a:pt x="4302" y="163"/>
                  </a:lnTo>
                  <a:lnTo>
                    <a:pt x="4301" y="171"/>
                  </a:lnTo>
                  <a:lnTo>
                    <a:pt x="4301" y="171"/>
                  </a:lnTo>
                  <a:close/>
                </a:path>
              </a:pathLst>
            </a:custGeom>
            <a:solidFill>
              <a:srgbClr val="F15A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1" name="Freeform 44"/>
            <p:cNvSpPr>
              <a:spLocks/>
            </p:cNvSpPr>
            <p:nvPr/>
          </p:nvSpPr>
          <p:spPr bwMode="auto">
            <a:xfrm flipH="1">
              <a:off x="4833737" y="3416855"/>
              <a:ext cx="1731300" cy="327639"/>
            </a:xfrm>
            <a:custGeom>
              <a:avLst/>
              <a:gdLst>
                <a:gd name="T0" fmla="*/ 1 w 9393"/>
                <a:gd name="T1" fmla="*/ 18 h 2287"/>
                <a:gd name="T2" fmla="*/ 11 w 9393"/>
                <a:gd name="T3" fmla="*/ 67 h 2287"/>
                <a:gd name="T4" fmla="*/ 30 w 9393"/>
                <a:gd name="T5" fmla="*/ 111 h 2287"/>
                <a:gd name="T6" fmla="*/ 61 w 9393"/>
                <a:gd name="T7" fmla="*/ 155 h 2287"/>
                <a:gd name="T8" fmla="*/ 108 w 9393"/>
                <a:gd name="T9" fmla="*/ 196 h 2287"/>
                <a:gd name="T10" fmla="*/ 196 w 9393"/>
                <a:gd name="T11" fmla="*/ 241 h 2287"/>
                <a:gd name="T12" fmla="*/ 1465 w 9393"/>
                <a:gd name="T13" fmla="*/ 844 h 2287"/>
                <a:gd name="T14" fmla="*/ 4164 w 9393"/>
                <a:gd name="T15" fmla="*/ 2117 h 2287"/>
                <a:gd name="T16" fmla="*/ 4206 w 9393"/>
                <a:gd name="T17" fmla="*/ 2132 h 2287"/>
                <a:gd name="T18" fmla="*/ 4319 w 9393"/>
                <a:gd name="T19" fmla="*/ 2166 h 2287"/>
                <a:gd name="T20" fmla="*/ 4442 w 9393"/>
                <a:gd name="T21" fmla="*/ 2192 h 2287"/>
                <a:gd name="T22" fmla="*/ 4588 w 9393"/>
                <a:gd name="T23" fmla="*/ 2211 h 2287"/>
                <a:gd name="T24" fmla="*/ 4697 w 9393"/>
                <a:gd name="T25" fmla="*/ 2215 h 2287"/>
                <a:gd name="T26" fmla="*/ 4855 w 9393"/>
                <a:gd name="T27" fmla="*/ 2207 h 2287"/>
                <a:gd name="T28" fmla="*/ 4994 w 9393"/>
                <a:gd name="T29" fmla="*/ 2184 h 2287"/>
                <a:gd name="T30" fmla="*/ 5107 w 9393"/>
                <a:gd name="T31" fmla="*/ 2157 h 2287"/>
                <a:gd name="T32" fmla="*/ 5217 w 9393"/>
                <a:gd name="T33" fmla="*/ 2122 h 2287"/>
                <a:gd name="T34" fmla="*/ 5839 w 9393"/>
                <a:gd name="T35" fmla="*/ 1829 h 2287"/>
                <a:gd name="T36" fmla="*/ 8576 w 9393"/>
                <a:gd name="T37" fmla="*/ 537 h 2287"/>
                <a:gd name="T38" fmla="*/ 9265 w 9393"/>
                <a:gd name="T39" fmla="*/ 207 h 2287"/>
                <a:gd name="T40" fmla="*/ 9302 w 9393"/>
                <a:gd name="T41" fmla="*/ 182 h 2287"/>
                <a:gd name="T42" fmla="*/ 9344 w 9393"/>
                <a:gd name="T43" fmla="*/ 141 h 2287"/>
                <a:gd name="T44" fmla="*/ 9371 w 9393"/>
                <a:gd name="T45" fmla="*/ 96 h 2287"/>
                <a:gd name="T46" fmla="*/ 9385 w 9393"/>
                <a:gd name="T47" fmla="*/ 53 h 2287"/>
                <a:gd name="T48" fmla="*/ 9393 w 9393"/>
                <a:gd name="T49" fmla="*/ 0 h 2287"/>
                <a:gd name="T50" fmla="*/ 9393 w 9393"/>
                <a:gd name="T51" fmla="*/ 57 h 2287"/>
                <a:gd name="T52" fmla="*/ 9391 w 9393"/>
                <a:gd name="T53" fmla="*/ 94 h 2287"/>
                <a:gd name="T54" fmla="*/ 9380 w 9393"/>
                <a:gd name="T55" fmla="*/ 140 h 2287"/>
                <a:gd name="T56" fmla="*/ 9355 w 9393"/>
                <a:gd name="T57" fmla="*/ 195 h 2287"/>
                <a:gd name="T58" fmla="*/ 9319 w 9393"/>
                <a:gd name="T59" fmla="*/ 240 h 2287"/>
                <a:gd name="T60" fmla="*/ 9289 w 9393"/>
                <a:gd name="T61" fmla="*/ 265 h 2287"/>
                <a:gd name="T62" fmla="*/ 9265 w 9393"/>
                <a:gd name="T63" fmla="*/ 279 h 2287"/>
                <a:gd name="T64" fmla="*/ 8576 w 9393"/>
                <a:gd name="T65" fmla="*/ 609 h 2287"/>
                <a:gd name="T66" fmla="*/ 5839 w 9393"/>
                <a:gd name="T67" fmla="*/ 1901 h 2287"/>
                <a:gd name="T68" fmla="*/ 5217 w 9393"/>
                <a:gd name="T69" fmla="*/ 2192 h 2287"/>
                <a:gd name="T70" fmla="*/ 5107 w 9393"/>
                <a:gd name="T71" fmla="*/ 2229 h 2287"/>
                <a:gd name="T72" fmla="*/ 4994 w 9393"/>
                <a:gd name="T73" fmla="*/ 2256 h 2287"/>
                <a:gd name="T74" fmla="*/ 4855 w 9393"/>
                <a:gd name="T75" fmla="*/ 2278 h 2287"/>
                <a:gd name="T76" fmla="*/ 4697 w 9393"/>
                <a:gd name="T77" fmla="*/ 2287 h 2287"/>
                <a:gd name="T78" fmla="*/ 4588 w 9393"/>
                <a:gd name="T79" fmla="*/ 2283 h 2287"/>
                <a:gd name="T80" fmla="*/ 4442 w 9393"/>
                <a:gd name="T81" fmla="*/ 2264 h 2287"/>
                <a:gd name="T82" fmla="*/ 4319 w 9393"/>
                <a:gd name="T83" fmla="*/ 2238 h 2287"/>
                <a:gd name="T84" fmla="*/ 4206 w 9393"/>
                <a:gd name="T85" fmla="*/ 2204 h 2287"/>
                <a:gd name="T86" fmla="*/ 4164 w 9393"/>
                <a:gd name="T87" fmla="*/ 2188 h 2287"/>
                <a:gd name="T88" fmla="*/ 1465 w 9393"/>
                <a:gd name="T89" fmla="*/ 916 h 2287"/>
                <a:gd name="T90" fmla="*/ 196 w 9393"/>
                <a:gd name="T91" fmla="*/ 313 h 2287"/>
                <a:gd name="T92" fmla="*/ 115 w 9393"/>
                <a:gd name="T93" fmla="*/ 272 h 2287"/>
                <a:gd name="T94" fmla="*/ 83 w 9393"/>
                <a:gd name="T95" fmla="*/ 248 h 2287"/>
                <a:gd name="T96" fmla="*/ 49 w 9393"/>
                <a:gd name="T97" fmla="*/ 213 h 2287"/>
                <a:gd name="T98" fmla="*/ 18 w 9393"/>
                <a:gd name="T99" fmla="*/ 158 h 2287"/>
                <a:gd name="T100" fmla="*/ 4 w 9393"/>
                <a:gd name="T101" fmla="*/ 107 h 2287"/>
                <a:gd name="T102" fmla="*/ 0 w 9393"/>
                <a:gd name="T103" fmla="*/ 64 h 2287"/>
                <a:gd name="T104" fmla="*/ 0 w 9393"/>
                <a:gd name="T105" fmla="*/ 0 h 2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393" h="2287">
                  <a:moveTo>
                    <a:pt x="0" y="0"/>
                  </a:moveTo>
                  <a:lnTo>
                    <a:pt x="0" y="0"/>
                  </a:lnTo>
                  <a:lnTo>
                    <a:pt x="1" y="18"/>
                  </a:lnTo>
                  <a:lnTo>
                    <a:pt x="5" y="40"/>
                  </a:lnTo>
                  <a:lnTo>
                    <a:pt x="8" y="53"/>
                  </a:lnTo>
                  <a:lnTo>
                    <a:pt x="11" y="67"/>
                  </a:lnTo>
                  <a:lnTo>
                    <a:pt x="16" y="81"/>
                  </a:lnTo>
                  <a:lnTo>
                    <a:pt x="22" y="96"/>
                  </a:lnTo>
                  <a:lnTo>
                    <a:pt x="30" y="111"/>
                  </a:lnTo>
                  <a:lnTo>
                    <a:pt x="38" y="125"/>
                  </a:lnTo>
                  <a:lnTo>
                    <a:pt x="48" y="141"/>
                  </a:lnTo>
                  <a:lnTo>
                    <a:pt x="61" y="155"/>
                  </a:lnTo>
                  <a:lnTo>
                    <a:pt x="74" y="169"/>
                  </a:lnTo>
                  <a:lnTo>
                    <a:pt x="90" y="182"/>
                  </a:lnTo>
                  <a:lnTo>
                    <a:pt x="108" y="196"/>
                  </a:lnTo>
                  <a:lnTo>
                    <a:pt x="127" y="207"/>
                  </a:lnTo>
                  <a:lnTo>
                    <a:pt x="127" y="207"/>
                  </a:lnTo>
                  <a:lnTo>
                    <a:pt x="196" y="241"/>
                  </a:lnTo>
                  <a:lnTo>
                    <a:pt x="341" y="311"/>
                  </a:lnTo>
                  <a:lnTo>
                    <a:pt x="817" y="537"/>
                  </a:lnTo>
                  <a:lnTo>
                    <a:pt x="1465" y="844"/>
                  </a:lnTo>
                  <a:lnTo>
                    <a:pt x="2197" y="1190"/>
                  </a:lnTo>
                  <a:lnTo>
                    <a:pt x="3553" y="1829"/>
                  </a:lnTo>
                  <a:lnTo>
                    <a:pt x="4164" y="2117"/>
                  </a:lnTo>
                  <a:lnTo>
                    <a:pt x="4164" y="2117"/>
                  </a:lnTo>
                  <a:lnTo>
                    <a:pt x="4176" y="2122"/>
                  </a:lnTo>
                  <a:lnTo>
                    <a:pt x="4206" y="2132"/>
                  </a:lnTo>
                  <a:lnTo>
                    <a:pt x="4255" y="2149"/>
                  </a:lnTo>
                  <a:lnTo>
                    <a:pt x="4285" y="2157"/>
                  </a:lnTo>
                  <a:lnTo>
                    <a:pt x="4319" y="2166"/>
                  </a:lnTo>
                  <a:lnTo>
                    <a:pt x="4358" y="2176"/>
                  </a:lnTo>
                  <a:lnTo>
                    <a:pt x="4398" y="2184"/>
                  </a:lnTo>
                  <a:lnTo>
                    <a:pt x="4442" y="2192"/>
                  </a:lnTo>
                  <a:lnTo>
                    <a:pt x="4489" y="2201"/>
                  </a:lnTo>
                  <a:lnTo>
                    <a:pt x="4538" y="2207"/>
                  </a:lnTo>
                  <a:lnTo>
                    <a:pt x="4588" y="2211"/>
                  </a:lnTo>
                  <a:lnTo>
                    <a:pt x="4642" y="2214"/>
                  </a:lnTo>
                  <a:lnTo>
                    <a:pt x="4697" y="2215"/>
                  </a:lnTo>
                  <a:lnTo>
                    <a:pt x="4697" y="2215"/>
                  </a:lnTo>
                  <a:lnTo>
                    <a:pt x="4751" y="2214"/>
                  </a:lnTo>
                  <a:lnTo>
                    <a:pt x="4804" y="2211"/>
                  </a:lnTo>
                  <a:lnTo>
                    <a:pt x="4855" y="2207"/>
                  </a:lnTo>
                  <a:lnTo>
                    <a:pt x="4904" y="2201"/>
                  </a:lnTo>
                  <a:lnTo>
                    <a:pt x="4950" y="2192"/>
                  </a:lnTo>
                  <a:lnTo>
                    <a:pt x="4994" y="2184"/>
                  </a:lnTo>
                  <a:lnTo>
                    <a:pt x="5036" y="2176"/>
                  </a:lnTo>
                  <a:lnTo>
                    <a:pt x="5073" y="2166"/>
                  </a:lnTo>
                  <a:lnTo>
                    <a:pt x="5107" y="2157"/>
                  </a:lnTo>
                  <a:lnTo>
                    <a:pt x="5137" y="2149"/>
                  </a:lnTo>
                  <a:lnTo>
                    <a:pt x="5186" y="2132"/>
                  </a:lnTo>
                  <a:lnTo>
                    <a:pt x="5217" y="2122"/>
                  </a:lnTo>
                  <a:lnTo>
                    <a:pt x="5228" y="2117"/>
                  </a:lnTo>
                  <a:lnTo>
                    <a:pt x="5228" y="2117"/>
                  </a:lnTo>
                  <a:lnTo>
                    <a:pt x="5839" y="1829"/>
                  </a:lnTo>
                  <a:lnTo>
                    <a:pt x="7195" y="1190"/>
                  </a:lnTo>
                  <a:lnTo>
                    <a:pt x="7927" y="844"/>
                  </a:lnTo>
                  <a:lnTo>
                    <a:pt x="8576" y="537"/>
                  </a:lnTo>
                  <a:lnTo>
                    <a:pt x="9052" y="311"/>
                  </a:lnTo>
                  <a:lnTo>
                    <a:pt x="9197" y="241"/>
                  </a:lnTo>
                  <a:lnTo>
                    <a:pt x="9265" y="207"/>
                  </a:lnTo>
                  <a:lnTo>
                    <a:pt x="9265" y="207"/>
                  </a:lnTo>
                  <a:lnTo>
                    <a:pt x="9285" y="196"/>
                  </a:lnTo>
                  <a:lnTo>
                    <a:pt x="9302" y="182"/>
                  </a:lnTo>
                  <a:lnTo>
                    <a:pt x="9318" y="169"/>
                  </a:lnTo>
                  <a:lnTo>
                    <a:pt x="9332" y="155"/>
                  </a:lnTo>
                  <a:lnTo>
                    <a:pt x="9344" y="141"/>
                  </a:lnTo>
                  <a:lnTo>
                    <a:pt x="9354" y="125"/>
                  </a:lnTo>
                  <a:lnTo>
                    <a:pt x="9363" y="111"/>
                  </a:lnTo>
                  <a:lnTo>
                    <a:pt x="9371" y="96"/>
                  </a:lnTo>
                  <a:lnTo>
                    <a:pt x="9376" y="81"/>
                  </a:lnTo>
                  <a:lnTo>
                    <a:pt x="9381" y="67"/>
                  </a:lnTo>
                  <a:lnTo>
                    <a:pt x="9385" y="53"/>
                  </a:lnTo>
                  <a:lnTo>
                    <a:pt x="9389" y="40"/>
                  </a:lnTo>
                  <a:lnTo>
                    <a:pt x="9392" y="17"/>
                  </a:lnTo>
                  <a:lnTo>
                    <a:pt x="9393" y="0"/>
                  </a:lnTo>
                  <a:lnTo>
                    <a:pt x="9393" y="0"/>
                  </a:lnTo>
                  <a:lnTo>
                    <a:pt x="9393" y="57"/>
                  </a:lnTo>
                  <a:lnTo>
                    <a:pt x="9393" y="57"/>
                  </a:lnTo>
                  <a:lnTo>
                    <a:pt x="9393" y="64"/>
                  </a:lnTo>
                  <a:lnTo>
                    <a:pt x="9393" y="81"/>
                  </a:lnTo>
                  <a:lnTo>
                    <a:pt x="9391" y="94"/>
                  </a:lnTo>
                  <a:lnTo>
                    <a:pt x="9389" y="107"/>
                  </a:lnTo>
                  <a:lnTo>
                    <a:pt x="9385" y="123"/>
                  </a:lnTo>
                  <a:lnTo>
                    <a:pt x="9380" y="140"/>
                  </a:lnTo>
                  <a:lnTo>
                    <a:pt x="9374" y="158"/>
                  </a:lnTo>
                  <a:lnTo>
                    <a:pt x="9366" y="176"/>
                  </a:lnTo>
                  <a:lnTo>
                    <a:pt x="9355" y="195"/>
                  </a:lnTo>
                  <a:lnTo>
                    <a:pt x="9343" y="213"/>
                  </a:lnTo>
                  <a:lnTo>
                    <a:pt x="9328" y="231"/>
                  </a:lnTo>
                  <a:lnTo>
                    <a:pt x="9319" y="240"/>
                  </a:lnTo>
                  <a:lnTo>
                    <a:pt x="9309" y="248"/>
                  </a:lnTo>
                  <a:lnTo>
                    <a:pt x="9300" y="256"/>
                  </a:lnTo>
                  <a:lnTo>
                    <a:pt x="9289" y="265"/>
                  </a:lnTo>
                  <a:lnTo>
                    <a:pt x="9277" y="272"/>
                  </a:lnTo>
                  <a:lnTo>
                    <a:pt x="9265" y="279"/>
                  </a:lnTo>
                  <a:lnTo>
                    <a:pt x="9265" y="279"/>
                  </a:lnTo>
                  <a:lnTo>
                    <a:pt x="9197" y="313"/>
                  </a:lnTo>
                  <a:lnTo>
                    <a:pt x="9052" y="383"/>
                  </a:lnTo>
                  <a:lnTo>
                    <a:pt x="8576" y="609"/>
                  </a:lnTo>
                  <a:lnTo>
                    <a:pt x="7927" y="916"/>
                  </a:lnTo>
                  <a:lnTo>
                    <a:pt x="7195" y="1262"/>
                  </a:lnTo>
                  <a:lnTo>
                    <a:pt x="5839" y="1901"/>
                  </a:lnTo>
                  <a:lnTo>
                    <a:pt x="5228" y="2188"/>
                  </a:lnTo>
                  <a:lnTo>
                    <a:pt x="5228" y="2188"/>
                  </a:lnTo>
                  <a:lnTo>
                    <a:pt x="5217" y="2192"/>
                  </a:lnTo>
                  <a:lnTo>
                    <a:pt x="5186" y="2204"/>
                  </a:lnTo>
                  <a:lnTo>
                    <a:pt x="5137" y="2219"/>
                  </a:lnTo>
                  <a:lnTo>
                    <a:pt x="5107" y="2229"/>
                  </a:lnTo>
                  <a:lnTo>
                    <a:pt x="5073" y="2238"/>
                  </a:lnTo>
                  <a:lnTo>
                    <a:pt x="5036" y="2248"/>
                  </a:lnTo>
                  <a:lnTo>
                    <a:pt x="4994" y="2256"/>
                  </a:lnTo>
                  <a:lnTo>
                    <a:pt x="4950" y="2264"/>
                  </a:lnTo>
                  <a:lnTo>
                    <a:pt x="4904" y="2272"/>
                  </a:lnTo>
                  <a:lnTo>
                    <a:pt x="4855" y="2278"/>
                  </a:lnTo>
                  <a:lnTo>
                    <a:pt x="4804" y="2283"/>
                  </a:lnTo>
                  <a:lnTo>
                    <a:pt x="4751" y="2286"/>
                  </a:lnTo>
                  <a:lnTo>
                    <a:pt x="4697" y="2287"/>
                  </a:lnTo>
                  <a:lnTo>
                    <a:pt x="4697" y="2287"/>
                  </a:lnTo>
                  <a:lnTo>
                    <a:pt x="4642" y="2286"/>
                  </a:lnTo>
                  <a:lnTo>
                    <a:pt x="4588" y="2283"/>
                  </a:lnTo>
                  <a:lnTo>
                    <a:pt x="4538" y="2278"/>
                  </a:lnTo>
                  <a:lnTo>
                    <a:pt x="4489" y="2272"/>
                  </a:lnTo>
                  <a:lnTo>
                    <a:pt x="4442" y="2264"/>
                  </a:lnTo>
                  <a:lnTo>
                    <a:pt x="4398" y="2256"/>
                  </a:lnTo>
                  <a:lnTo>
                    <a:pt x="4358" y="2248"/>
                  </a:lnTo>
                  <a:lnTo>
                    <a:pt x="4319" y="2238"/>
                  </a:lnTo>
                  <a:lnTo>
                    <a:pt x="4285" y="2229"/>
                  </a:lnTo>
                  <a:lnTo>
                    <a:pt x="4255" y="2219"/>
                  </a:lnTo>
                  <a:lnTo>
                    <a:pt x="4206" y="2204"/>
                  </a:lnTo>
                  <a:lnTo>
                    <a:pt x="4176" y="2192"/>
                  </a:lnTo>
                  <a:lnTo>
                    <a:pt x="4164" y="2188"/>
                  </a:lnTo>
                  <a:lnTo>
                    <a:pt x="4164" y="2188"/>
                  </a:lnTo>
                  <a:lnTo>
                    <a:pt x="3553" y="1901"/>
                  </a:lnTo>
                  <a:lnTo>
                    <a:pt x="2197" y="1262"/>
                  </a:lnTo>
                  <a:lnTo>
                    <a:pt x="1465" y="916"/>
                  </a:lnTo>
                  <a:lnTo>
                    <a:pt x="817" y="609"/>
                  </a:lnTo>
                  <a:lnTo>
                    <a:pt x="341" y="383"/>
                  </a:lnTo>
                  <a:lnTo>
                    <a:pt x="196" y="313"/>
                  </a:lnTo>
                  <a:lnTo>
                    <a:pt x="127" y="279"/>
                  </a:lnTo>
                  <a:lnTo>
                    <a:pt x="127" y="279"/>
                  </a:lnTo>
                  <a:lnTo>
                    <a:pt x="115" y="272"/>
                  </a:lnTo>
                  <a:lnTo>
                    <a:pt x="104" y="265"/>
                  </a:lnTo>
                  <a:lnTo>
                    <a:pt x="92" y="256"/>
                  </a:lnTo>
                  <a:lnTo>
                    <a:pt x="83" y="248"/>
                  </a:lnTo>
                  <a:lnTo>
                    <a:pt x="73" y="240"/>
                  </a:lnTo>
                  <a:lnTo>
                    <a:pt x="65" y="231"/>
                  </a:lnTo>
                  <a:lnTo>
                    <a:pt x="49" y="213"/>
                  </a:lnTo>
                  <a:lnTo>
                    <a:pt x="37" y="195"/>
                  </a:lnTo>
                  <a:lnTo>
                    <a:pt x="27" y="176"/>
                  </a:lnTo>
                  <a:lnTo>
                    <a:pt x="18" y="158"/>
                  </a:lnTo>
                  <a:lnTo>
                    <a:pt x="12" y="140"/>
                  </a:lnTo>
                  <a:lnTo>
                    <a:pt x="7" y="123"/>
                  </a:lnTo>
                  <a:lnTo>
                    <a:pt x="4" y="107"/>
                  </a:lnTo>
                  <a:lnTo>
                    <a:pt x="2" y="94"/>
                  </a:lnTo>
                  <a:lnTo>
                    <a:pt x="1" y="81"/>
                  </a:lnTo>
                  <a:lnTo>
                    <a:pt x="0" y="64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312" name="Groupe 1322"/>
          <p:cNvGrpSpPr/>
          <p:nvPr/>
        </p:nvGrpSpPr>
        <p:grpSpPr>
          <a:xfrm>
            <a:off x="4756117" y="3551390"/>
            <a:ext cx="816037" cy="665754"/>
            <a:chOff x="4833737" y="2381052"/>
            <a:chExt cx="1731300" cy="1412460"/>
          </a:xfrm>
        </p:grpSpPr>
        <p:sp>
          <p:nvSpPr>
            <p:cNvPr id="313" name="Freeform 6"/>
            <p:cNvSpPr>
              <a:spLocks/>
            </p:cNvSpPr>
            <p:nvPr/>
          </p:nvSpPr>
          <p:spPr bwMode="auto">
            <a:xfrm flipH="1">
              <a:off x="4833737" y="3253036"/>
              <a:ext cx="1731300" cy="540476"/>
            </a:xfrm>
            <a:custGeom>
              <a:avLst/>
              <a:gdLst>
                <a:gd name="T0" fmla="*/ 0 w 9393"/>
                <a:gd name="T1" fmla="*/ 1536 h 3766"/>
                <a:gd name="T2" fmla="*/ 0 w 9393"/>
                <a:gd name="T3" fmla="*/ 1186 h 3766"/>
                <a:gd name="T4" fmla="*/ 1 w 9393"/>
                <a:gd name="T5" fmla="*/ 1157 h 3766"/>
                <a:gd name="T6" fmla="*/ 5 w 9393"/>
                <a:gd name="T7" fmla="*/ 1131 h 3766"/>
                <a:gd name="T8" fmla="*/ 18 w 9393"/>
                <a:gd name="T9" fmla="*/ 1083 h 3766"/>
                <a:gd name="T10" fmla="*/ 37 w 9393"/>
                <a:gd name="T11" fmla="*/ 1043 h 3766"/>
                <a:gd name="T12" fmla="*/ 59 w 9393"/>
                <a:gd name="T13" fmla="*/ 1010 h 3766"/>
                <a:gd name="T14" fmla="*/ 81 w 9393"/>
                <a:gd name="T15" fmla="*/ 985 h 3766"/>
                <a:gd name="T16" fmla="*/ 99 w 9393"/>
                <a:gd name="T17" fmla="*/ 967 h 3766"/>
                <a:gd name="T18" fmla="*/ 118 w 9393"/>
                <a:gd name="T19" fmla="*/ 954 h 3766"/>
                <a:gd name="T20" fmla="*/ 4697 w 9393"/>
                <a:gd name="T21" fmla="*/ 1605 h 3766"/>
                <a:gd name="T22" fmla="*/ 9275 w 9393"/>
                <a:gd name="T23" fmla="*/ 954 h 3766"/>
                <a:gd name="T24" fmla="*/ 9279 w 9393"/>
                <a:gd name="T25" fmla="*/ 957 h 3766"/>
                <a:gd name="T26" fmla="*/ 9302 w 9393"/>
                <a:gd name="T27" fmla="*/ 975 h 3766"/>
                <a:gd name="T28" fmla="*/ 9323 w 9393"/>
                <a:gd name="T29" fmla="*/ 997 h 3766"/>
                <a:gd name="T30" fmla="*/ 9345 w 9393"/>
                <a:gd name="T31" fmla="*/ 1025 h 3766"/>
                <a:gd name="T32" fmla="*/ 9366 w 9393"/>
                <a:gd name="T33" fmla="*/ 1062 h 3766"/>
                <a:gd name="T34" fmla="*/ 9382 w 9393"/>
                <a:gd name="T35" fmla="*/ 1106 h 3766"/>
                <a:gd name="T36" fmla="*/ 9390 w 9393"/>
                <a:gd name="T37" fmla="*/ 1143 h 3766"/>
                <a:gd name="T38" fmla="*/ 9393 w 9393"/>
                <a:gd name="T39" fmla="*/ 1171 h 3766"/>
                <a:gd name="T40" fmla="*/ 9393 w 9393"/>
                <a:gd name="T41" fmla="*/ 1186 h 3766"/>
                <a:gd name="T42" fmla="*/ 9393 w 9393"/>
                <a:gd name="T43" fmla="*/ 1536 h 3766"/>
                <a:gd name="T44" fmla="*/ 9393 w 9393"/>
                <a:gd name="T45" fmla="*/ 1560 h 3766"/>
                <a:gd name="T46" fmla="*/ 9389 w 9393"/>
                <a:gd name="T47" fmla="*/ 1587 h 3766"/>
                <a:gd name="T48" fmla="*/ 9380 w 9393"/>
                <a:gd name="T49" fmla="*/ 1619 h 3766"/>
                <a:gd name="T50" fmla="*/ 9366 w 9393"/>
                <a:gd name="T51" fmla="*/ 1655 h 3766"/>
                <a:gd name="T52" fmla="*/ 9343 w 9393"/>
                <a:gd name="T53" fmla="*/ 1692 h 3766"/>
                <a:gd name="T54" fmla="*/ 9319 w 9393"/>
                <a:gd name="T55" fmla="*/ 1718 h 3766"/>
                <a:gd name="T56" fmla="*/ 9300 w 9393"/>
                <a:gd name="T57" fmla="*/ 1735 h 3766"/>
                <a:gd name="T58" fmla="*/ 9277 w 9393"/>
                <a:gd name="T59" fmla="*/ 1751 h 3766"/>
                <a:gd name="T60" fmla="*/ 9265 w 9393"/>
                <a:gd name="T61" fmla="*/ 1758 h 3766"/>
                <a:gd name="T62" fmla="*/ 9052 w 9393"/>
                <a:gd name="T63" fmla="*/ 1861 h 3766"/>
                <a:gd name="T64" fmla="*/ 7927 w 9393"/>
                <a:gd name="T65" fmla="*/ 2395 h 3766"/>
                <a:gd name="T66" fmla="*/ 5839 w 9393"/>
                <a:gd name="T67" fmla="*/ 3379 h 3766"/>
                <a:gd name="T68" fmla="*/ 5228 w 9393"/>
                <a:gd name="T69" fmla="*/ 3668 h 3766"/>
                <a:gd name="T70" fmla="*/ 5186 w 9393"/>
                <a:gd name="T71" fmla="*/ 3682 h 3766"/>
                <a:gd name="T72" fmla="*/ 5107 w 9393"/>
                <a:gd name="T73" fmla="*/ 3707 h 3766"/>
                <a:gd name="T74" fmla="*/ 5036 w 9393"/>
                <a:gd name="T75" fmla="*/ 3726 h 3766"/>
                <a:gd name="T76" fmla="*/ 4950 w 9393"/>
                <a:gd name="T77" fmla="*/ 3743 h 3766"/>
                <a:gd name="T78" fmla="*/ 4855 w 9393"/>
                <a:gd name="T79" fmla="*/ 3756 h 3766"/>
                <a:gd name="T80" fmla="*/ 4751 w 9393"/>
                <a:gd name="T81" fmla="*/ 3765 h 3766"/>
                <a:gd name="T82" fmla="*/ 4697 w 9393"/>
                <a:gd name="T83" fmla="*/ 3766 h 3766"/>
                <a:gd name="T84" fmla="*/ 4588 w 9393"/>
                <a:gd name="T85" fmla="*/ 3762 h 3766"/>
                <a:gd name="T86" fmla="*/ 4489 w 9393"/>
                <a:gd name="T87" fmla="*/ 3750 h 3766"/>
                <a:gd name="T88" fmla="*/ 4398 w 9393"/>
                <a:gd name="T89" fmla="*/ 3735 h 3766"/>
                <a:gd name="T90" fmla="*/ 4319 w 9393"/>
                <a:gd name="T91" fmla="*/ 3717 h 3766"/>
                <a:gd name="T92" fmla="*/ 4255 w 9393"/>
                <a:gd name="T93" fmla="*/ 3698 h 3766"/>
                <a:gd name="T94" fmla="*/ 4176 w 9393"/>
                <a:gd name="T95" fmla="*/ 3672 h 3766"/>
                <a:gd name="T96" fmla="*/ 4164 w 9393"/>
                <a:gd name="T97" fmla="*/ 3668 h 3766"/>
                <a:gd name="T98" fmla="*/ 2197 w 9393"/>
                <a:gd name="T99" fmla="*/ 2740 h 3766"/>
                <a:gd name="T100" fmla="*/ 817 w 9393"/>
                <a:gd name="T101" fmla="*/ 2087 h 3766"/>
                <a:gd name="T102" fmla="*/ 196 w 9393"/>
                <a:gd name="T103" fmla="*/ 1791 h 3766"/>
                <a:gd name="T104" fmla="*/ 127 w 9393"/>
                <a:gd name="T105" fmla="*/ 1758 h 3766"/>
                <a:gd name="T106" fmla="*/ 104 w 9393"/>
                <a:gd name="T107" fmla="*/ 1743 h 3766"/>
                <a:gd name="T108" fmla="*/ 83 w 9393"/>
                <a:gd name="T109" fmla="*/ 1727 h 3766"/>
                <a:gd name="T110" fmla="*/ 65 w 9393"/>
                <a:gd name="T111" fmla="*/ 1710 h 3766"/>
                <a:gd name="T112" fmla="*/ 37 w 9393"/>
                <a:gd name="T113" fmla="*/ 1674 h 3766"/>
                <a:gd name="T114" fmla="*/ 18 w 9393"/>
                <a:gd name="T115" fmla="*/ 1637 h 3766"/>
                <a:gd name="T116" fmla="*/ 7 w 9393"/>
                <a:gd name="T117" fmla="*/ 1603 h 3766"/>
                <a:gd name="T118" fmla="*/ 2 w 9393"/>
                <a:gd name="T119" fmla="*/ 1572 h 3766"/>
                <a:gd name="T120" fmla="*/ 0 w 9393"/>
                <a:gd name="T121" fmla="*/ 1542 h 3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393" h="3766">
                  <a:moveTo>
                    <a:pt x="0" y="1536"/>
                  </a:moveTo>
                  <a:lnTo>
                    <a:pt x="0" y="1536"/>
                  </a:lnTo>
                  <a:lnTo>
                    <a:pt x="0" y="1186"/>
                  </a:lnTo>
                  <a:lnTo>
                    <a:pt x="0" y="1186"/>
                  </a:lnTo>
                  <a:lnTo>
                    <a:pt x="0" y="1171"/>
                  </a:lnTo>
                  <a:lnTo>
                    <a:pt x="1" y="1157"/>
                  </a:lnTo>
                  <a:lnTo>
                    <a:pt x="3" y="1143"/>
                  </a:lnTo>
                  <a:lnTo>
                    <a:pt x="5" y="1131"/>
                  </a:lnTo>
                  <a:lnTo>
                    <a:pt x="11" y="1106"/>
                  </a:lnTo>
                  <a:lnTo>
                    <a:pt x="18" y="1083"/>
                  </a:lnTo>
                  <a:lnTo>
                    <a:pt x="27" y="1062"/>
                  </a:lnTo>
                  <a:lnTo>
                    <a:pt x="37" y="1043"/>
                  </a:lnTo>
                  <a:lnTo>
                    <a:pt x="47" y="1025"/>
                  </a:lnTo>
                  <a:lnTo>
                    <a:pt x="59" y="1010"/>
                  </a:lnTo>
                  <a:lnTo>
                    <a:pt x="69" y="997"/>
                  </a:lnTo>
                  <a:lnTo>
                    <a:pt x="81" y="985"/>
                  </a:lnTo>
                  <a:lnTo>
                    <a:pt x="90" y="975"/>
                  </a:lnTo>
                  <a:lnTo>
                    <a:pt x="99" y="967"/>
                  </a:lnTo>
                  <a:lnTo>
                    <a:pt x="113" y="957"/>
                  </a:lnTo>
                  <a:lnTo>
                    <a:pt x="118" y="954"/>
                  </a:lnTo>
                  <a:lnTo>
                    <a:pt x="2090" y="0"/>
                  </a:lnTo>
                  <a:lnTo>
                    <a:pt x="4697" y="1605"/>
                  </a:lnTo>
                  <a:lnTo>
                    <a:pt x="7302" y="0"/>
                  </a:lnTo>
                  <a:lnTo>
                    <a:pt x="9275" y="954"/>
                  </a:lnTo>
                  <a:lnTo>
                    <a:pt x="9275" y="954"/>
                  </a:lnTo>
                  <a:lnTo>
                    <a:pt x="9279" y="957"/>
                  </a:lnTo>
                  <a:lnTo>
                    <a:pt x="9293" y="967"/>
                  </a:lnTo>
                  <a:lnTo>
                    <a:pt x="9302" y="975"/>
                  </a:lnTo>
                  <a:lnTo>
                    <a:pt x="9313" y="985"/>
                  </a:lnTo>
                  <a:lnTo>
                    <a:pt x="9323" y="997"/>
                  </a:lnTo>
                  <a:lnTo>
                    <a:pt x="9333" y="1010"/>
                  </a:lnTo>
                  <a:lnTo>
                    <a:pt x="9345" y="1025"/>
                  </a:lnTo>
                  <a:lnTo>
                    <a:pt x="9355" y="1043"/>
                  </a:lnTo>
                  <a:lnTo>
                    <a:pt x="9366" y="1062"/>
                  </a:lnTo>
                  <a:lnTo>
                    <a:pt x="9374" y="1083"/>
                  </a:lnTo>
                  <a:lnTo>
                    <a:pt x="9382" y="1106"/>
                  </a:lnTo>
                  <a:lnTo>
                    <a:pt x="9387" y="1131"/>
                  </a:lnTo>
                  <a:lnTo>
                    <a:pt x="9390" y="1143"/>
                  </a:lnTo>
                  <a:lnTo>
                    <a:pt x="9392" y="1157"/>
                  </a:lnTo>
                  <a:lnTo>
                    <a:pt x="9393" y="1171"/>
                  </a:lnTo>
                  <a:lnTo>
                    <a:pt x="9393" y="1186"/>
                  </a:lnTo>
                  <a:lnTo>
                    <a:pt x="9393" y="1186"/>
                  </a:lnTo>
                  <a:lnTo>
                    <a:pt x="9393" y="1536"/>
                  </a:lnTo>
                  <a:lnTo>
                    <a:pt x="9393" y="1536"/>
                  </a:lnTo>
                  <a:lnTo>
                    <a:pt x="9393" y="1542"/>
                  </a:lnTo>
                  <a:lnTo>
                    <a:pt x="9393" y="1560"/>
                  </a:lnTo>
                  <a:lnTo>
                    <a:pt x="9391" y="1572"/>
                  </a:lnTo>
                  <a:lnTo>
                    <a:pt x="9389" y="1587"/>
                  </a:lnTo>
                  <a:lnTo>
                    <a:pt x="9385" y="1603"/>
                  </a:lnTo>
                  <a:lnTo>
                    <a:pt x="9380" y="1619"/>
                  </a:lnTo>
                  <a:lnTo>
                    <a:pt x="9374" y="1637"/>
                  </a:lnTo>
                  <a:lnTo>
                    <a:pt x="9366" y="1655"/>
                  </a:lnTo>
                  <a:lnTo>
                    <a:pt x="9355" y="1674"/>
                  </a:lnTo>
                  <a:lnTo>
                    <a:pt x="9343" y="1692"/>
                  </a:lnTo>
                  <a:lnTo>
                    <a:pt x="9328" y="1710"/>
                  </a:lnTo>
                  <a:lnTo>
                    <a:pt x="9319" y="1718"/>
                  </a:lnTo>
                  <a:lnTo>
                    <a:pt x="9309" y="1727"/>
                  </a:lnTo>
                  <a:lnTo>
                    <a:pt x="9300" y="1735"/>
                  </a:lnTo>
                  <a:lnTo>
                    <a:pt x="9289" y="1743"/>
                  </a:lnTo>
                  <a:lnTo>
                    <a:pt x="9277" y="1751"/>
                  </a:lnTo>
                  <a:lnTo>
                    <a:pt x="9265" y="1758"/>
                  </a:lnTo>
                  <a:lnTo>
                    <a:pt x="9265" y="1758"/>
                  </a:lnTo>
                  <a:lnTo>
                    <a:pt x="9197" y="1791"/>
                  </a:lnTo>
                  <a:lnTo>
                    <a:pt x="9052" y="1861"/>
                  </a:lnTo>
                  <a:lnTo>
                    <a:pt x="8576" y="2087"/>
                  </a:lnTo>
                  <a:lnTo>
                    <a:pt x="7927" y="2395"/>
                  </a:lnTo>
                  <a:lnTo>
                    <a:pt x="7195" y="2740"/>
                  </a:lnTo>
                  <a:lnTo>
                    <a:pt x="5839" y="3379"/>
                  </a:lnTo>
                  <a:lnTo>
                    <a:pt x="5228" y="3668"/>
                  </a:lnTo>
                  <a:lnTo>
                    <a:pt x="5228" y="3668"/>
                  </a:lnTo>
                  <a:lnTo>
                    <a:pt x="5217" y="3672"/>
                  </a:lnTo>
                  <a:lnTo>
                    <a:pt x="5186" y="3682"/>
                  </a:lnTo>
                  <a:lnTo>
                    <a:pt x="5137" y="3698"/>
                  </a:lnTo>
                  <a:lnTo>
                    <a:pt x="5107" y="3707"/>
                  </a:lnTo>
                  <a:lnTo>
                    <a:pt x="5073" y="3717"/>
                  </a:lnTo>
                  <a:lnTo>
                    <a:pt x="5036" y="3726"/>
                  </a:lnTo>
                  <a:lnTo>
                    <a:pt x="4994" y="3735"/>
                  </a:lnTo>
                  <a:lnTo>
                    <a:pt x="4950" y="3743"/>
                  </a:lnTo>
                  <a:lnTo>
                    <a:pt x="4904" y="3750"/>
                  </a:lnTo>
                  <a:lnTo>
                    <a:pt x="4855" y="3756"/>
                  </a:lnTo>
                  <a:lnTo>
                    <a:pt x="4804" y="3762"/>
                  </a:lnTo>
                  <a:lnTo>
                    <a:pt x="4751" y="3765"/>
                  </a:lnTo>
                  <a:lnTo>
                    <a:pt x="4697" y="3766"/>
                  </a:lnTo>
                  <a:lnTo>
                    <a:pt x="4697" y="3766"/>
                  </a:lnTo>
                  <a:lnTo>
                    <a:pt x="4642" y="3765"/>
                  </a:lnTo>
                  <a:lnTo>
                    <a:pt x="4588" y="3762"/>
                  </a:lnTo>
                  <a:lnTo>
                    <a:pt x="4538" y="3756"/>
                  </a:lnTo>
                  <a:lnTo>
                    <a:pt x="4489" y="3750"/>
                  </a:lnTo>
                  <a:lnTo>
                    <a:pt x="4442" y="3743"/>
                  </a:lnTo>
                  <a:lnTo>
                    <a:pt x="4398" y="3735"/>
                  </a:lnTo>
                  <a:lnTo>
                    <a:pt x="4358" y="3726"/>
                  </a:lnTo>
                  <a:lnTo>
                    <a:pt x="4319" y="3717"/>
                  </a:lnTo>
                  <a:lnTo>
                    <a:pt x="4285" y="3707"/>
                  </a:lnTo>
                  <a:lnTo>
                    <a:pt x="4255" y="3698"/>
                  </a:lnTo>
                  <a:lnTo>
                    <a:pt x="4206" y="3682"/>
                  </a:lnTo>
                  <a:lnTo>
                    <a:pt x="4176" y="3672"/>
                  </a:lnTo>
                  <a:lnTo>
                    <a:pt x="4164" y="3668"/>
                  </a:lnTo>
                  <a:lnTo>
                    <a:pt x="4164" y="3668"/>
                  </a:lnTo>
                  <a:lnTo>
                    <a:pt x="3553" y="3379"/>
                  </a:lnTo>
                  <a:lnTo>
                    <a:pt x="2197" y="2740"/>
                  </a:lnTo>
                  <a:lnTo>
                    <a:pt x="1465" y="2395"/>
                  </a:lnTo>
                  <a:lnTo>
                    <a:pt x="817" y="2087"/>
                  </a:lnTo>
                  <a:lnTo>
                    <a:pt x="341" y="1861"/>
                  </a:lnTo>
                  <a:lnTo>
                    <a:pt x="196" y="1791"/>
                  </a:lnTo>
                  <a:lnTo>
                    <a:pt x="127" y="1758"/>
                  </a:lnTo>
                  <a:lnTo>
                    <a:pt x="127" y="1758"/>
                  </a:lnTo>
                  <a:lnTo>
                    <a:pt x="115" y="1751"/>
                  </a:lnTo>
                  <a:lnTo>
                    <a:pt x="104" y="1743"/>
                  </a:lnTo>
                  <a:lnTo>
                    <a:pt x="92" y="1735"/>
                  </a:lnTo>
                  <a:lnTo>
                    <a:pt x="83" y="1727"/>
                  </a:lnTo>
                  <a:lnTo>
                    <a:pt x="73" y="1718"/>
                  </a:lnTo>
                  <a:lnTo>
                    <a:pt x="65" y="1710"/>
                  </a:lnTo>
                  <a:lnTo>
                    <a:pt x="49" y="1692"/>
                  </a:lnTo>
                  <a:lnTo>
                    <a:pt x="37" y="1674"/>
                  </a:lnTo>
                  <a:lnTo>
                    <a:pt x="27" y="1655"/>
                  </a:lnTo>
                  <a:lnTo>
                    <a:pt x="18" y="1637"/>
                  </a:lnTo>
                  <a:lnTo>
                    <a:pt x="12" y="1619"/>
                  </a:lnTo>
                  <a:lnTo>
                    <a:pt x="7" y="1603"/>
                  </a:lnTo>
                  <a:lnTo>
                    <a:pt x="4" y="1587"/>
                  </a:lnTo>
                  <a:lnTo>
                    <a:pt x="2" y="1572"/>
                  </a:lnTo>
                  <a:lnTo>
                    <a:pt x="1" y="1560"/>
                  </a:lnTo>
                  <a:lnTo>
                    <a:pt x="0" y="1542"/>
                  </a:lnTo>
                  <a:lnTo>
                    <a:pt x="0" y="1536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4" name="Freeform 7"/>
            <p:cNvSpPr>
              <a:spLocks/>
            </p:cNvSpPr>
            <p:nvPr/>
          </p:nvSpPr>
          <p:spPr bwMode="auto">
            <a:xfrm flipH="1">
              <a:off x="4833737" y="3253036"/>
              <a:ext cx="1731300" cy="540476"/>
            </a:xfrm>
            <a:custGeom>
              <a:avLst/>
              <a:gdLst>
                <a:gd name="T0" fmla="*/ 0 w 9393"/>
                <a:gd name="T1" fmla="*/ 1536 h 3766"/>
                <a:gd name="T2" fmla="*/ 0 w 9393"/>
                <a:gd name="T3" fmla="*/ 1186 h 3766"/>
                <a:gd name="T4" fmla="*/ 1 w 9393"/>
                <a:gd name="T5" fmla="*/ 1157 h 3766"/>
                <a:gd name="T6" fmla="*/ 5 w 9393"/>
                <a:gd name="T7" fmla="*/ 1131 h 3766"/>
                <a:gd name="T8" fmla="*/ 18 w 9393"/>
                <a:gd name="T9" fmla="*/ 1083 h 3766"/>
                <a:gd name="T10" fmla="*/ 37 w 9393"/>
                <a:gd name="T11" fmla="*/ 1043 h 3766"/>
                <a:gd name="T12" fmla="*/ 59 w 9393"/>
                <a:gd name="T13" fmla="*/ 1010 h 3766"/>
                <a:gd name="T14" fmla="*/ 81 w 9393"/>
                <a:gd name="T15" fmla="*/ 985 h 3766"/>
                <a:gd name="T16" fmla="*/ 99 w 9393"/>
                <a:gd name="T17" fmla="*/ 967 h 3766"/>
                <a:gd name="T18" fmla="*/ 118 w 9393"/>
                <a:gd name="T19" fmla="*/ 954 h 3766"/>
                <a:gd name="T20" fmla="*/ 4697 w 9393"/>
                <a:gd name="T21" fmla="*/ 1605 h 3766"/>
                <a:gd name="T22" fmla="*/ 9275 w 9393"/>
                <a:gd name="T23" fmla="*/ 954 h 3766"/>
                <a:gd name="T24" fmla="*/ 9279 w 9393"/>
                <a:gd name="T25" fmla="*/ 957 h 3766"/>
                <a:gd name="T26" fmla="*/ 9302 w 9393"/>
                <a:gd name="T27" fmla="*/ 975 h 3766"/>
                <a:gd name="T28" fmla="*/ 9323 w 9393"/>
                <a:gd name="T29" fmla="*/ 997 h 3766"/>
                <a:gd name="T30" fmla="*/ 9345 w 9393"/>
                <a:gd name="T31" fmla="*/ 1025 h 3766"/>
                <a:gd name="T32" fmla="*/ 9366 w 9393"/>
                <a:gd name="T33" fmla="*/ 1062 h 3766"/>
                <a:gd name="T34" fmla="*/ 9382 w 9393"/>
                <a:gd name="T35" fmla="*/ 1106 h 3766"/>
                <a:gd name="T36" fmla="*/ 9390 w 9393"/>
                <a:gd name="T37" fmla="*/ 1143 h 3766"/>
                <a:gd name="T38" fmla="*/ 9393 w 9393"/>
                <a:gd name="T39" fmla="*/ 1171 h 3766"/>
                <a:gd name="T40" fmla="*/ 9393 w 9393"/>
                <a:gd name="T41" fmla="*/ 1186 h 3766"/>
                <a:gd name="T42" fmla="*/ 9393 w 9393"/>
                <a:gd name="T43" fmla="*/ 1536 h 3766"/>
                <a:gd name="T44" fmla="*/ 9393 w 9393"/>
                <a:gd name="T45" fmla="*/ 1560 h 3766"/>
                <a:gd name="T46" fmla="*/ 9389 w 9393"/>
                <a:gd name="T47" fmla="*/ 1587 h 3766"/>
                <a:gd name="T48" fmla="*/ 9380 w 9393"/>
                <a:gd name="T49" fmla="*/ 1619 h 3766"/>
                <a:gd name="T50" fmla="*/ 9366 w 9393"/>
                <a:gd name="T51" fmla="*/ 1655 h 3766"/>
                <a:gd name="T52" fmla="*/ 9343 w 9393"/>
                <a:gd name="T53" fmla="*/ 1692 h 3766"/>
                <a:gd name="T54" fmla="*/ 9319 w 9393"/>
                <a:gd name="T55" fmla="*/ 1718 h 3766"/>
                <a:gd name="T56" fmla="*/ 9300 w 9393"/>
                <a:gd name="T57" fmla="*/ 1735 h 3766"/>
                <a:gd name="T58" fmla="*/ 9277 w 9393"/>
                <a:gd name="T59" fmla="*/ 1751 h 3766"/>
                <a:gd name="T60" fmla="*/ 9265 w 9393"/>
                <a:gd name="T61" fmla="*/ 1758 h 3766"/>
                <a:gd name="T62" fmla="*/ 9052 w 9393"/>
                <a:gd name="T63" fmla="*/ 1861 h 3766"/>
                <a:gd name="T64" fmla="*/ 7927 w 9393"/>
                <a:gd name="T65" fmla="*/ 2395 h 3766"/>
                <a:gd name="T66" fmla="*/ 5839 w 9393"/>
                <a:gd name="T67" fmla="*/ 3379 h 3766"/>
                <a:gd name="T68" fmla="*/ 5228 w 9393"/>
                <a:gd name="T69" fmla="*/ 3668 h 3766"/>
                <a:gd name="T70" fmla="*/ 5186 w 9393"/>
                <a:gd name="T71" fmla="*/ 3682 h 3766"/>
                <a:gd name="T72" fmla="*/ 5107 w 9393"/>
                <a:gd name="T73" fmla="*/ 3707 h 3766"/>
                <a:gd name="T74" fmla="*/ 5036 w 9393"/>
                <a:gd name="T75" fmla="*/ 3726 h 3766"/>
                <a:gd name="T76" fmla="*/ 4950 w 9393"/>
                <a:gd name="T77" fmla="*/ 3743 h 3766"/>
                <a:gd name="T78" fmla="*/ 4855 w 9393"/>
                <a:gd name="T79" fmla="*/ 3756 h 3766"/>
                <a:gd name="T80" fmla="*/ 4751 w 9393"/>
                <a:gd name="T81" fmla="*/ 3765 h 3766"/>
                <a:gd name="T82" fmla="*/ 4697 w 9393"/>
                <a:gd name="T83" fmla="*/ 3766 h 3766"/>
                <a:gd name="T84" fmla="*/ 4588 w 9393"/>
                <a:gd name="T85" fmla="*/ 3762 h 3766"/>
                <a:gd name="T86" fmla="*/ 4489 w 9393"/>
                <a:gd name="T87" fmla="*/ 3750 h 3766"/>
                <a:gd name="T88" fmla="*/ 4398 w 9393"/>
                <a:gd name="T89" fmla="*/ 3735 h 3766"/>
                <a:gd name="T90" fmla="*/ 4319 w 9393"/>
                <a:gd name="T91" fmla="*/ 3717 h 3766"/>
                <a:gd name="T92" fmla="*/ 4255 w 9393"/>
                <a:gd name="T93" fmla="*/ 3698 h 3766"/>
                <a:gd name="T94" fmla="*/ 4176 w 9393"/>
                <a:gd name="T95" fmla="*/ 3672 h 3766"/>
                <a:gd name="T96" fmla="*/ 4164 w 9393"/>
                <a:gd name="T97" fmla="*/ 3668 h 3766"/>
                <a:gd name="T98" fmla="*/ 2197 w 9393"/>
                <a:gd name="T99" fmla="*/ 2740 h 3766"/>
                <a:gd name="T100" fmla="*/ 817 w 9393"/>
                <a:gd name="T101" fmla="*/ 2087 h 3766"/>
                <a:gd name="T102" fmla="*/ 196 w 9393"/>
                <a:gd name="T103" fmla="*/ 1791 h 3766"/>
                <a:gd name="T104" fmla="*/ 127 w 9393"/>
                <a:gd name="T105" fmla="*/ 1758 h 3766"/>
                <a:gd name="T106" fmla="*/ 104 w 9393"/>
                <a:gd name="T107" fmla="*/ 1743 h 3766"/>
                <a:gd name="T108" fmla="*/ 83 w 9393"/>
                <a:gd name="T109" fmla="*/ 1727 h 3766"/>
                <a:gd name="T110" fmla="*/ 65 w 9393"/>
                <a:gd name="T111" fmla="*/ 1710 h 3766"/>
                <a:gd name="T112" fmla="*/ 37 w 9393"/>
                <a:gd name="T113" fmla="*/ 1674 h 3766"/>
                <a:gd name="T114" fmla="*/ 18 w 9393"/>
                <a:gd name="T115" fmla="*/ 1637 h 3766"/>
                <a:gd name="T116" fmla="*/ 7 w 9393"/>
                <a:gd name="T117" fmla="*/ 1603 h 3766"/>
                <a:gd name="T118" fmla="*/ 2 w 9393"/>
                <a:gd name="T119" fmla="*/ 1572 h 3766"/>
                <a:gd name="T120" fmla="*/ 0 w 9393"/>
                <a:gd name="T121" fmla="*/ 1542 h 3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393" h="3766">
                  <a:moveTo>
                    <a:pt x="0" y="1536"/>
                  </a:moveTo>
                  <a:lnTo>
                    <a:pt x="0" y="1536"/>
                  </a:lnTo>
                  <a:lnTo>
                    <a:pt x="0" y="1186"/>
                  </a:lnTo>
                  <a:lnTo>
                    <a:pt x="0" y="1186"/>
                  </a:lnTo>
                  <a:lnTo>
                    <a:pt x="0" y="1171"/>
                  </a:lnTo>
                  <a:lnTo>
                    <a:pt x="1" y="1157"/>
                  </a:lnTo>
                  <a:lnTo>
                    <a:pt x="3" y="1143"/>
                  </a:lnTo>
                  <a:lnTo>
                    <a:pt x="5" y="1131"/>
                  </a:lnTo>
                  <a:lnTo>
                    <a:pt x="11" y="1106"/>
                  </a:lnTo>
                  <a:lnTo>
                    <a:pt x="18" y="1083"/>
                  </a:lnTo>
                  <a:lnTo>
                    <a:pt x="27" y="1062"/>
                  </a:lnTo>
                  <a:lnTo>
                    <a:pt x="37" y="1043"/>
                  </a:lnTo>
                  <a:lnTo>
                    <a:pt x="47" y="1025"/>
                  </a:lnTo>
                  <a:lnTo>
                    <a:pt x="59" y="1010"/>
                  </a:lnTo>
                  <a:lnTo>
                    <a:pt x="69" y="997"/>
                  </a:lnTo>
                  <a:lnTo>
                    <a:pt x="81" y="985"/>
                  </a:lnTo>
                  <a:lnTo>
                    <a:pt x="90" y="975"/>
                  </a:lnTo>
                  <a:lnTo>
                    <a:pt x="99" y="967"/>
                  </a:lnTo>
                  <a:lnTo>
                    <a:pt x="113" y="957"/>
                  </a:lnTo>
                  <a:lnTo>
                    <a:pt x="118" y="954"/>
                  </a:lnTo>
                  <a:lnTo>
                    <a:pt x="2090" y="0"/>
                  </a:lnTo>
                  <a:lnTo>
                    <a:pt x="4697" y="1605"/>
                  </a:lnTo>
                  <a:lnTo>
                    <a:pt x="7302" y="0"/>
                  </a:lnTo>
                  <a:lnTo>
                    <a:pt x="9275" y="954"/>
                  </a:lnTo>
                  <a:lnTo>
                    <a:pt x="9275" y="954"/>
                  </a:lnTo>
                  <a:lnTo>
                    <a:pt x="9279" y="957"/>
                  </a:lnTo>
                  <a:lnTo>
                    <a:pt x="9293" y="967"/>
                  </a:lnTo>
                  <a:lnTo>
                    <a:pt x="9302" y="975"/>
                  </a:lnTo>
                  <a:lnTo>
                    <a:pt x="9313" y="985"/>
                  </a:lnTo>
                  <a:lnTo>
                    <a:pt x="9323" y="997"/>
                  </a:lnTo>
                  <a:lnTo>
                    <a:pt x="9333" y="1010"/>
                  </a:lnTo>
                  <a:lnTo>
                    <a:pt x="9345" y="1025"/>
                  </a:lnTo>
                  <a:lnTo>
                    <a:pt x="9355" y="1043"/>
                  </a:lnTo>
                  <a:lnTo>
                    <a:pt x="9366" y="1062"/>
                  </a:lnTo>
                  <a:lnTo>
                    <a:pt x="9374" y="1083"/>
                  </a:lnTo>
                  <a:lnTo>
                    <a:pt x="9382" y="1106"/>
                  </a:lnTo>
                  <a:lnTo>
                    <a:pt x="9387" y="1131"/>
                  </a:lnTo>
                  <a:lnTo>
                    <a:pt x="9390" y="1143"/>
                  </a:lnTo>
                  <a:lnTo>
                    <a:pt x="9392" y="1157"/>
                  </a:lnTo>
                  <a:lnTo>
                    <a:pt x="9393" y="1171"/>
                  </a:lnTo>
                  <a:lnTo>
                    <a:pt x="9393" y="1186"/>
                  </a:lnTo>
                  <a:lnTo>
                    <a:pt x="9393" y="1186"/>
                  </a:lnTo>
                  <a:lnTo>
                    <a:pt x="9393" y="1536"/>
                  </a:lnTo>
                  <a:lnTo>
                    <a:pt x="9393" y="1536"/>
                  </a:lnTo>
                  <a:lnTo>
                    <a:pt x="9393" y="1542"/>
                  </a:lnTo>
                  <a:lnTo>
                    <a:pt x="9393" y="1560"/>
                  </a:lnTo>
                  <a:lnTo>
                    <a:pt x="9391" y="1572"/>
                  </a:lnTo>
                  <a:lnTo>
                    <a:pt x="9389" y="1587"/>
                  </a:lnTo>
                  <a:lnTo>
                    <a:pt x="9385" y="1603"/>
                  </a:lnTo>
                  <a:lnTo>
                    <a:pt x="9380" y="1619"/>
                  </a:lnTo>
                  <a:lnTo>
                    <a:pt x="9374" y="1637"/>
                  </a:lnTo>
                  <a:lnTo>
                    <a:pt x="9366" y="1655"/>
                  </a:lnTo>
                  <a:lnTo>
                    <a:pt x="9355" y="1674"/>
                  </a:lnTo>
                  <a:lnTo>
                    <a:pt x="9343" y="1692"/>
                  </a:lnTo>
                  <a:lnTo>
                    <a:pt x="9328" y="1710"/>
                  </a:lnTo>
                  <a:lnTo>
                    <a:pt x="9319" y="1718"/>
                  </a:lnTo>
                  <a:lnTo>
                    <a:pt x="9309" y="1727"/>
                  </a:lnTo>
                  <a:lnTo>
                    <a:pt x="9300" y="1735"/>
                  </a:lnTo>
                  <a:lnTo>
                    <a:pt x="9289" y="1743"/>
                  </a:lnTo>
                  <a:lnTo>
                    <a:pt x="9277" y="1751"/>
                  </a:lnTo>
                  <a:lnTo>
                    <a:pt x="9265" y="1758"/>
                  </a:lnTo>
                  <a:lnTo>
                    <a:pt x="9265" y="1758"/>
                  </a:lnTo>
                  <a:lnTo>
                    <a:pt x="9197" y="1791"/>
                  </a:lnTo>
                  <a:lnTo>
                    <a:pt x="9052" y="1861"/>
                  </a:lnTo>
                  <a:lnTo>
                    <a:pt x="8576" y="2087"/>
                  </a:lnTo>
                  <a:lnTo>
                    <a:pt x="7927" y="2395"/>
                  </a:lnTo>
                  <a:lnTo>
                    <a:pt x="7195" y="2740"/>
                  </a:lnTo>
                  <a:lnTo>
                    <a:pt x="5839" y="3379"/>
                  </a:lnTo>
                  <a:lnTo>
                    <a:pt x="5228" y="3668"/>
                  </a:lnTo>
                  <a:lnTo>
                    <a:pt x="5228" y="3668"/>
                  </a:lnTo>
                  <a:lnTo>
                    <a:pt x="5217" y="3672"/>
                  </a:lnTo>
                  <a:lnTo>
                    <a:pt x="5186" y="3682"/>
                  </a:lnTo>
                  <a:lnTo>
                    <a:pt x="5137" y="3698"/>
                  </a:lnTo>
                  <a:lnTo>
                    <a:pt x="5107" y="3707"/>
                  </a:lnTo>
                  <a:lnTo>
                    <a:pt x="5073" y="3717"/>
                  </a:lnTo>
                  <a:lnTo>
                    <a:pt x="5036" y="3726"/>
                  </a:lnTo>
                  <a:lnTo>
                    <a:pt x="4994" y="3735"/>
                  </a:lnTo>
                  <a:lnTo>
                    <a:pt x="4950" y="3743"/>
                  </a:lnTo>
                  <a:lnTo>
                    <a:pt x="4904" y="3750"/>
                  </a:lnTo>
                  <a:lnTo>
                    <a:pt x="4855" y="3756"/>
                  </a:lnTo>
                  <a:lnTo>
                    <a:pt x="4804" y="3762"/>
                  </a:lnTo>
                  <a:lnTo>
                    <a:pt x="4751" y="3765"/>
                  </a:lnTo>
                  <a:lnTo>
                    <a:pt x="4697" y="3766"/>
                  </a:lnTo>
                  <a:lnTo>
                    <a:pt x="4697" y="3766"/>
                  </a:lnTo>
                  <a:lnTo>
                    <a:pt x="4642" y="3765"/>
                  </a:lnTo>
                  <a:lnTo>
                    <a:pt x="4588" y="3762"/>
                  </a:lnTo>
                  <a:lnTo>
                    <a:pt x="4538" y="3756"/>
                  </a:lnTo>
                  <a:lnTo>
                    <a:pt x="4489" y="3750"/>
                  </a:lnTo>
                  <a:lnTo>
                    <a:pt x="4442" y="3743"/>
                  </a:lnTo>
                  <a:lnTo>
                    <a:pt x="4398" y="3735"/>
                  </a:lnTo>
                  <a:lnTo>
                    <a:pt x="4358" y="3726"/>
                  </a:lnTo>
                  <a:lnTo>
                    <a:pt x="4319" y="3717"/>
                  </a:lnTo>
                  <a:lnTo>
                    <a:pt x="4285" y="3707"/>
                  </a:lnTo>
                  <a:lnTo>
                    <a:pt x="4255" y="3698"/>
                  </a:lnTo>
                  <a:lnTo>
                    <a:pt x="4206" y="3682"/>
                  </a:lnTo>
                  <a:lnTo>
                    <a:pt x="4176" y="3672"/>
                  </a:lnTo>
                  <a:lnTo>
                    <a:pt x="4164" y="3668"/>
                  </a:lnTo>
                  <a:lnTo>
                    <a:pt x="4164" y="3668"/>
                  </a:lnTo>
                  <a:lnTo>
                    <a:pt x="3553" y="3379"/>
                  </a:lnTo>
                  <a:lnTo>
                    <a:pt x="2197" y="2740"/>
                  </a:lnTo>
                  <a:lnTo>
                    <a:pt x="1465" y="2395"/>
                  </a:lnTo>
                  <a:lnTo>
                    <a:pt x="817" y="2087"/>
                  </a:lnTo>
                  <a:lnTo>
                    <a:pt x="341" y="1861"/>
                  </a:lnTo>
                  <a:lnTo>
                    <a:pt x="196" y="1791"/>
                  </a:lnTo>
                  <a:lnTo>
                    <a:pt x="127" y="1758"/>
                  </a:lnTo>
                  <a:lnTo>
                    <a:pt x="127" y="1758"/>
                  </a:lnTo>
                  <a:lnTo>
                    <a:pt x="115" y="1751"/>
                  </a:lnTo>
                  <a:lnTo>
                    <a:pt x="104" y="1743"/>
                  </a:lnTo>
                  <a:lnTo>
                    <a:pt x="92" y="1735"/>
                  </a:lnTo>
                  <a:lnTo>
                    <a:pt x="83" y="1727"/>
                  </a:lnTo>
                  <a:lnTo>
                    <a:pt x="73" y="1718"/>
                  </a:lnTo>
                  <a:lnTo>
                    <a:pt x="65" y="1710"/>
                  </a:lnTo>
                  <a:lnTo>
                    <a:pt x="49" y="1692"/>
                  </a:lnTo>
                  <a:lnTo>
                    <a:pt x="37" y="1674"/>
                  </a:lnTo>
                  <a:lnTo>
                    <a:pt x="27" y="1655"/>
                  </a:lnTo>
                  <a:lnTo>
                    <a:pt x="18" y="1637"/>
                  </a:lnTo>
                  <a:lnTo>
                    <a:pt x="12" y="1619"/>
                  </a:lnTo>
                  <a:lnTo>
                    <a:pt x="7" y="1603"/>
                  </a:lnTo>
                  <a:lnTo>
                    <a:pt x="4" y="1587"/>
                  </a:lnTo>
                  <a:lnTo>
                    <a:pt x="2" y="1572"/>
                  </a:lnTo>
                  <a:lnTo>
                    <a:pt x="1" y="1560"/>
                  </a:lnTo>
                  <a:lnTo>
                    <a:pt x="0" y="1542"/>
                  </a:lnTo>
                  <a:lnTo>
                    <a:pt x="0" y="153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5" name="Freeform 8"/>
            <p:cNvSpPr>
              <a:spLocks/>
            </p:cNvSpPr>
            <p:nvPr/>
          </p:nvSpPr>
          <p:spPr bwMode="auto">
            <a:xfrm flipH="1">
              <a:off x="5233665" y="3462003"/>
              <a:ext cx="154811" cy="51597"/>
            </a:xfrm>
            <a:custGeom>
              <a:avLst/>
              <a:gdLst>
                <a:gd name="T0" fmla="*/ 0 w 845"/>
                <a:gd name="T1" fmla="*/ 365 h 365"/>
                <a:gd name="T2" fmla="*/ 0 w 845"/>
                <a:gd name="T3" fmla="*/ 365 h 365"/>
                <a:gd name="T4" fmla="*/ 98 w 845"/>
                <a:gd name="T5" fmla="*/ 333 h 365"/>
                <a:gd name="T6" fmla="*/ 149 w 845"/>
                <a:gd name="T7" fmla="*/ 316 h 365"/>
                <a:gd name="T8" fmla="*/ 199 w 845"/>
                <a:gd name="T9" fmla="*/ 298 h 365"/>
                <a:gd name="T10" fmla="*/ 251 w 845"/>
                <a:gd name="T11" fmla="*/ 279 h 365"/>
                <a:gd name="T12" fmla="*/ 303 w 845"/>
                <a:gd name="T13" fmla="*/ 259 h 365"/>
                <a:gd name="T14" fmla="*/ 356 w 845"/>
                <a:gd name="T15" fmla="*/ 238 h 365"/>
                <a:gd name="T16" fmla="*/ 410 w 845"/>
                <a:gd name="T17" fmla="*/ 215 h 365"/>
                <a:gd name="T18" fmla="*/ 464 w 845"/>
                <a:gd name="T19" fmla="*/ 192 h 365"/>
                <a:gd name="T20" fmla="*/ 518 w 845"/>
                <a:gd name="T21" fmla="*/ 169 h 365"/>
                <a:gd name="T22" fmla="*/ 572 w 845"/>
                <a:gd name="T23" fmla="*/ 144 h 365"/>
                <a:gd name="T24" fmla="*/ 627 w 845"/>
                <a:gd name="T25" fmla="*/ 116 h 365"/>
                <a:gd name="T26" fmla="*/ 681 w 845"/>
                <a:gd name="T27" fmla="*/ 89 h 365"/>
                <a:gd name="T28" fmla="*/ 736 w 845"/>
                <a:gd name="T29" fmla="*/ 61 h 365"/>
                <a:gd name="T30" fmla="*/ 791 w 845"/>
                <a:gd name="T31" fmla="*/ 31 h 365"/>
                <a:gd name="T32" fmla="*/ 845 w 845"/>
                <a:gd name="T33" fmla="*/ 0 h 365"/>
                <a:gd name="T34" fmla="*/ 845 w 845"/>
                <a:gd name="T35" fmla="*/ 0 h 365"/>
                <a:gd name="T36" fmla="*/ 805 w 845"/>
                <a:gd name="T37" fmla="*/ 27 h 365"/>
                <a:gd name="T38" fmla="*/ 761 w 845"/>
                <a:gd name="T39" fmla="*/ 54 h 365"/>
                <a:gd name="T40" fmla="*/ 716 w 845"/>
                <a:gd name="T41" fmla="*/ 80 h 365"/>
                <a:gd name="T42" fmla="*/ 669 w 845"/>
                <a:gd name="T43" fmla="*/ 105 h 365"/>
                <a:gd name="T44" fmla="*/ 622 w 845"/>
                <a:gd name="T45" fmla="*/ 129 h 365"/>
                <a:gd name="T46" fmla="*/ 572 w 845"/>
                <a:gd name="T47" fmla="*/ 153 h 365"/>
                <a:gd name="T48" fmla="*/ 521 w 845"/>
                <a:gd name="T49" fmla="*/ 177 h 365"/>
                <a:gd name="T50" fmla="*/ 468 w 845"/>
                <a:gd name="T51" fmla="*/ 199 h 365"/>
                <a:gd name="T52" fmla="*/ 414 w 845"/>
                <a:gd name="T53" fmla="*/ 222 h 365"/>
                <a:gd name="T54" fmla="*/ 357 w 845"/>
                <a:gd name="T55" fmla="*/ 244 h 365"/>
                <a:gd name="T56" fmla="*/ 300 w 845"/>
                <a:gd name="T57" fmla="*/ 264 h 365"/>
                <a:gd name="T58" fmla="*/ 243 w 845"/>
                <a:gd name="T59" fmla="*/ 285 h 365"/>
                <a:gd name="T60" fmla="*/ 184 w 845"/>
                <a:gd name="T61" fmla="*/ 306 h 365"/>
                <a:gd name="T62" fmla="*/ 124 w 845"/>
                <a:gd name="T63" fmla="*/ 326 h 365"/>
                <a:gd name="T64" fmla="*/ 0 w 845"/>
                <a:gd name="T65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5" h="365">
                  <a:moveTo>
                    <a:pt x="0" y="365"/>
                  </a:moveTo>
                  <a:lnTo>
                    <a:pt x="0" y="365"/>
                  </a:lnTo>
                  <a:lnTo>
                    <a:pt x="98" y="333"/>
                  </a:lnTo>
                  <a:lnTo>
                    <a:pt x="149" y="316"/>
                  </a:lnTo>
                  <a:lnTo>
                    <a:pt x="199" y="298"/>
                  </a:lnTo>
                  <a:lnTo>
                    <a:pt x="251" y="279"/>
                  </a:lnTo>
                  <a:lnTo>
                    <a:pt x="303" y="259"/>
                  </a:lnTo>
                  <a:lnTo>
                    <a:pt x="356" y="238"/>
                  </a:lnTo>
                  <a:lnTo>
                    <a:pt x="410" y="215"/>
                  </a:lnTo>
                  <a:lnTo>
                    <a:pt x="464" y="192"/>
                  </a:lnTo>
                  <a:lnTo>
                    <a:pt x="518" y="169"/>
                  </a:lnTo>
                  <a:lnTo>
                    <a:pt x="572" y="144"/>
                  </a:lnTo>
                  <a:lnTo>
                    <a:pt x="627" y="116"/>
                  </a:lnTo>
                  <a:lnTo>
                    <a:pt x="681" y="89"/>
                  </a:lnTo>
                  <a:lnTo>
                    <a:pt x="736" y="61"/>
                  </a:lnTo>
                  <a:lnTo>
                    <a:pt x="791" y="31"/>
                  </a:lnTo>
                  <a:lnTo>
                    <a:pt x="845" y="0"/>
                  </a:lnTo>
                  <a:lnTo>
                    <a:pt x="845" y="0"/>
                  </a:lnTo>
                  <a:lnTo>
                    <a:pt x="805" y="27"/>
                  </a:lnTo>
                  <a:lnTo>
                    <a:pt x="761" y="54"/>
                  </a:lnTo>
                  <a:lnTo>
                    <a:pt x="716" y="80"/>
                  </a:lnTo>
                  <a:lnTo>
                    <a:pt x="669" y="105"/>
                  </a:lnTo>
                  <a:lnTo>
                    <a:pt x="622" y="129"/>
                  </a:lnTo>
                  <a:lnTo>
                    <a:pt x="572" y="153"/>
                  </a:lnTo>
                  <a:lnTo>
                    <a:pt x="521" y="177"/>
                  </a:lnTo>
                  <a:lnTo>
                    <a:pt x="468" y="199"/>
                  </a:lnTo>
                  <a:lnTo>
                    <a:pt x="414" y="222"/>
                  </a:lnTo>
                  <a:lnTo>
                    <a:pt x="357" y="244"/>
                  </a:lnTo>
                  <a:lnTo>
                    <a:pt x="300" y="264"/>
                  </a:lnTo>
                  <a:lnTo>
                    <a:pt x="243" y="285"/>
                  </a:lnTo>
                  <a:lnTo>
                    <a:pt x="184" y="306"/>
                  </a:lnTo>
                  <a:lnTo>
                    <a:pt x="124" y="326"/>
                  </a:lnTo>
                  <a:lnTo>
                    <a:pt x="0" y="365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6" name="Freeform 9"/>
            <p:cNvSpPr>
              <a:spLocks/>
            </p:cNvSpPr>
            <p:nvPr/>
          </p:nvSpPr>
          <p:spPr bwMode="auto">
            <a:xfrm flipH="1">
              <a:off x="5233665" y="3462003"/>
              <a:ext cx="154811" cy="51597"/>
            </a:xfrm>
            <a:custGeom>
              <a:avLst/>
              <a:gdLst>
                <a:gd name="T0" fmla="*/ 0 w 845"/>
                <a:gd name="T1" fmla="*/ 365 h 365"/>
                <a:gd name="T2" fmla="*/ 0 w 845"/>
                <a:gd name="T3" fmla="*/ 365 h 365"/>
                <a:gd name="T4" fmla="*/ 98 w 845"/>
                <a:gd name="T5" fmla="*/ 333 h 365"/>
                <a:gd name="T6" fmla="*/ 149 w 845"/>
                <a:gd name="T7" fmla="*/ 316 h 365"/>
                <a:gd name="T8" fmla="*/ 199 w 845"/>
                <a:gd name="T9" fmla="*/ 298 h 365"/>
                <a:gd name="T10" fmla="*/ 251 w 845"/>
                <a:gd name="T11" fmla="*/ 279 h 365"/>
                <a:gd name="T12" fmla="*/ 303 w 845"/>
                <a:gd name="T13" fmla="*/ 259 h 365"/>
                <a:gd name="T14" fmla="*/ 356 w 845"/>
                <a:gd name="T15" fmla="*/ 238 h 365"/>
                <a:gd name="T16" fmla="*/ 410 w 845"/>
                <a:gd name="T17" fmla="*/ 215 h 365"/>
                <a:gd name="T18" fmla="*/ 464 w 845"/>
                <a:gd name="T19" fmla="*/ 192 h 365"/>
                <a:gd name="T20" fmla="*/ 518 w 845"/>
                <a:gd name="T21" fmla="*/ 169 h 365"/>
                <a:gd name="T22" fmla="*/ 572 w 845"/>
                <a:gd name="T23" fmla="*/ 144 h 365"/>
                <a:gd name="T24" fmla="*/ 627 w 845"/>
                <a:gd name="T25" fmla="*/ 116 h 365"/>
                <a:gd name="T26" fmla="*/ 681 w 845"/>
                <a:gd name="T27" fmla="*/ 89 h 365"/>
                <a:gd name="T28" fmla="*/ 736 w 845"/>
                <a:gd name="T29" fmla="*/ 61 h 365"/>
                <a:gd name="T30" fmla="*/ 791 w 845"/>
                <a:gd name="T31" fmla="*/ 31 h 365"/>
                <a:gd name="T32" fmla="*/ 845 w 845"/>
                <a:gd name="T33" fmla="*/ 0 h 365"/>
                <a:gd name="T34" fmla="*/ 845 w 845"/>
                <a:gd name="T35" fmla="*/ 0 h 365"/>
                <a:gd name="T36" fmla="*/ 805 w 845"/>
                <a:gd name="T37" fmla="*/ 27 h 365"/>
                <a:gd name="T38" fmla="*/ 761 w 845"/>
                <a:gd name="T39" fmla="*/ 54 h 365"/>
                <a:gd name="T40" fmla="*/ 716 w 845"/>
                <a:gd name="T41" fmla="*/ 80 h 365"/>
                <a:gd name="T42" fmla="*/ 669 w 845"/>
                <a:gd name="T43" fmla="*/ 105 h 365"/>
                <a:gd name="T44" fmla="*/ 622 w 845"/>
                <a:gd name="T45" fmla="*/ 129 h 365"/>
                <a:gd name="T46" fmla="*/ 572 w 845"/>
                <a:gd name="T47" fmla="*/ 153 h 365"/>
                <a:gd name="T48" fmla="*/ 521 w 845"/>
                <a:gd name="T49" fmla="*/ 177 h 365"/>
                <a:gd name="T50" fmla="*/ 468 w 845"/>
                <a:gd name="T51" fmla="*/ 199 h 365"/>
                <a:gd name="T52" fmla="*/ 414 w 845"/>
                <a:gd name="T53" fmla="*/ 222 h 365"/>
                <a:gd name="T54" fmla="*/ 357 w 845"/>
                <a:gd name="T55" fmla="*/ 244 h 365"/>
                <a:gd name="T56" fmla="*/ 300 w 845"/>
                <a:gd name="T57" fmla="*/ 264 h 365"/>
                <a:gd name="T58" fmla="*/ 243 w 845"/>
                <a:gd name="T59" fmla="*/ 285 h 365"/>
                <a:gd name="T60" fmla="*/ 184 w 845"/>
                <a:gd name="T61" fmla="*/ 306 h 365"/>
                <a:gd name="T62" fmla="*/ 124 w 845"/>
                <a:gd name="T63" fmla="*/ 326 h 365"/>
                <a:gd name="T64" fmla="*/ 0 w 845"/>
                <a:gd name="T65" fmla="*/ 365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45" h="365">
                  <a:moveTo>
                    <a:pt x="0" y="365"/>
                  </a:moveTo>
                  <a:lnTo>
                    <a:pt x="0" y="365"/>
                  </a:lnTo>
                  <a:lnTo>
                    <a:pt x="98" y="333"/>
                  </a:lnTo>
                  <a:lnTo>
                    <a:pt x="149" y="316"/>
                  </a:lnTo>
                  <a:lnTo>
                    <a:pt x="199" y="298"/>
                  </a:lnTo>
                  <a:lnTo>
                    <a:pt x="251" y="279"/>
                  </a:lnTo>
                  <a:lnTo>
                    <a:pt x="303" y="259"/>
                  </a:lnTo>
                  <a:lnTo>
                    <a:pt x="356" y="238"/>
                  </a:lnTo>
                  <a:lnTo>
                    <a:pt x="410" y="215"/>
                  </a:lnTo>
                  <a:lnTo>
                    <a:pt x="464" y="192"/>
                  </a:lnTo>
                  <a:lnTo>
                    <a:pt x="518" y="169"/>
                  </a:lnTo>
                  <a:lnTo>
                    <a:pt x="572" y="144"/>
                  </a:lnTo>
                  <a:lnTo>
                    <a:pt x="627" y="116"/>
                  </a:lnTo>
                  <a:lnTo>
                    <a:pt x="681" y="89"/>
                  </a:lnTo>
                  <a:lnTo>
                    <a:pt x="736" y="61"/>
                  </a:lnTo>
                  <a:lnTo>
                    <a:pt x="791" y="31"/>
                  </a:lnTo>
                  <a:lnTo>
                    <a:pt x="845" y="0"/>
                  </a:lnTo>
                  <a:lnTo>
                    <a:pt x="845" y="0"/>
                  </a:lnTo>
                  <a:lnTo>
                    <a:pt x="805" y="27"/>
                  </a:lnTo>
                  <a:lnTo>
                    <a:pt x="761" y="54"/>
                  </a:lnTo>
                  <a:lnTo>
                    <a:pt x="716" y="80"/>
                  </a:lnTo>
                  <a:lnTo>
                    <a:pt x="669" y="105"/>
                  </a:lnTo>
                  <a:lnTo>
                    <a:pt x="622" y="129"/>
                  </a:lnTo>
                  <a:lnTo>
                    <a:pt x="572" y="153"/>
                  </a:lnTo>
                  <a:lnTo>
                    <a:pt x="521" y="177"/>
                  </a:lnTo>
                  <a:lnTo>
                    <a:pt x="468" y="199"/>
                  </a:lnTo>
                  <a:lnTo>
                    <a:pt x="414" y="222"/>
                  </a:lnTo>
                  <a:lnTo>
                    <a:pt x="357" y="244"/>
                  </a:lnTo>
                  <a:lnTo>
                    <a:pt x="300" y="264"/>
                  </a:lnTo>
                  <a:lnTo>
                    <a:pt x="243" y="285"/>
                  </a:lnTo>
                  <a:lnTo>
                    <a:pt x="184" y="306"/>
                  </a:lnTo>
                  <a:lnTo>
                    <a:pt x="124" y="326"/>
                  </a:lnTo>
                  <a:lnTo>
                    <a:pt x="0" y="36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7" name="Freeform 10"/>
            <p:cNvSpPr>
              <a:spLocks/>
            </p:cNvSpPr>
            <p:nvPr/>
          </p:nvSpPr>
          <p:spPr bwMode="auto">
            <a:xfrm flipH="1">
              <a:off x="5389765" y="3514889"/>
              <a:ext cx="3871" cy="0"/>
            </a:xfrm>
            <a:custGeom>
              <a:avLst/>
              <a:gdLst>
                <a:gd name="T0" fmla="*/ 11 w 22"/>
                <a:gd name="T1" fmla="*/ 3 h 6"/>
                <a:gd name="T2" fmla="*/ 11 w 22"/>
                <a:gd name="T3" fmla="*/ 3 h 6"/>
                <a:gd name="T4" fmla="*/ 0 w 22"/>
                <a:gd name="T5" fmla="*/ 6 h 6"/>
                <a:gd name="T6" fmla="*/ 0 w 22"/>
                <a:gd name="T7" fmla="*/ 6 h 6"/>
                <a:gd name="T8" fmla="*/ 22 w 22"/>
                <a:gd name="T9" fmla="*/ 0 h 6"/>
                <a:gd name="T10" fmla="*/ 22 w 22"/>
                <a:gd name="T11" fmla="*/ 0 h 6"/>
                <a:gd name="T12" fmla="*/ 11 w 22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1" y="3"/>
                  </a:moveTo>
                  <a:lnTo>
                    <a:pt x="11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1" y="3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8" name="Freeform 11"/>
            <p:cNvSpPr>
              <a:spLocks/>
            </p:cNvSpPr>
            <p:nvPr/>
          </p:nvSpPr>
          <p:spPr bwMode="auto">
            <a:xfrm flipH="1">
              <a:off x="5389765" y="3514889"/>
              <a:ext cx="3871" cy="0"/>
            </a:xfrm>
            <a:custGeom>
              <a:avLst/>
              <a:gdLst>
                <a:gd name="T0" fmla="*/ 11 w 22"/>
                <a:gd name="T1" fmla="*/ 3 h 6"/>
                <a:gd name="T2" fmla="*/ 11 w 22"/>
                <a:gd name="T3" fmla="*/ 3 h 6"/>
                <a:gd name="T4" fmla="*/ 0 w 22"/>
                <a:gd name="T5" fmla="*/ 6 h 6"/>
                <a:gd name="T6" fmla="*/ 0 w 22"/>
                <a:gd name="T7" fmla="*/ 6 h 6"/>
                <a:gd name="T8" fmla="*/ 22 w 22"/>
                <a:gd name="T9" fmla="*/ 0 h 6"/>
                <a:gd name="T10" fmla="*/ 22 w 22"/>
                <a:gd name="T11" fmla="*/ 0 h 6"/>
                <a:gd name="T12" fmla="*/ 11 w 22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6">
                  <a:moveTo>
                    <a:pt x="11" y="3"/>
                  </a:moveTo>
                  <a:lnTo>
                    <a:pt x="11" y="3"/>
                  </a:lnTo>
                  <a:lnTo>
                    <a:pt x="0" y="6"/>
                  </a:lnTo>
                  <a:lnTo>
                    <a:pt x="0" y="6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11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9" name="Freeform 12"/>
            <p:cNvSpPr>
              <a:spLocks/>
            </p:cNvSpPr>
            <p:nvPr/>
          </p:nvSpPr>
          <p:spPr bwMode="auto">
            <a:xfrm flipH="1">
              <a:off x="6107055" y="3464583"/>
              <a:ext cx="52894" cy="21929"/>
            </a:xfrm>
            <a:custGeom>
              <a:avLst/>
              <a:gdLst>
                <a:gd name="T0" fmla="*/ 0 w 292"/>
                <a:gd name="T1" fmla="*/ 0 h 155"/>
                <a:gd name="T2" fmla="*/ 0 w 292"/>
                <a:gd name="T3" fmla="*/ 0 h 155"/>
                <a:gd name="T4" fmla="*/ 27 w 292"/>
                <a:gd name="T5" fmla="*/ 15 h 155"/>
                <a:gd name="T6" fmla="*/ 94 w 292"/>
                <a:gd name="T7" fmla="*/ 53 h 155"/>
                <a:gd name="T8" fmla="*/ 137 w 292"/>
                <a:gd name="T9" fmla="*/ 77 h 155"/>
                <a:gd name="T10" fmla="*/ 185 w 292"/>
                <a:gd name="T11" fmla="*/ 103 h 155"/>
                <a:gd name="T12" fmla="*/ 238 w 292"/>
                <a:gd name="T13" fmla="*/ 129 h 155"/>
                <a:gd name="T14" fmla="*/ 292 w 292"/>
                <a:gd name="T15" fmla="*/ 155 h 155"/>
                <a:gd name="T16" fmla="*/ 292 w 292"/>
                <a:gd name="T17" fmla="*/ 155 h 155"/>
                <a:gd name="T18" fmla="*/ 253 w 292"/>
                <a:gd name="T19" fmla="*/ 137 h 155"/>
                <a:gd name="T20" fmla="*/ 213 w 292"/>
                <a:gd name="T21" fmla="*/ 118 h 155"/>
                <a:gd name="T22" fmla="*/ 175 w 292"/>
                <a:gd name="T23" fmla="*/ 100 h 155"/>
                <a:gd name="T24" fmla="*/ 137 w 292"/>
                <a:gd name="T25" fmla="*/ 81 h 155"/>
                <a:gd name="T26" fmla="*/ 102 w 292"/>
                <a:gd name="T27" fmla="*/ 61 h 155"/>
                <a:gd name="T28" fmla="*/ 67 w 292"/>
                <a:gd name="T29" fmla="*/ 40 h 155"/>
                <a:gd name="T30" fmla="*/ 32 w 292"/>
                <a:gd name="T31" fmla="*/ 20 h 155"/>
                <a:gd name="T32" fmla="*/ 0 w 292"/>
                <a:gd name="T33" fmla="*/ 0 h 155"/>
                <a:gd name="T34" fmla="*/ 0 w 292"/>
                <a:gd name="T35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2" h="155">
                  <a:moveTo>
                    <a:pt x="0" y="0"/>
                  </a:moveTo>
                  <a:lnTo>
                    <a:pt x="0" y="0"/>
                  </a:lnTo>
                  <a:lnTo>
                    <a:pt x="27" y="15"/>
                  </a:lnTo>
                  <a:lnTo>
                    <a:pt x="94" y="53"/>
                  </a:lnTo>
                  <a:lnTo>
                    <a:pt x="137" y="77"/>
                  </a:lnTo>
                  <a:lnTo>
                    <a:pt x="185" y="103"/>
                  </a:lnTo>
                  <a:lnTo>
                    <a:pt x="238" y="129"/>
                  </a:lnTo>
                  <a:lnTo>
                    <a:pt x="292" y="155"/>
                  </a:lnTo>
                  <a:lnTo>
                    <a:pt x="292" y="155"/>
                  </a:lnTo>
                  <a:lnTo>
                    <a:pt x="253" y="137"/>
                  </a:lnTo>
                  <a:lnTo>
                    <a:pt x="213" y="118"/>
                  </a:lnTo>
                  <a:lnTo>
                    <a:pt x="175" y="100"/>
                  </a:lnTo>
                  <a:lnTo>
                    <a:pt x="137" y="81"/>
                  </a:lnTo>
                  <a:lnTo>
                    <a:pt x="102" y="61"/>
                  </a:lnTo>
                  <a:lnTo>
                    <a:pt x="67" y="40"/>
                  </a:lnTo>
                  <a:lnTo>
                    <a:pt x="32" y="2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0" name="Freeform 13"/>
            <p:cNvSpPr>
              <a:spLocks/>
            </p:cNvSpPr>
            <p:nvPr/>
          </p:nvSpPr>
          <p:spPr bwMode="auto">
            <a:xfrm flipH="1">
              <a:off x="5397506" y="3516179"/>
              <a:ext cx="2580" cy="0"/>
            </a:xfrm>
            <a:custGeom>
              <a:avLst/>
              <a:gdLst>
                <a:gd name="T0" fmla="*/ 0 w 15"/>
                <a:gd name="T1" fmla="*/ 4 h 4"/>
                <a:gd name="T2" fmla="*/ 0 w 15"/>
                <a:gd name="T3" fmla="*/ 4 h 4"/>
                <a:gd name="T4" fmla="*/ 15 w 15"/>
                <a:gd name="T5" fmla="*/ 0 h 4"/>
                <a:gd name="T6" fmla="*/ 15 w 15"/>
                <a:gd name="T7" fmla="*/ 0 h 4"/>
                <a:gd name="T8" fmla="*/ 0 w 1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lnTo>
                    <a:pt x="0" y="4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1" name="Freeform 14"/>
            <p:cNvSpPr>
              <a:spLocks/>
            </p:cNvSpPr>
            <p:nvPr/>
          </p:nvSpPr>
          <p:spPr bwMode="auto">
            <a:xfrm flipH="1">
              <a:off x="5397506" y="3516179"/>
              <a:ext cx="2580" cy="0"/>
            </a:xfrm>
            <a:custGeom>
              <a:avLst/>
              <a:gdLst>
                <a:gd name="T0" fmla="*/ 0 w 15"/>
                <a:gd name="T1" fmla="*/ 4 h 4"/>
                <a:gd name="T2" fmla="*/ 0 w 15"/>
                <a:gd name="T3" fmla="*/ 4 h 4"/>
                <a:gd name="T4" fmla="*/ 15 w 15"/>
                <a:gd name="T5" fmla="*/ 0 h 4"/>
                <a:gd name="T6" fmla="*/ 15 w 15"/>
                <a:gd name="T7" fmla="*/ 0 h 4"/>
                <a:gd name="T8" fmla="*/ 0 w 1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">
                  <a:moveTo>
                    <a:pt x="0" y="4"/>
                  </a:moveTo>
                  <a:lnTo>
                    <a:pt x="0" y="4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0" y="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2" name="Freeform 15"/>
            <p:cNvSpPr>
              <a:spLocks noEditPoints="1"/>
            </p:cNvSpPr>
            <p:nvPr/>
          </p:nvSpPr>
          <p:spPr bwMode="auto">
            <a:xfrm flipH="1">
              <a:off x="5170450" y="3222078"/>
              <a:ext cx="1059164" cy="325059"/>
            </a:xfrm>
            <a:custGeom>
              <a:avLst/>
              <a:gdLst>
                <a:gd name="T0" fmla="*/ 821 w 5746"/>
                <a:gd name="T1" fmla="*/ 1914 h 2268"/>
                <a:gd name="T2" fmla="*/ 1091 w 5746"/>
                <a:gd name="T3" fmla="*/ 2009 h 2268"/>
                <a:gd name="T4" fmla="*/ 1354 w 5746"/>
                <a:gd name="T5" fmla="*/ 2087 h 2268"/>
                <a:gd name="T6" fmla="*/ 1654 w 5746"/>
                <a:gd name="T7" fmla="*/ 2156 h 2268"/>
                <a:gd name="T8" fmla="*/ 1944 w 5746"/>
                <a:gd name="T9" fmla="*/ 2204 h 2268"/>
                <a:gd name="T10" fmla="*/ 2213 w 5746"/>
                <a:gd name="T11" fmla="*/ 2236 h 2268"/>
                <a:gd name="T12" fmla="*/ 2646 w 5746"/>
                <a:gd name="T13" fmla="*/ 2264 h 2268"/>
                <a:gd name="T14" fmla="*/ 2874 w 5746"/>
                <a:gd name="T15" fmla="*/ 2267 h 2268"/>
                <a:gd name="T16" fmla="*/ 3032 w 5746"/>
                <a:gd name="T17" fmla="*/ 2267 h 2268"/>
                <a:gd name="T18" fmla="*/ 3358 w 5746"/>
                <a:gd name="T19" fmla="*/ 2251 h 2268"/>
                <a:gd name="T20" fmla="*/ 3707 w 5746"/>
                <a:gd name="T21" fmla="*/ 2218 h 2268"/>
                <a:gd name="T22" fmla="*/ 3685 w 5746"/>
                <a:gd name="T23" fmla="*/ 996 h 2268"/>
                <a:gd name="T24" fmla="*/ 3289 w 5746"/>
                <a:gd name="T25" fmla="*/ 1039 h 2268"/>
                <a:gd name="T26" fmla="*/ 2874 w 5746"/>
                <a:gd name="T27" fmla="*/ 1054 h 2268"/>
                <a:gd name="T28" fmla="*/ 2675 w 5746"/>
                <a:gd name="T29" fmla="*/ 1051 h 2268"/>
                <a:gd name="T30" fmla="*/ 2418 w 5746"/>
                <a:gd name="T31" fmla="*/ 1036 h 2268"/>
                <a:gd name="T32" fmla="*/ 2170 w 5746"/>
                <a:gd name="T33" fmla="*/ 1011 h 2268"/>
                <a:gd name="T34" fmla="*/ 1932 w 5746"/>
                <a:gd name="T35" fmla="*/ 976 h 2268"/>
                <a:gd name="T36" fmla="*/ 1705 w 5746"/>
                <a:gd name="T37" fmla="*/ 931 h 2268"/>
                <a:gd name="T38" fmla="*/ 1491 w 5746"/>
                <a:gd name="T39" fmla="*/ 877 h 2268"/>
                <a:gd name="T40" fmla="*/ 1291 w 5746"/>
                <a:gd name="T41" fmla="*/ 815 h 2268"/>
                <a:gd name="T42" fmla="*/ 1106 w 5746"/>
                <a:gd name="T43" fmla="*/ 744 h 2268"/>
                <a:gd name="T44" fmla="*/ 54 w 5746"/>
                <a:gd name="T45" fmla="*/ 823 h 2268"/>
                <a:gd name="T46" fmla="*/ 346 w 5746"/>
                <a:gd name="T47" fmla="*/ 20 h 2268"/>
                <a:gd name="T48" fmla="*/ 361 w 5746"/>
                <a:gd name="T49" fmla="*/ 95 h 2268"/>
                <a:gd name="T50" fmla="*/ 387 w 5746"/>
                <a:gd name="T51" fmla="*/ 169 h 2268"/>
                <a:gd name="T52" fmla="*/ 425 w 5746"/>
                <a:gd name="T53" fmla="*/ 242 h 2268"/>
                <a:gd name="T54" fmla="*/ 488 w 5746"/>
                <a:gd name="T55" fmla="*/ 330 h 2268"/>
                <a:gd name="T56" fmla="*/ 622 w 5746"/>
                <a:gd name="T57" fmla="*/ 463 h 2268"/>
                <a:gd name="T58" fmla="*/ 748 w 5746"/>
                <a:gd name="T59" fmla="*/ 556 h 2268"/>
                <a:gd name="T60" fmla="*/ 315 w 5746"/>
                <a:gd name="T61" fmla="*/ 1655 h 2268"/>
                <a:gd name="T62" fmla="*/ 215 w 5746"/>
                <a:gd name="T63" fmla="*/ 1573 h 2268"/>
                <a:gd name="T64" fmla="*/ 132 w 5746"/>
                <a:gd name="T65" fmla="*/ 1482 h 2268"/>
                <a:gd name="T66" fmla="*/ 68 w 5746"/>
                <a:gd name="T67" fmla="*/ 1384 h 2268"/>
                <a:gd name="T68" fmla="*/ 24 w 5746"/>
                <a:gd name="T69" fmla="*/ 1278 h 2268"/>
                <a:gd name="T70" fmla="*/ 2 w 5746"/>
                <a:gd name="T71" fmla="*/ 1161 h 2268"/>
                <a:gd name="T72" fmla="*/ 4 w 5746"/>
                <a:gd name="T73" fmla="*/ 1034 h 2268"/>
                <a:gd name="T74" fmla="*/ 30 w 5746"/>
                <a:gd name="T75" fmla="*/ 896 h 2268"/>
                <a:gd name="T76" fmla="*/ 5402 w 5746"/>
                <a:gd name="T77" fmla="*/ 3 h 2268"/>
                <a:gd name="T78" fmla="*/ 5715 w 5746"/>
                <a:gd name="T79" fmla="*/ 894 h 2268"/>
                <a:gd name="T80" fmla="*/ 5742 w 5746"/>
                <a:gd name="T81" fmla="*/ 1029 h 2268"/>
                <a:gd name="T82" fmla="*/ 5745 w 5746"/>
                <a:gd name="T83" fmla="*/ 1152 h 2268"/>
                <a:gd name="T84" fmla="*/ 5725 w 5746"/>
                <a:gd name="T85" fmla="*/ 1265 h 2268"/>
                <a:gd name="T86" fmla="*/ 5686 w 5746"/>
                <a:gd name="T87" fmla="*/ 1369 h 2268"/>
                <a:gd name="T88" fmla="*/ 5627 w 5746"/>
                <a:gd name="T89" fmla="*/ 1465 h 2268"/>
                <a:gd name="T90" fmla="*/ 5550 w 5746"/>
                <a:gd name="T91" fmla="*/ 1555 h 2268"/>
                <a:gd name="T92" fmla="*/ 5456 w 5746"/>
                <a:gd name="T93" fmla="*/ 1636 h 2268"/>
                <a:gd name="T94" fmla="*/ 5064 w 5746"/>
                <a:gd name="T95" fmla="*/ 510 h 2268"/>
                <a:gd name="T96" fmla="*/ 5169 w 5746"/>
                <a:gd name="T97" fmla="*/ 423 h 2268"/>
                <a:gd name="T98" fmla="*/ 5281 w 5746"/>
                <a:gd name="T99" fmla="*/ 301 h 2268"/>
                <a:gd name="T100" fmla="*/ 5358 w 5746"/>
                <a:gd name="T101" fmla="*/ 172 h 2268"/>
                <a:gd name="T102" fmla="*/ 5398 w 5746"/>
                <a:gd name="T103" fmla="*/ 38 h 2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46" h="2268">
                  <a:moveTo>
                    <a:pt x="770" y="1895"/>
                  </a:moveTo>
                  <a:lnTo>
                    <a:pt x="770" y="1895"/>
                  </a:lnTo>
                  <a:lnTo>
                    <a:pt x="770" y="1895"/>
                  </a:lnTo>
                  <a:lnTo>
                    <a:pt x="821" y="1914"/>
                  </a:lnTo>
                  <a:lnTo>
                    <a:pt x="873" y="1934"/>
                  </a:lnTo>
                  <a:lnTo>
                    <a:pt x="926" y="1953"/>
                  </a:lnTo>
                  <a:lnTo>
                    <a:pt x="979" y="1972"/>
                  </a:lnTo>
                  <a:lnTo>
                    <a:pt x="1091" y="2009"/>
                  </a:lnTo>
                  <a:lnTo>
                    <a:pt x="1204" y="2045"/>
                  </a:lnTo>
                  <a:lnTo>
                    <a:pt x="1204" y="2045"/>
                  </a:lnTo>
                  <a:lnTo>
                    <a:pt x="1279" y="2067"/>
                  </a:lnTo>
                  <a:lnTo>
                    <a:pt x="1354" y="2087"/>
                  </a:lnTo>
                  <a:lnTo>
                    <a:pt x="1430" y="2107"/>
                  </a:lnTo>
                  <a:lnTo>
                    <a:pt x="1504" y="2125"/>
                  </a:lnTo>
                  <a:lnTo>
                    <a:pt x="1579" y="2140"/>
                  </a:lnTo>
                  <a:lnTo>
                    <a:pt x="1654" y="2156"/>
                  </a:lnTo>
                  <a:lnTo>
                    <a:pt x="1728" y="2170"/>
                  </a:lnTo>
                  <a:lnTo>
                    <a:pt x="1801" y="2182"/>
                  </a:lnTo>
                  <a:lnTo>
                    <a:pt x="1873" y="2194"/>
                  </a:lnTo>
                  <a:lnTo>
                    <a:pt x="1944" y="2204"/>
                  </a:lnTo>
                  <a:lnTo>
                    <a:pt x="2014" y="2213"/>
                  </a:lnTo>
                  <a:lnTo>
                    <a:pt x="2082" y="2223"/>
                  </a:lnTo>
                  <a:lnTo>
                    <a:pt x="2149" y="2230"/>
                  </a:lnTo>
                  <a:lnTo>
                    <a:pt x="2213" y="2236"/>
                  </a:lnTo>
                  <a:lnTo>
                    <a:pt x="2337" y="2248"/>
                  </a:lnTo>
                  <a:lnTo>
                    <a:pt x="2452" y="2255"/>
                  </a:lnTo>
                  <a:lnTo>
                    <a:pt x="2554" y="2261"/>
                  </a:lnTo>
                  <a:lnTo>
                    <a:pt x="2646" y="2264"/>
                  </a:lnTo>
                  <a:lnTo>
                    <a:pt x="2724" y="2267"/>
                  </a:lnTo>
                  <a:lnTo>
                    <a:pt x="2787" y="2268"/>
                  </a:lnTo>
                  <a:lnTo>
                    <a:pt x="2834" y="2268"/>
                  </a:lnTo>
                  <a:lnTo>
                    <a:pt x="2874" y="2267"/>
                  </a:lnTo>
                  <a:lnTo>
                    <a:pt x="2874" y="2267"/>
                  </a:lnTo>
                  <a:lnTo>
                    <a:pt x="2892" y="2268"/>
                  </a:lnTo>
                  <a:lnTo>
                    <a:pt x="2946" y="2268"/>
                  </a:lnTo>
                  <a:lnTo>
                    <a:pt x="3032" y="2267"/>
                  </a:lnTo>
                  <a:lnTo>
                    <a:pt x="3145" y="2263"/>
                  </a:lnTo>
                  <a:lnTo>
                    <a:pt x="3210" y="2260"/>
                  </a:lnTo>
                  <a:lnTo>
                    <a:pt x="3282" y="2256"/>
                  </a:lnTo>
                  <a:lnTo>
                    <a:pt x="3358" y="2251"/>
                  </a:lnTo>
                  <a:lnTo>
                    <a:pt x="3440" y="2245"/>
                  </a:lnTo>
                  <a:lnTo>
                    <a:pt x="3525" y="2237"/>
                  </a:lnTo>
                  <a:lnTo>
                    <a:pt x="3615" y="2228"/>
                  </a:lnTo>
                  <a:lnTo>
                    <a:pt x="3707" y="2218"/>
                  </a:lnTo>
                  <a:lnTo>
                    <a:pt x="3803" y="2204"/>
                  </a:lnTo>
                  <a:lnTo>
                    <a:pt x="3803" y="2204"/>
                  </a:lnTo>
                  <a:lnTo>
                    <a:pt x="3685" y="996"/>
                  </a:lnTo>
                  <a:lnTo>
                    <a:pt x="3685" y="996"/>
                  </a:lnTo>
                  <a:lnTo>
                    <a:pt x="3588" y="1010"/>
                  </a:lnTo>
                  <a:lnTo>
                    <a:pt x="3490" y="1021"/>
                  </a:lnTo>
                  <a:lnTo>
                    <a:pt x="3390" y="1031"/>
                  </a:lnTo>
                  <a:lnTo>
                    <a:pt x="3289" y="1039"/>
                  </a:lnTo>
                  <a:lnTo>
                    <a:pt x="3188" y="1045"/>
                  </a:lnTo>
                  <a:lnTo>
                    <a:pt x="3084" y="1050"/>
                  </a:lnTo>
                  <a:lnTo>
                    <a:pt x="2979" y="1053"/>
                  </a:lnTo>
                  <a:lnTo>
                    <a:pt x="2874" y="1054"/>
                  </a:lnTo>
                  <a:lnTo>
                    <a:pt x="2874" y="1054"/>
                  </a:lnTo>
                  <a:lnTo>
                    <a:pt x="2807" y="1053"/>
                  </a:lnTo>
                  <a:lnTo>
                    <a:pt x="2741" y="1052"/>
                  </a:lnTo>
                  <a:lnTo>
                    <a:pt x="2675" y="1051"/>
                  </a:lnTo>
                  <a:lnTo>
                    <a:pt x="2611" y="1047"/>
                  </a:lnTo>
                  <a:lnTo>
                    <a:pt x="2546" y="1044"/>
                  </a:lnTo>
                  <a:lnTo>
                    <a:pt x="2482" y="1040"/>
                  </a:lnTo>
                  <a:lnTo>
                    <a:pt x="2418" y="1036"/>
                  </a:lnTo>
                  <a:lnTo>
                    <a:pt x="2356" y="1031"/>
                  </a:lnTo>
                  <a:lnTo>
                    <a:pt x="2294" y="1025"/>
                  </a:lnTo>
                  <a:lnTo>
                    <a:pt x="2231" y="1018"/>
                  </a:lnTo>
                  <a:lnTo>
                    <a:pt x="2170" y="1011"/>
                  </a:lnTo>
                  <a:lnTo>
                    <a:pt x="2109" y="1003"/>
                  </a:lnTo>
                  <a:lnTo>
                    <a:pt x="2049" y="994"/>
                  </a:lnTo>
                  <a:lnTo>
                    <a:pt x="1990" y="986"/>
                  </a:lnTo>
                  <a:lnTo>
                    <a:pt x="1932" y="976"/>
                  </a:lnTo>
                  <a:lnTo>
                    <a:pt x="1875" y="965"/>
                  </a:lnTo>
                  <a:lnTo>
                    <a:pt x="1817" y="955"/>
                  </a:lnTo>
                  <a:lnTo>
                    <a:pt x="1760" y="943"/>
                  </a:lnTo>
                  <a:lnTo>
                    <a:pt x="1705" y="931"/>
                  </a:lnTo>
                  <a:lnTo>
                    <a:pt x="1650" y="918"/>
                  </a:lnTo>
                  <a:lnTo>
                    <a:pt x="1596" y="905"/>
                  </a:lnTo>
                  <a:lnTo>
                    <a:pt x="1543" y="891"/>
                  </a:lnTo>
                  <a:lnTo>
                    <a:pt x="1491" y="877"/>
                  </a:lnTo>
                  <a:lnTo>
                    <a:pt x="1440" y="862"/>
                  </a:lnTo>
                  <a:lnTo>
                    <a:pt x="1389" y="846"/>
                  </a:lnTo>
                  <a:lnTo>
                    <a:pt x="1339" y="831"/>
                  </a:lnTo>
                  <a:lnTo>
                    <a:pt x="1291" y="815"/>
                  </a:lnTo>
                  <a:lnTo>
                    <a:pt x="1243" y="797"/>
                  </a:lnTo>
                  <a:lnTo>
                    <a:pt x="1197" y="781"/>
                  </a:lnTo>
                  <a:lnTo>
                    <a:pt x="1151" y="763"/>
                  </a:lnTo>
                  <a:lnTo>
                    <a:pt x="1106" y="744"/>
                  </a:lnTo>
                  <a:lnTo>
                    <a:pt x="1063" y="726"/>
                  </a:lnTo>
                  <a:lnTo>
                    <a:pt x="1063" y="726"/>
                  </a:lnTo>
                  <a:lnTo>
                    <a:pt x="770" y="1895"/>
                  </a:lnTo>
                  <a:close/>
                  <a:moveTo>
                    <a:pt x="54" y="823"/>
                  </a:moveTo>
                  <a:lnTo>
                    <a:pt x="54" y="823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6" y="20"/>
                  </a:lnTo>
                  <a:lnTo>
                    <a:pt x="348" y="39"/>
                  </a:lnTo>
                  <a:lnTo>
                    <a:pt x="352" y="58"/>
                  </a:lnTo>
                  <a:lnTo>
                    <a:pt x="356" y="76"/>
                  </a:lnTo>
                  <a:lnTo>
                    <a:pt x="361" y="95"/>
                  </a:lnTo>
                  <a:lnTo>
                    <a:pt x="366" y="114"/>
                  </a:lnTo>
                  <a:lnTo>
                    <a:pt x="372" y="133"/>
                  </a:lnTo>
                  <a:lnTo>
                    <a:pt x="380" y="151"/>
                  </a:lnTo>
                  <a:lnTo>
                    <a:pt x="387" y="169"/>
                  </a:lnTo>
                  <a:lnTo>
                    <a:pt x="396" y="188"/>
                  </a:lnTo>
                  <a:lnTo>
                    <a:pt x="404" y="206"/>
                  </a:lnTo>
                  <a:lnTo>
                    <a:pt x="415" y="224"/>
                  </a:lnTo>
                  <a:lnTo>
                    <a:pt x="425" y="242"/>
                  </a:lnTo>
                  <a:lnTo>
                    <a:pt x="437" y="260"/>
                  </a:lnTo>
                  <a:lnTo>
                    <a:pt x="448" y="277"/>
                  </a:lnTo>
                  <a:lnTo>
                    <a:pt x="461" y="295"/>
                  </a:lnTo>
                  <a:lnTo>
                    <a:pt x="488" y="330"/>
                  </a:lnTo>
                  <a:lnTo>
                    <a:pt x="518" y="364"/>
                  </a:lnTo>
                  <a:lnTo>
                    <a:pt x="550" y="397"/>
                  </a:lnTo>
                  <a:lnTo>
                    <a:pt x="584" y="431"/>
                  </a:lnTo>
                  <a:lnTo>
                    <a:pt x="622" y="463"/>
                  </a:lnTo>
                  <a:lnTo>
                    <a:pt x="661" y="494"/>
                  </a:lnTo>
                  <a:lnTo>
                    <a:pt x="703" y="525"/>
                  </a:lnTo>
                  <a:lnTo>
                    <a:pt x="748" y="556"/>
                  </a:lnTo>
                  <a:lnTo>
                    <a:pt x="748" y="556"/>
                  </a:lnTo>
                  <a:lnTo>
                    <a:pt x="371" y="1693"/>
                  </a:lnTo>
                  <a:lnTo>
                    <a:pt x="371" y="1693"/>
                  </a:lnTo>
                  <a:lnTo>
                    <a:pt x="343" y="1675"/>
                  </a:lnTo>
                  <a:lnTo>
                    <a:pt x="315" y="1655"/>
                  </a:lnTo>
                  <a:lnTo>
                    <a:pt x="289" y="1635"/>
                  </a:lnTo>
                  <a:lnTo>
                    <a:pt x="263" y="1614"/>
                  </a:lnTo>
                  <a:lnTo>
                    <a:pt x="238" y="1593"/>
                  </a:lnTo>
                  <a:lnTo>
                    <a:pt x="215" y="1573"/>
                  </a:lnTo>
                  <a:lnTo>
                    <a:pt x="192" y="1551"/>
                  </a:lnTo>
                  <a:lnTo>
                    <a:pt x="172" y="1528"/>
                  </a:lnTo>
                  <a:lnTo>
                    <a:pt x="151" y="1505"/>
                  </a:lnTo>
                  <a:lnTo>
                    <a:pt x="132" y="1482"/>
                  </a:lnTo>
                  <a:lnTo>
                    <a:pt x="114" y="1458"/>
                  </a:lnTo>
                  <a:lnTo>
                    <a:pt x="98" y="1434"/>
                  </a:lnTo>
                  <a:lnTo>
                    <a:pt x="82" y="1409"/>
                  </a:lnTo>
                  <a:lnTo>
                    <a:pt x="68" y="1384"/>
                  </a:lnTo>
                  <a:lnTo>
                    <a:pt x="55" y="1358"/>
                  </a:lnTo>
                  <a:lnTo>
                    <a:pt x="44" y="1332"/>
                  </a:lnTo>
                  <a:lnTo>
                    <a:pt x="33" y="1305"/>
                  </a:lnTo>
                  <a:lnTo>
                    <a:pt x="24" y="1278"/>
                  </a:lnTo>
                  <a:lnTo>
                    <a:pt x="17" y="1249"/>
                  </a:lnTo>
                  <a:lnTo>
                    <a:pt x="10" y="1220"/>
                  </a:lnTo>
                  <a:lnTo>
                    <a:pt x="5" y="1191"/>
                  </a:lnTo>
                  <a:lnTo>
                    <a:pt x="2" y="1161"/>
                  </a:lnTo>
                  <a:lnTo>
                    <a:pt x="0" y="1130"/>
                  </a:lnTo>
                  <a:lnTo>
                    <a:pt x="0" y="1099"/>
                  </a:lnTo>
                  <a:lnTo>
                    <a:pt x="1" y="1067"/>
                  </a:lnTo>
                  <a:lnTo>
                    <a:pt x="4" y="1034"/>
                  </a:lnTo>
                  <a:lnTo>
                    <a:pt x="8" y="1001"/>
                  </a:lnTo>
                  <a:lnTo>
                    <a:pt x="14" y="967"/>
                  </a:lnTo>
                  <a:lnTo>
                    <a:pt x="22" y="932"/>
                  </a:lnTo>
                  <a:lnTo>
                    <a:pt x="30" y="896"/>
                  </a:lnTo>
                  <a:lnTo>
                    <a:pt x="42" y="861"/>
                  </a:lnTo>
                  <a:lnTo>
                    <a:pt x="54" y="823"/>
                  </a:lnTo>
                  <a:close/>
                  <a:moveTo>
                    <a:pt x="5402" y="3"/>
                  </a:moveTo>
                  <a:lnTo>
                    <a:pt x="5402" y="3"/>
                  </a:lnTo>
                  <a:lnTo>
                    <a:pt x="5693" y="823"/>
                  </a:lnTo>
                  <a:lnTo>
                    <a:pt x="5693" y="823"/>
                  </a:lnTo>
                  <a:lnTo>
                    <a:pt x="5705" y="860"/>
                  </a:lnTo>
                  <a:lnTo>
                    <a:pt x="5715" y="894"/>
                  </a:lnTo>
                  <a:lnTo>
                    <a:pt x="5724" y="929"/>
                  </a:lnTo>
                  <a:lnTo>
                    <a:pt x="5732" y="963"/>
                  </a:lnTo>
                  <a:lnTo>
                    <a:pt x="5738" y="995"/>
                  </a:lnTo>
                  <a:lnTo>
                    <a:pt x="5742" y="1029"/>
                  </a:lnTo>
                  <a:lnTo>
                    <a:pt x="5745" y="1060"/>
                  </a:lnTo>
                  <a:lnTo>
                    <a:pt x="5746" y="1091"/>
                  </a:lnTo>
                  <a:lnTo>
                    <a:pt x="5746" y="1121"/>
                  </a:lnTo>
                  <a:lnTo>
                    <a:pt x="5745" y="1152"/>
                  </a:lnTo>
                  <a:lnTo>
                    <a:pt x="5742" y="1181"/>
                  </a:lnTo>
                  <a:lnTo>
                    <a:pt x="5738" y="1209"/>
                  </a:lnTo>
                  <a:lnTo>
                    <a:pt x="5733" y="1237"/>
                  </a:lnTo>
                  <a:lnTo>
                    <a:pt x="5725" y="1265"/>
                  </a:lnTo>
                  <a:lnTo>
                    <a:pt x="5718" y="1292"/>
                  </a:lnTo>
                  <a:lnTo>
                    <a:pt x="5709" y="1318"/>
                  </a:lnTo>
                  <a:lnTo>
                    <a:pt x="5697" y="1344"/>
                  </a:lnTo>
                  <a:lnTo>
                    <a:pt x="5686" y="1369"/>
                  </a:lnTo>
                  <a:lnTo>
                    <a:pt x="5672" y="1394"/>
                  </a:lnTo>
                  <a:lnTo>
                    <a:pt x="5659" y="1418"/>
                  </a:lnTo>
                  <a:lnTo>
                    <a:pt x="5643" y="1442"/>
                  </a:lnTo>
                  <a:lnTo>
                    <a:pt x="5627" y="1465"/>
                  </a:lnTo>
                  <a:lnTo>
                    <a:pt x="5609" y="1488"/>
                  </a:lnTo>
                  <a:lnTo>
                    <a:pt x="5590" y="1511"/>
                  </a:lnTo>
                  <a:lnTo>
                    <a:pt x="5570" y="1533"/>
                  </a:lnTo>
                  <a:lnTo>
                    <a:pt x="5550" y="1555"/>
                  </a:lnTo>
                  <a:lnTo>
                    <a:pt x="5528" y="1576"/>
                  </a:lnTo>
                  <a:lnTo>
                    <a:pt x="5505" y="1597"/>
                  </a:lnTo>
                  <a:lnTo>
                    <a:pt x="5481" y="1616"/>
                  </a:lnTo>
                  <a:lnTo>
                    <a:pt x="5456" y="1636"/>
                  </a:lnTo>
                  <a:lnTo>
                    <a:pt x="5430" y="1656"/>
                  </a:lnTo>
                  <a:lnTo>
                    <a:pt x="5403" y="1675"/>
                  </a:lnTo>
                  <a:lnTo>
                    <a:pt x="5403" y="1675"/>
                  </a:lnTo>
                  <a:lnTo>
                    <a:pt x="5064" y="510"/>
                  </a:lnTo>
                  <a:lnTo>
                    <a:pt x="5064" y="510"/>
                  </a:lnTo>
                  <a:lnTo>
                    <a:pt x="5102" y="482"/>
                  </a:lnTo>
                  <a:lnTo>
                    <a:pt x="5136" y="453"/>
                  </a:lnTo>
                  <a:lnTo>
                    <a:pt x="5169" y="423"/>
                  </a:lnTo>
                  <a:lnTo>
                    <a:pt x="5200" y="393"/>
                  </a:lnTo>
                  <a:lnTo>
                    <a:pt x="5229" y="363"/>
                  </a:lnTo>
                  <a:lnTo>
                    <a:pt x="5256" y="333"/>
                  </a:lnTo>
                  <a:lnTo>
                    <a:pt x="5281" y="301"/>
                  </a:lnTo>
                  <a:lnTo>
                    <a:pt x="5303" y="269"/>
                  </a:lnTo>
                  <a:lnTo>
                    <a:pt x="5324" y="238"/>
                  </a:lnTo>
                  <a:lnTo>
                    <a:pt x="5342" y="205"/>
                  </a:lnTo>
                  <a:lnTo>
                    <a:pt x="5358" y="172"/>
                  </a:lnTo>
                  <a:lnTo>
                    <a:pt x="5372" y="139"/>
                  </a:lnTo>
                  <a:lnTo>
                    <a:pt x="5382" y="106"/>
                  </a:lnTo>
                  <a:lnTo>
                    <a:pt x="5392" y="71"/>
                  </a:lnTo>
                  <a:lnTo>
                    <a:pt x="5398" y="38"/>
                  </a:lnTo>
                  <a:lnTo>
                    <a:pt x="5400" y="20"/>
                  </a:lnTo>
                  <a:lnTo>
                    <a:pt x="5402" y="3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3" name="Freeform 16"/>
            <p:cNvSpPr>
              <a:spLocks/>
            </p:cNvSpPr>
            <p:nvPr/>
          </p:nvSpPr>
          <p:spPr bwMode="auto">
            <a:xfrm flipH="1">
              <a:off x="5527805" y="3325272"/>
              <a:ext cx="559899" cy="221866"/>
            </a:xfrm>
            <a:custGeom>
              <a:avLst/>
              <a:gdLst>
                <a:gd name="T0" fmla="*/ 0 w 3033"/>
                <a:gd name="T1" fmla="*/ 1169 h 1542"/>
                <a:gd name="T2" fmla="*/ 51 w 3033"/>
                <a:gd name="T3" fmla="*/ 1188 h 1542"/>
                <a:gd name="T4" fmla="*/ 156 w 3033"/>
                <a:gd name="T5" fmla="*/ 1227 h 1542"/>
                <a:gd name="T6" fmla="*/ 321 w 3033"/>
                <a:gd name="T7" fmla="*/ 1283 h 1542"/>
                <a:gd name="T8" fmla="*/ 434 w 3033"/>
                <a:gd name="T9" fmla="*/ 1319 h 1542"/>
                <a:gd name="T10" fmla="*/ 584 w 3033"/>
                <a:gd name="T11" fmla="*/ 1361 h 1542"/>
                <a:gd name="T12" fmla="*/ 734 w 3033"/>
                <a:gd name="T13" fmla="*/ 1399 h 1542"/>
                <a:gd name="T14" fmla="*/ 884 w 3033"/>
                <a:gd name="T15" fmla="*/ 1430 h 1542"/>
                <a:gd name="T16" fmla="*/ 1031 w 3033"/>
                <a:gd name="T17" fmla="*/ 1456 h 1542"/>
                <a:gd name="T18" fmla="*/ 1174 w 3033"/>
                <a:gd name="T19" fmla="*/ 1478 h 1542"/>
                <a:gd name="T20" fmla="*/ 1312 w 3033"/>
                <a:gd name="T21" fmla="*/ 1497 h 1542"/>
                <a:gd name="T22" fmla="*/ 1443 w 3033"/>
                <a:gd name="T23" fmla="*/ 1510 h 1542"/>
                <a:gd name="T24" fmla="*/ 1682 w 3033"/>
                <a:gd name="T25" fmla="*/ 1529 h 1542"/>
                <a:gd name="T26" fmla="*/ 1876 w 3033"/>
                <a:gd name="T27" fmla="*/ 1538 h 1542"/>
                <a:gd name="T28" fmla="*/ 2017 w 3033"/>
                <a:gd name="T29" fmla="*/ 1542 h 1542"/>
                <a:gd name="T30" fmla="*/ 2104 w 3033"/>
                <a:gd name="T31" fmla="*/ 1541 h 1542"/>
                <a:gd name="T32" fmla="*/ 2122 w 3033"/>
                <a:gd name="T33" fmla="*/ 1542 h 1542"/>
                <a:gd name="T34" fmla="*/ 2262 w 3033"/>
                <a:gd name="T35" fmla="*/ 1541 h 1542"/>
                <a:gd name="T36" fmla="*/ 2440 w 3033"/>
                <a:gd name="T37" fmla="*/ 1534 h 1542"/>
                <a:gd name="T38" fmla="*/ 2588 w 3033"/>
                <a:gd name="T39" fmla="*/ 1525 h 1542"/>
                <a:gd name="T40" fmla="*/ 2755 w 3033"/>
                <a:gd name="T41" fmla="*/ 1511 h 1542"/>
                <a:gd name="T42" fmla="*/ 2937 w 3033"/>
                <a:gd name="T43" fmla="*/ 1492 h 1542"/>
                <a:gd name="T44" fmla="*/ 3033 w 3033"/>
                <a:gd name="T45" fmla="*/ 1478 h 1542"/>
                <a:gd name="T46" fmla="*/ 2915 w 3033"/>
                <a:gd name="T47" fmla="*/ 270 h 1542"/>
                <a:gd name="T48" fmla="*/ 2720 w 3033"/>
                <a:gd name="T49" fmla="*/ 295 h 1542"/>
                <a:gd name="T50" fmla="*/ 2519 w 3033"/>
                <a:gd name="T51" fmla="*/ 313 h 1542"/>
                <a:gd name="T52" fmla="*/ 2314 w 3033"/>
                <a:gd name="T53" fmla="*/ 324 h 1542"/>
                <a:gd name="T54" fmla="*/ 2104 w 3033"/>
                <a:gd name="T55" fmla="*/ 328 h 1542"/>
                <a:gd name="T56" fmla="*/ 2037 w 3033"/>
                <a:gd name="T57" fmla="*/ 327 h 1542"/>
                <a:gd name="T58" fmla="*/ 1905 w 3033"/>
                <a:gd name="T59" fmla="*/ 325 h 1542"/>
                <a:gd name="T60" fmla="*/ 1776 w 3033"/>
                <a:gd name="T61" fmla="*/ 318 h 1542"/>
                <a:gd name="T62" fmla="*/ 1648 w 3033"/>
                <a:gd name="T63" fmla="*/ 310 h 1542"/>
                <a:gd name="T64" fmla="*/ 1524 w 3033"/>
                <a:gd name="T65" fmla="*/ 299 h 1542"/>
                <a:gd name="T66" fmla="*/ 1400 w 3033"/>
                <a:gd name="T67" fmla="*/ 285 h 1542"/>
                <a:gd name="T68" fmla="*/ 1279 w 3033"/>
                <a:gd name="T69" fmla="*/ 268 h 1542"/>
                <a:gd name="T70" fmla="*/ 1162 w 3033"/>
                <a:gd name="T71" fmla="*/ 250 h 1542"/>
                <a:gd name="T72" fmla="*/ 1047 w 3033"/>
                <a:gd name="T73" fmla="*/ 229 h 1542"/>
                <a:gd name="T74" fmla="*/ 935 w 3033"/>
                <a:gd name="T75" fmla="*/ 205 h 1542"/>
                <a:gd name="T76" fmla="*/ 826 w 3033"/>
                <a:gd name="T77" fmla="*/ 179 h 1542"/>
                <a:gd name="T78" fmla="*/ 721 w 3033"/>
                <a:gd name="T79" fmla="*/ 151 h 1542"/>
                <a:gd name="T80" fmla="*/ 619 w 3033"/>
                <a:gd name="T81" fmla="*/ 120 h 1542"/>
                <a:gd name="T82" fmla="*/ 521 w 3033"/>
                <a:gd name="T83" fmla="*/ 89 h 1542"/>
                <a:gd name="T84" fmla="*/ 427 w 3033"/>
                <a:gd name="T85" fmla="*/ 55 h 1542"/>
                <a:gd name="T86" fmla="*/ 336 w 3033"/>
                <a:gd name="T87" fmla="*/ 18 h 1542"/>
                <a:gd name="T88" fmla="*/ 293 w 3033"/>
                <a:gd name="T89" fmla="*/ 0 h 1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33" h="1542">
                  <a:moveTo>
                    <a:pt x="0" y="1169"/>
                  </a:moveTo>
                  <a:lnTo>
                    <a:pt x="0" y="1169"/>
                  </a:lnTo>
                  <a:lnTo>
                    <a:pt x="0" y="1169"/>
                  </a:lnTo>
                  <a:lnTo>
                    <a:pt x="51" y="1188"/>
                  </a:lnTo>
                  <a:lnTo>
                    <a:pt x="103" y="1208"/>
                  </a:lnTo>
                  <a:lnTo>
                    <a:pt x="156" y="1227"/>
                  </a:lnTo>
                  <a:lnTo>
                    <a:pt x="209" y="1246"/>
                  </a:lnTo>
                  <a:lnTo>
                    <a:pt x="321" y="1283"/>
                  </a:lnTo>
                  <a:lnTo>
                    <a:pt x="434" y="1319"/>
                  </a:lnTo>
                  <a:lnTo>
                    <a:pt x="434" y="1319"/>
                  </a:lnTo>
                  <a:lnTo>
                    <a:pt x="509" y="1341"/>
                  </a:lnTo>
                  <a:lnTo>
                    <a:pt x="584" y="1361"/>
                  </a:lnTo>
                  <a:lnTo>
                    <a:pt x="660" y="1381"/>
                  </a:lnTo>
                  <a:lnTo>
                    <a:pt x="734" y="1399"/>
                  </a:lnTo>
                  <a:lnTo>
                    <a:pt x="809" y="1414"/>
                  </a:lnTo>
                  <a:lnTo>
                    <a:pt x="884" y="1430"/>
                  </a:lnTo>
                  <a:lnTo>
                    <a:pt x="958" y="1444"/>
                  </a:lnTo>
                  <a:lnTo>
                    <a:pt x="1031" y="1456"/>
                  </a:lnTo>
                  <a:lnTo>
                    <a:pt x="1103" y="1468"/>
                  </a:lnTo>
                  <a:lnTo>
                    <a:pt x="1174" y="1478"/>
                  </a:lnTo>
                  <a:lnTo>
                    <a:pt x="1244" y="1487"/>
                  </a:lnTo>
                  <a:lnTo>
                    <a:pt x="1312" y="1497"/>
                  </a:lnTo>
                  <a:lnTo>
                    <a:pt x="1379" y="1504"/>
                  </a:lnTo>
                  <a:lnTo>
                    <a:pt x="1443" y="1510"/>
                  </a:lnTo>
                  <a:lnTo>
                    <a:pt x="1567" y="1522"/>
                  </a:lnTo>
                  <a:lnTo>
                    <a:pt x="1682" y="1529"/>
                  </a:lnTo>
                  <a:lnTo>
                    <a:pt x="1784" y="1535"/>
                  </a:lnTo>
                  <a:lnTo>
                    <a:pt x="1876" y="1538"/>
                  </a:lnTo>
                  <a:lnTo>
                    <a:pt x="1954" y="1541"/>
                  </a:lnTo>
                  <a:lnTo>
                    <a:pt x="2017" y="1542"/>
                  </a:lnTo>
                  <a:lnTo>
                    <a:pt x="2064" y="1542"/>
                  </a:lnTo>
                  <a:lnTo>
                    <a:pt x="2104" y="1541"/>
                  </a:lnTo>
                  <a:lnTo>
                    <a:pt x="2104" y="1541"/>
                  </a:lnTo>
                  <a:lnTo>
                    <a:pt x="2122" y="1542"/>
                  </a:lnTo>
                  <a:lnTo>
                    <a:pt x="2176" y="1542"/>
                  </a:lnTo>
                  <a:lnTo>
                    <a:pt x="2262" y="1541"/>
                  </a:lnTo>
                  <a:lnTo>
                    <a:pt x="2375" y="1537"/>
                  </a:lnTo>
                  <a:lnTo>
                    <a:pt x="2440" y="1534"/>
                  </a:lnTo>
                  <a:lnTo>
                    <a:pt x="2512" y="1530"/>
                  </a:lnTo>
                  <a:lnTo>
                    <a:pt x="2588" y="1525"/>
                  </a:lnTo>
                  <a:lnTo>
                    <a:pt x="2670" y="1519"/>
                  </a:lnTo>
                  <a:lnTo>
                    <a:pt x="2755" y="1511"/>
                  </a:lnTo>
                  <a:lnTo>
                    <a:pt x="2845" y="1502"/>
                  </a:lnTo>
                  <a:lnTo>
                    <a:pt x="2937" y="1492"/>
                  </a:lnTo>
                  <a:lnTo>
                    <a:pt x="3033" y="1478"/>
                  </a:lnTo>
                  <a:lnTo>
                    <a:pt x="3033" y="1478"/>
                  </a:lnTo>
                  <a:lnTo>
                    <a:pt x="2915" y="270"/>
                  </a:lnTo>
                  <a:lnTo>
                    <a:pt x="2915" y="270"/>
                  </a:lnTo>
                  <a:lnTo>
                    <a:pt x="2818" y="284"/>
                  </a:lnTo>
                  <a:lnTo>
                    <a:pt x="2720" y="295"/>
                  </a:lnTo>
                  <a:lnTo>
                    <a:pt x="2620" y="305"/>
                  </a:lnTo>
                  <a:lnTo>
                    <a:pt x="2519" y="313"/>
                  </a:lnTo>
                  <a:lnTo>
                    <a:pt x="2418" y="319"/>
                  </a:lnTo>
                  <a:lnTo>
                    <a:pt x="2314" y="324"/>
                  </a:lnTo>
                  <a:lnTo>
                    <a:pt x="2209" y="327"/>
                  </a:lnTo>
                  <a:lnTo>
                    <a:pt x="2104" y="328"/>
                  </a:lnTo>
                  <a:lnTo>
                    <a:pt x="2104" y="328"/>
                  </a:lnTo>
                  <a:lnTo>
                    <a:pt x="2037" y="327"/>
                  </a:lnTo>
                  <a:lnTo>
                    <a:pt x="1971" y="326"/>
                  </a:lnTo>
                  <a:lnTo>
                    <a:pt x="1905" y="325"/>
                  </a:lnTo>
                  <a:lnTo>
                    <a:pt x="1841" y="321"/>
                  </a:lnTo>
                  <a:lnTo>
                    <a:pt x="1776" y="318"/>
                  </a:lnTo>
                  <a:lnTo>
                    <a:pt x="1712" y="314"/>
                  </a:lnTo>
                  <a:lnTo>
                    <a:pt x="1648" y="310"/>
                  </a:lnTo>
                  <a:lnTo>
                    <a:pt x="1586" y="305"/>
                  </a:lnTo>
                  <a:lnTo>
                    <a:pt x="1524" y="299"/>
                  </a:lnTo>
                  <a:lnTo>
                    <a:pt x="1461" y="292"/>
                  </a:lnTo>
                  <a:lnTo>
                    <a:pt x="1400" y="285"/>
                  </a:lnTo>
                  <a:lnTo>
                    <a:pt x="1339" y="277"/>
                  </a:lnTo>
                  <a:lnTo>
                    <a:pt x="1279" y="268"/>
                  </a:lnTo>
                  <a:lnTo>
                    <a:pt x="1220" y="260"/>
                  </a:lnTo>
                  <a:lnTo>
                    <a:pt x="1162" y="250"/>
                  </a:lnTo>
                  <a:lnTo>
                    <a:pt x="1105" y="239"/>
                  </a:lnTo>
                  <a:lnTo>
                    <a:pt x="1047" y="229"/>
                  </a:lnTo>
                  <a:lnTo>
                    <a:pt x="990" y="217"/>
                  </a:lnTo>
                  <a:lnTo>
                    <a:pt x="935" y="205"/>
                  </a:lnTo>
                  <a:lnTo>
                    <a:pt x="880" y="192"/>
                  </a:lnTo>
                  <a:lnTo>
                    <a:pt x="826" y="179"/>
                  </a:lnTo>
                  <a:lnTo>
                    <a:pt x="773" y="165"/>
                  </a:lnTo>
                  <a:lnTo>
                    <a:pt x="721" y="151"/>
                  </a:lnTo>
                  <a:lnTo>
                    <a:pt x="670" y="136"/>
                  </a:lnTo>
                  <a:lnTo>
                    <a:pt x="619" y="120"/>
                  </a:lnTo>
                  <a:lnTo>
                    <a:pt x="569" y="105"/>
                  </a:lnTo>
                  <a:lnTo>
                    <a:pt x="521" y="89"/>
                  </a:lnTo>
                  <a:lnTo>
                    <a:pt x="473" y="71"/>
                  </a:lnTo>
                  <a:lnTo>
                    <a:pt x="427" y="55"/>
                  </a:lnTo>
                  <a:lnTo>
                    <a:pt x="381" y="37"/>
                  </a:lnTo>
                  <a:lnTo>
                    <a:pt x="336" y="18"/>
                  </a:lnTo>
                  <a:lnTo>
                    <a:pt x="293" y="0"/>
                  </a:lnTo>
                  <a:lnTo>
                    <a:pt x="293" y="0"/>
                  </a:lnTo>
                  <a:lnTo>
                    <a:pt x="0" y="116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4" name="Freeform 17"/>
            <p:cNvSpPr>
              <a:spLocks/>
            </p:cNvSpPr>
            <p:nvPr/>
          </p:nvSpPr>
          <p:spPr bwMode="auto">
            <a:xfrm flipH="1">
              <a:off x="6091574" y="3222078"/>
              <a:ext cx="138040" cy="242504"/>
            </a:xfrm>
            <a:custGeom>
              <a:avLst/>
              <a:gdLst>
                <a:gd name="T0" fmla="*/ 54 w 748"/>
                <a:gd name="T1" fmla="*/ 823 h 1693"/>
                <a:gd name="T2" fmla="*/ 54 w 748"/>
                <a:gd name="T3" fmla="*/ 823 h 1693"/>
                <a:gd name="T4" fmla="*/ 344 w 748"/>
                <a:gd name="T5" fmla="*/ 0 h 1693"/>
                <a:gd name="T6" fmla="*/ 344 w 748"/>
                <a:gd name="T7" fmla="*/ 0 h 1693"/>
                <a:gd name="T8" fmla="*/ 346 w 748"/>
                <a:gd name="T9" fmla="*/ 20 h 1693"/>
                <a:gd name="T10" fmla="*/ 348 w 748"/>
                <a:gd name="T11" fmla="*/ 39 h 1693"/>
                <a:gd name="T12" fmla="*/ 352 w 748"/>
                <a:gd name="T13" fmla="*/ 58 h 1693"/>
                <a:gd name="T14" fmla="*/ 356 w 748"/>
                <a:gd name="T15" fmla="*/ 76 h 1693"/>
                <a:gd name="T16" fmla="*/ 361 w 748"/>
                <a:gd name="T17" fmla="*/ 95 h 1693"/>
                <a:gd name="T18" fmla="*/ 366 w 748"/>
                <a:gd name="T19" fmla="*/ 114 h 1693"/>
                <a:gd name="T20" fmla="*/ 372 w 748"/>
                <a:gd name="T21" fmla="*/ 133 h 1693"/>
                <a:gd name="T22" fmla="*/ 380 w 748"/>
                <a:gd name="T23" fmla="*/ 151 h 1693"/>
                <a:gd name="T24" fmla="*/ 387 w 748"/>
                <a:gd name="T25" fmla="*/ 169 h 1693"/>
                <a:gd name="T26" fmla="*/ 396 w 748"/>
                <a:gd name="T27" fmla="*/ 188 h 1693"/>
                <a:gd name="T28" fmla="*/ 404 w 748"/>
                <a:gd name="T29" fmla="*/ 206 h 1693"/>
                <a:gd name="T30" fmla="*/ 415 w 748"/>
                <a:gd name="T31" fmla="*/ 224 h 1693"/>
                <a:gd name="T32" fmla="*/ 425 w 748"/>
                <a:gd name="T33" fmla="*/ 242 h 1693"/>
                <a:gd name="T34" fmla="*/ 437 w 748"/>
                <a:gd name="T35" fmla="*/ 260 h 1693"/>
                <a:gd name="T36" fmla="*/ 448 w 748"/>
                <a:gd name="T37" fmla="*/ 277 h 1693"/>
                <a:gd name="T38" fmla="*/ 461 w 748"/>
                <a:gd name="T39" fmla="*/ 295 h 1693"/>
                <a:gd name="T40" fmla="*/ 488 w 748"/>
                <a:gd name="T41" fmla="*/ 330 h 1693"/>
                <a:gd name="T42" fmla="*/ 518 w 748"/>
                <a:gd name="T43" fmla="*/ 364 h 1693"/>
                <a:gd name="T44" fmla="*/ 550 w 748"/>
                <a:gd name="T45" fmla="*/ 397 h 1693"/>
                <a:gd name="T46" fmla="*/ 584 w 748"/>
                <a:gd name="T47" fmla="*/ 431 h 1693"/>
                <a:gd name="T48" fmla="*/ 622 w 748"/>
                <a:gd name="T49" fmla="*/ 463 h 1693"/>
                <a:gd name="T50" fmla="*/ 661 w 748"/>
                <a:gd name="T51" fmla="*/ 494 h 1693"/>
                <a:gd name="T52" fmla="*/ 703 w 748"/>
                <a:gd name="T53" fmla="*/ 525 h 1693"/>
                <a:gd name="T54" fmla="*/ 748 w 748"/>
                <a:gd name="T55" fmla="*/ 556 h 1693"/>
                <a:gd name="T56" fmla="*/ 748 w 748"/>
                <a:gd name="T57" fmla="*/ 556 h 1693"/>
                <a:gd name="T58" fmla="*/ 371 w 748"/>
                <a:gd name="T59" fmla="*/ 1693 h 1693"/>
                <a:gd name="T60" fmla="*/ 371 w 748"/>
                <a:gd name="T61" fmla="*/ 1693 h 1693"/>
                <a:gd name="T62" fmla="*/ 343 w 748"/>
                <a:gd name="T63" fmla="*/ 1675 h 1693"/>
                <a:gd name="T64" fmla="*/ 315 w 748"/>
                <a:gd name="T65" fmla="*/ 1655 h 1693"/>
                <a:gd name="T66" fmla="*/ 289 w 748"/>
                <a:gd name="T67" fmla="*/ 1635 h 1693"/>
                <a:gd name="T68" fmla="*/ 263 w 748"/>
                <a:gd name="T69" fmla="*/ 1614 h 1693"/>
                <a:gd name="T70" fmla="*/ 238 w 748"/>
                <a:gd name="T71" fmla="*/ 1593 h 1693"/>
                <a:gd name="T72" fmla="*/ 215 w 748"/>
                <a:gd name="T73" fmla="*/ 1573 h 1693"/>
                <a:gd name="T74" fmla="*/ 192 w 748"/>
                <a:gd name="T75" fmla="*/ 1551 h 1693"/>
                <a:gd name="T76" fmla="*/ 172 w 748"/>
                <a:gd name="T77" fmla="*/ 1528 h 1693"/>
                <a:gd name="T78" fmla="*/ 151 w 748"/>
                <a:gd name="T79" fmla="*/ 1505 h 1693"/>
                <a:gd name="T80" fmla="*/ 132 w 748"/>
                <a:gd name="T81" fmla="*/ 1482 h 1693"/>
                <a:gd name="T82" fmla="*/ 114 w 748"/>
                <a:gd name="T83" fmla="*/ 1458 h 1693"/>
                <a:gd name="T84" fmla="*/ 98 w 748"/>
                <a:gd name="T85" fmla="*/ 1434 h 1693"/>
                <a:gd name="T86" fmla="*/ 82 w 748"/>
                <a:gd name="T87" fmla="*/ 1409 h 1693"/>
                <a:gd name="T88" fmla="*/ 68 w 748"/>
                <a:gd name="T89" fmla="*/ 1384 h 1693"/>
                <a:gd name="T90" fmla="*/ 55 w 748"/>
                <a:gd name="T91" fmla="*/ 1358 h 1693"/>
                <a:gd name="T92" fmla="*/ 44 w 748"/>
                <a:gd name="T93" fmla="*/ 1332 h 1693"/>
                <a:gd name="T94" fmla="*/ 33 w 748"/>
                <a:gd name="T95" fmla="*/ 1305 h 1693"/>
                <a:gd name="T96" fmla="*/ 24 w 748"/>
                <a:gd name="T97" fmla="*/ 1278 h 1693"/>
                <a:gd name="T98" fmla="*/ 17 w 748"/>
                <a:gd name="T99" fmla="*/ 1249 h 1693"/>
                <a:gd name="T100" fmla="*/ 10 w 748"/>
                <a:gd name="T101" fmla="*/ 1220 h 1693"/>
                <a:gd name="T102" fmla="*/ 5 w 748"/>
                <a:gd name="T103" fmla="*/ 1191 h 1693"/>
                <a:gd name="T104" fmla="*/ 2 w 748"/>
                <a:gd name="T105" fmla="*/ 1161 h 1693"/>
                <a:gd name="T106" fmla="*/ 0 w 748"/>
                <a:gd name="T107" fmla="*/ 1130 h 1693"/>
                <a:gd name="T108" fmla="*/ 0 w 748"/>
                <a:gd name="T109" fmla="*/ 1099 h 1693"/>
                <a:gd name="T110" fmla="*/ 1 w 748"/>
                <a:gd name="T111" fmla="*/ 1067 h 1693"/>
                <a:gd name="T112" fmla="*/ 4 w 748"/>
                <a:gd name="T113" fmla="*/ 1034 h 1693"/>
                <a:gd name="T114" fmla="*/ 8 w 748"/>
                <a:gd name="T115" fmla="*/ 1001 h 1693"/>
                <a:gd name="T116" fmla="*/ 14 w 748"/>
                <a:gd name="T117" fmla="*/ 967 h 1693"/>
                <a:gd name="T118" fmla="*/ 22 w 748"/>
                <a:gd name="T119" fmla="*/ 932 h 1693"/>
                <a:gd name="T120" fmla="*/ 30 w 748"/>
                <a:gd name="T121" fmla="*/ 896 h 1693"/>
                <a:gd name="T122" fmla="*/ 42 w 748"/>
                <a:gd name="T123" fmla="*/ 861 h 1693"/>
                <a:gd name="T124" fmla="*/ 54 w 748"/>
                <a:gd name="T125" fmla="*/ 823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8" h="1693">
                  <a:moveTo>
                    <a:pt x="54" y="823"/>
                  </a:moveTo>
                  <a:lnTo>
                    <a:pt x="54" y="823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6" y="20"/>
                  </a:lnTo>
                  <a:lnTo>
                    <a:pt x="348" y="39"/>
                  </a:lnTo>
                  <a:lnTo>
                    <a:pt x="352" y="58"/>
                  </a:lnTo>
                  <a:lnTo>
                    <a:pt x="356" y="76"/>
                  </a:lnTo>
                  <a:lnTo>
                    <a:pt x="361" y="95"/>
                  </a:lnTo>
                  <a:lnTo>
                    <a:pt x="366" y="114"/>
                  </a:lnTo>
                  <a:lnTo>
                    <a:pt x="372" y="133"/>
                  </a:lnTo>
                  <a:lnTo>
                    <a:pt x="380" y="151"/>
                  </a:lnTo>
                  <a:lnTo>
                    <a:pt x="387" y="169"/>
                  </a:lnTo>
                  <a:lnTo>
                    <a:pt x="396" y="188"/>
                  </a:lnTo>
                  <a:lnTo>
                    <a:pt x="404" y="206"/>
                  </a:lnTo>
                  <a:lnTo>
                    <a:pt x="415" y="224"/>
                  </a:lnTo>
                  <a:lnTo>
                    <a:pt x="425" y="242"/>
                  </a:lnTo>
                  <a:lnTo>
                    <a:pt x="437" y="260"/>
                  </a:lnTo>
                  <a:lnTo>
                    <a:pt x="448" y="277"/>
                  </a:lnTo>
                  <a:lnTo>
                    <a:pt x="461" y="295"/>
                  </a:lnTo>
                  <a:lnTo>
                    <a:pt x="488" y="330"/>
                  </a:lnTo>
                  <a:lnTo>
                    <a:pt x="518" y="364"/>
                  </a:lnTo>
                  <a:lnTo>
                    <a:pt x="550" y="397"/>
                  </a:lnTo>
                  <a:lnTo>
                    <a:pt x="584" y="431"/>
                  </a:lnTo>
                  <a:lnTo>
                    <a:pt x="622" y="463"/>
                  </a:lnTo>
                  <a:lnTo>
                    <a:pt x="661" y="494"/>
                  </a:lnTo>
                  <a:lnTo>
                    <a:pt x="703" y="525"/>
                  </a:lnTo>
                  <a:lnTo>
                    <a:pt x="748" y="556"/>
                  </a:lnTo>
                  <a:lnTo>
                    <a:pt x="748" y="556"/>
                  </a:lnTo>
                  <a:lnTo>
                    <a:pt x="371" y="1693"/>
                  </a:lnTo>
                  <a:lnTo>
                    <a:pt x="371" y="1693"/>
                  </a:lnTo>
                  <a:lnTo>
                    <a:pt x="343" y="1675"/>
                  </a:lnTo>
                  <a:lnTo>
                    <a:pt x="315" y="1655"/>
                  </a:lnTo>
                  <a:lnTo>
                    <a:pt x="289" y="1635"/>
                  </a:lnTo>
                  <a:lnTo>
                    <a:pt x="263" y="1614"/>
                  </a:lnTo>
                  <a:lnTo>
                    <a:pt x="238" y="1593"/>
                  </a:lnTo>
                  <a:lnTo>
                    <a:pt x="215" y="1573"/>
                  </a:lnTo>
                  <a:lnTo>
                    <a:pt x="192" y="1551"/>
                  </a:lnTo>
                  <a:lnTo>
                    <a:pt x="172" y="1528"/>
                  </a:lnTo>
                  <a:lnTo>
                    <a:pt x="151" y="1505"/>
                  </a:lnTo>
                  <a:lnTo>
                    <a:pt x="132" y="1482"/>
                  </a:lnTo>
                  <a:lnTo>
                    <a:pt x="114" y="1458"/>
                  </a:lnTo>
                  <a:lnTo>
                    <a:pt x="98" y="1434"/>
                  </a:lnTo>
                  <a:lnTo>
                    <a:pt x="82" y="1409"/>
                  </a:lnTo>
                  <a:lnTo>
                    <a:pt x="68" y="1384"/>
                  </a:lnTo>
                  <a:lnTo>
                    <a:pt x="55" y="1358"/>
                  </a:lnTo>
                  <a:lnTo>
                    <a:pt x="44" y="1332"/>
                  </a:lnTo>
                  <a:lnTo>
                    <a:pt x="33" y="1305"/>
                  </a:lnTo>
                  <a:lnTo>
                    <a:pt x="24" y="1278"/>
                  </a:lnTo>
                  <a:lnTo>
                    <a:pt x="17" y="1249"/>
                  </a:lnTo>
                  <a:lnTo>
                    <a:pt x="10" y="1220"/>
                  </a:lnTo>
                  <a:lnTo>
                    <a:pt x="5" y="1191"/>
                  </a:lnTo>
                  <a:lnTo>
                    <a:pt x="2" y="1161"/>
                  </a:lnTo>
                  <a:lnTo>
                    <a:pt x="0" y="1130"/>
                  </a:lnTo>
                  <a:lnTo>
                    <a:pt x="0" y="1099"/>
                  </a:lnTo>
                  <a:lnTo>
                    <a:pt x="1" y="1067"/>
                  </a:lnTo>
                  <a:lnTo>
                    <a:pt x="4" y="1034"/>
                  </a:lnTo>
                  <a:lnTo>
                    <a:pt x="8" y="1001"/>
                  </a:lnTo>
                  <a:lnTo>
                    <a:pt x="14" y="967"/>
                  </a:lnTo>
                  <a:lnTo>
                    <a:pt x="22" y="932"/>
                  </a:lnTo>
                  <a:lnTo>
                    <a:pt x="30" y="896"/>
                  </a:lnTo>
                  <a:lnTo>
                    <a:pt x="42" y="861"/>
                  </a:lnTo>
                  <a:lnTo>
                    <a:pt x="54" y="82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5" name="Freeform 18"/>
            <p:cNvSpPr>
              <a:spLocks/>
            </p:cNvSpPr>
            <p:nvPr/>
          </p:nvSpPr>
          <p:spPr bwMode="auto">
            <a:xfrm flipH="1">
              <a:off x="5170450" y="3222078"/>
              <a:ext cx="125139" cy="239925"/>
            </a:xfrm>
            <a:custGeom>
              <a:avLst/>
              <a:gdLst>
                <a:gd name="T0" fmla="*/ 338 w 682"/>
                <a:gd name="T1" fmla="*/ 0 h 1672"/>
                <a:gd name="T2" fmla="*/ 338 w 682"/>
                <a:gd name="T3" fmla="*/ 0 h 1672"/>
                <a:gd name="T4" fmla="*/ 629 w 682"/>
                <a:gd name="T5" fmla="*/ 820 h 1672"/>
                <a:gd name="T6" fmla="*/ 629 w 682"/>
                <a:gd name="T7" fmla="*/ 820 h 1672"/>
                <a:gd name="T8" fmla="*/ 641 w 682"/>
                <a:gd name="T9" fmla="*/ 857 h 1672"/>
                <a:gd name="T10" fmla="*/ 651 w 682"/>
                <a:gd name="T11" fmla="*/ 891 h 1672"/>
                <a:gd name="T12" fmla="*/ 660 w 682"/>
                <a:gd name="T13" fmla="*/ 926 h 1672"/>
                <a:gd name="T14" fmla="*/ 668 w 682"/>
                <a:gd name="T15" fmla="*/ 960 h 1672"/>
                <a:gd name="T16" fmla="*/ 674 w 682"/>
                <a:gd name="T17" fmla="*/ 992 h 1672"/>
                <a:gd name="T18" fmla="*/ 678 w 682"/>
                <a:gd name="T19" fmla="*/ 1026 h 1672"/>
                <a:gd name="T20" fmla="*/ 681 w 682"/>
                <a:gd name="T21" fmla="*/ 1057 h 1672"/>
                <a:gd name="T22" fmla="*/ 682 w 682"/>
                <a:gd name="T23" fmla="*/ 1088 h 1672"/>
                <a:gd name="T24" fmla="*/ 682 w 682"/>
                <a:gd name="T25" fmla="*/ 1118 h 1672"/>
                <a:gd name="T26" fmla="*/ 681 w 682"/>
                <a:gd name="T27" fmla="*/ 1149 h 1672"/>
                <a:gd name="T28" fmla="*/ 678 w 682"/>
                <a:gd name="T29" fmla="*/ 1178 h 1672"/>
                <a:gd name="T30" fmla="*/ 674 w 682"/>
                <a:gd name="T31" fmla="*/ 1206 h 1672"/>
                <a:gd name="T32" fmla="*/ 669 w 682"/>
                <a:gd name="T33" fmla="*/ 1234 h 1672"/>
                <a:gd name="T34" fmla="*/ 661 w 682"/>
                <a:gd name="T35" fmla="*/ 1262 h 1672"/>
                <a:gd name="T36" fmla="*/ 654 w 682"/>
                <a:gd name="T37" fmla="*/ 1289 h 1672"/>
                <a:gd name="T38" fmla="*/ 645 w 682"/>
                <a:gd name="T39" fmla="*/ 1315 h 1672"/>
                <a:gd name="T40" fmla="*/ 633 w 682"/>
                <a:gd name="T41" fmla="*/ 1341 h 1672"/>
                <a:gd name="T42" fmla="*/ 622 w 682"/>
                <a:gd name="T43" fmla="*/ 1366 h 1672"/>
                <a:gd name="T44" fmla="*/ 608 w 682"/>
                <a:gd name="T45" fmla="*/ 1391 h 1672"/>
                <a:gd name="T46" fmla="*/ 595 w 682"/>
                <a:gd name="T47" fmla="*/ 1415 h 1672"/>
                <a:gd name="T48" fmla="*/ 579 w 682"/>
                <a:gd name="T49" fmla="*/ 1439 h 1672"/>
                <a:gd name="T50" fmla="*/ 563 w 682"/>
                <a:gd name="T51" fmla="*/ 1462 h 1672"/>
                <a:gd name="T52" fmla="*/ 545 w 682"/>
                <a:gd name="T53" fmla="*/ 1485 h 1672"/>
                <a:gd name="T54" fmla="*/ 526 w 682"/>
                <a:gd name="T55" fmla="*/ 1508 h 1672"/>
                <a:gd name="T56" fmla="*/ 506 w 682"/>
                <a:gd name="T57" fmla="*/ 1530 h 1672"/>
                <a:gd name="T58" fmla="*/ 486 w 682"/>
                <a:gd name="T59" fmla="*/ 1552 h 1672"/>
                <a:gd name="T60" fmla="*/ 464 w 682"/>
                <a:gd name="T61" fmla="*/ 1573 h 1672"/>
                <a:gd name="T62" fmla="*/ 441 w 682"/>
                <a:gd name="T63" fmla="*/ 1594 h 1672"/>
                <a:gd name="T64" fmla="*/ 417 w 682"/>
                <a:gd name="T65" fmla="*/ 1613 h 1672"/>
                <a:gd name="T66" fmla="*/ 392 w 682"/>
                <a:gd name="T67" fmla="*/ 1633 h 1672"/>
                <a:gd name="T68" fmla="*/ 366 w 682"/>
                <a:gd name="T69" fmla="*/ 1653 h 1672"/>
                <a:gd name="T70" fmla="*/ 339 w 682"/>
                <a:gd name="T71" fmla="*/ 1672 h 1672"/>
                <a:gd name="T72" fmla="*/ 339 w 682"/>
                <a:gd name="T73" fmla="*/ 1672 h 1672"/>
                <a:gd name="T74" fmla="*/ 0 w 682"/>
                <a:gd name="T75" fmla="*/ 507 h 1672"/>
                <a:gd name="T76" fmla="*/ 0 w 682"/>
                <a:gd name="T77" fmla="*/ 507 h 1672"/>
                <a:gd name="T78" fmla="*/ 38 w 682"/>
                <a:gd name="T79" fmla="*/ 479 h 1672"/>
                <a:gd name="T80" fmla="*/ 72 w 682"/>
                <a:gd name="T81" fmla="*/ 450 h 1672"/>
                <a:gd name="T82" fmla="*/ 105 w 682"/>
                <a:gd name="T83" fmla="*/ 420 h 1672"/>
                <a:gd name="T84" fmla="*/ 136 w 682"/>
                <a:gd name="T85" fmla="*/ 390 h 1672"/>
                <a:gd name="T86" fmla="*/ 165 w 682"/>
                <a:gd name="T87" fmla="*/ 360 h 1672"/>
                <a:gd name="T88" fmla="*/ 192 w 682"/>
                <a:gd name="T89" fmla="*/ 330 h 1672"/>
                <a:gd name="T90" fmla="*/ 217 w 682"/>
                <a:gd name="T91" fmla="*/ 298 h 1672"/>
                <a:gd name="T92" fmla="*/ 239 w 682"/>
                <a:gd name="T93" fmla="*/ 266 h 1672"/>
                <a:gd name="T94" fmla="*/ 260 w 682"/>
                <a:gd name="T95" fmla="*/ 235 h 1672"/>
                <a:gd name="T96" fmla="*/ 278 w 682"/>
                <a:gd name="T97" fmla="*/ 202 h 1672"/>
                <a:gd name="T98" fmla="*/ 294 w 682"/>
                <a:gd name="T99" fmla="*/ 169 h 1672"/>
                <a:gd name="T100" fmla="*/ 308 w 682"/>
                <a:gd name="T101" fmla="*/ 136 h 1672"/>
                <a:gd name="T102" fmla="*/ 318 w 682"/>
                <a:gd name="T103" fmla="*/ 103 h 1672"/>
                <a:gd name="T104" fmla="*/ 328 w 682"/>
                <a:gd name="T105" fmla="*/ 68 h 1672"/>
                <a:gd name="T106" fmla="*/ 334 w 682"/>
                <a:gd name="T107" fmla="*/ 35 h 1672"/>
                <a:gd name="T108" fmla="*/ 336 w 682"/>
                <a:gd name="T109" fmla="*/ 17 h 1672"/>
                <a:gd name="T110" fmla="*/ 338 w 682"/>
                <a:gd name="T111" fmla="*/ 0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82" h="1672">
                  <a:moveTo>
                    <a:pt x="338" y="0"/>
                  </a:moveTo>
                  <a:lnTo>
                    <a:pt x="338" y="0"/>
                  </a:lnTo>
                  <a:lnTo>
                    <a:pt x="629" y="820"/>
                  </a:lnTo>
                  <a:lnTo>
                    <a:pt x="629" y="820"/>
                  </a:lnTo>
                  <a:lnTo>
                    <a:pt x="641" y="857"/>
                  </a:lnTo>
                  <a:lnTo>
                    <a:pt x="651" y="891"/>
                  </a:lnTo>
                  <a:lnTo>
                    <a:pt x="660" y="926"/>
                  </a:lnTo>
                  <a:lnTo>
                    <a:pt x="668" y="960"/>
                  </a:lnTo>
                  <a:lnTo>
                    <a:pt x="674" y="992"/>
                  </a:lnTo>
                  <a:lnTo>
                    <a:pt x="678" y="1026"/>
                  </a:lnTo>
                  <a:lnTo>
                    <a:pt x="681" y="1057"/>
                  </a:lnTo>
                  <a:lnTo>
                    <a:pt x="682" y="1088"/>
                  </a:lnTo>
                  <a:lnTo>
                    <a:pt x="682" y="1118"/>
                  </a:lnTo>
                  <a:lnTo>
                    <a:pt x="681" y="1149"/>
                  </a:lnTo>
                  <a:lnTo>
                    <a:pt x="678" y="1178"/>
                  </a:lnTo>
                  <a:lnTo>
                    <a:pt x="674" y="1206"/>
                  </a:lnTo>
                  <a:lnTo>
                    <a:pt x="669" y="1234"/>
                  </a:lnTo>
                  <a:lnTo>
                    <a:pt x="661" y="1262"/>
                  </a:lnTo>
                  <a:lnTo>
                    <a:pt x="654" y="1289"/>
                  </a:lnTo>
                  <a:lnTo>
                    <a:pt x="645" y="1315"/>
                  </a:lnTo>
                  <a:lnTo>
                    <a:pt x="633" y="1341"/>
                  </a:lnTo>
                  <a:lnTo>
                    <a:pt x="622" y="1366"/>
                  </a:lnTo>
                  <a:lnTo>
                    <a:pt x="608" y="1391"/>
                  </a:lnTo>
                  <a:lnTo>
                    <a:pt x="595" y="1415"/>
                  </a:lnTo>
                  <a:lnTo>
                    <a:pt x="579" y="1439"/>
                  </a:lnTo>
                  <a:lnTo>
                    <a:pt x="563" y="1462"/>
                  </a:lnTo>
                  <a:lnTo>
                    <a:pt x="545" y="1485"/>
                  </a:lnTo>
                  <a:lnTo>
                    <a:pt x="526" y="1508"/>
                  </a:lnTo>
                  <a:lnTo>
                    <a:pt x="506" y="1530"/>
                  </a:lnTo>
                  <a:lnTo>
                    <a:pt x="486" y="1552"/>
                  </a:lnTo>
                  <a:lnTo>
                    <a:pt x="464" y="1573"/>
                  </a:lnTo>
                  <a:lnTo>
                    <a:pt x="441" y="1594"/>
                  </a:lnTo>
                  <a:lnTo>
                    <a:pt x="417" y="1613"/>
                  </a:lnTo>
                  <a:lnTo>
                    <a:pt x="392" y="1633"/>
                  </a:lnTo>
                  <a:lnTo>
                    <a:pt x="366" y="1653"/>
                  </a:lnTo>
                  <a:lnTo>
                    <a:pt x="339" y="1672"/>
                  </a:lnTo>
                  <a:lnTo>
                    <a:pt x="339" y="1672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38" y="479"/>
                  </a:lnTo>
                  <a:lnTo>
                    <a:pt x="72" y="450"/>
                  </a:lnTo>
                  <a:lnTo>
                    <a:pt x="105" y="420"/>
                  </a:lnTo>
                  <a:lnTo>
                    <a:pt x="136" y="390"/>
                  </a:lnTo>
                  <a:lnTo>
                    <a:pt x="165" y="360"/>
                  </a:lnTo>
                  <a:lnTo>
                    <a:pt x="192" y="330"/>
                  </a:lnTo>
                  <a:lnTo>
                    <a:pt x="217" y="298"/>
                  </a:lnTo>
                  <a:lnTo>
                    <a:pt x="239" y="266"/>
                  </a:lnTo>
                  <a:lnTo>
                    <a:pt x="260" y="235"/>
                  </a:lnTo>
                  <a:lnTo>
                    <a:pt x="278" y="202"/>
                  </a:lnTo>
                  <a:lnTo>
                    <a:pt x="294" y="169"/>
                  </a:lnTo>
                  <a:lnTo>
                    <a:pt x="308" y="136"/>
                  </a:lnTo>
                  <a:lnTo>
                    <a:pt x="318" y="103"/>
                  </a:lnTo>
                  <a:lnTo>
                    <a:pt x="328" y="68"/>
                  </a:lnTo>
                  <a:lnTo>
                    <a:pt x="334" y="35"/>
                  </a:lnTo>
                  <a:lnTo>
                    <a:pt x="336" y="17"/>
                  </a:lnTo>
                  <a:lnTo>
                    <a:pt x="33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6" name="Freeform 19"/>
            <p:cNvSpPr>
              <a:spLocks noEditPoints="1"/>
            </p:cNvSpPr>
            <p:nvPr/>
          </p:nvSpPr>
          <p:spPr bwMode="auto">
            <a:xfrm flipH="1">
              <a:off x="5299460" y="2925397"/>
              <a:ext cx="799856" cy="279912"/>
            </a:xfrm>
            <a:custGeom>
              <a:avLst/>
              <a:gdLst>
                <a:gd name="T0" fmla="*/ 0 w 4340"/>
                <a:gd name="T1" fmla="*/ 1058 h 1954"/>
                <a:gd name="T2" fmla="*/ 5 w 4340"/>
                <a:gd name="T3" fmla="*/ 1092 h 1954"/>
                <a:gd name="T4" fmla="*/ 18 w 4340"/>
                <a:gd name="T5" fmla="*/ 1144 h 1954"/>
                <a:gd name="T6" fmla="*/ 36 w 4340"/>
                <a:gd name="T7" fmla="*/ 1194 h 1954"/>
                <a:gd name="T8" fmla="*/ 61 w 4340"/>
                <a:gd name="T9" fmla="*/ 1244 h 1954"/>
                <a:gd name="T10" fmla="*/ 116 w 4340"/>
                <a:gd name="T11" fmla="*/ 1325 h 1954"/>
                <a:gd name="T12" fmla="*/ 205 w 4340"/>
                <a:gd name="T13" fmla="*/ 1418 h 1954"/>
                <a:gd name="T14" fmla="*/ 314 w 4340"/>
                <a:gd name="T15" fmla="*/ 1505 h 1954"/>
                <a:gd name="T16" fmla="*/ 398 w 4340"/>
                <a:gd name="T17" fmla="*/ 1560 h 1954"/>
                <a:gd name="T18" fmla="*/ 733 w 4340"/>
                <a:gd name="T19" fmla="*/ 403 h 1954"/>
                <a:gd name="T20" fmla="*/ 622 w 4340"/>
                <a:gd name="T21" fmla="*/ 331 h 1954"/>
                <a:gd name="T22" fmla="*/ 529 w 4340"/>
                <a:gd name="T23" fmla="*/ 255 h 1954"/>
                <a:gd name="T24" fmla="*/ 455 w 4340"/>
                <a:gd name="T25" fmla="*/ 174 h 1954"/>
                <a:gd name="T26" fmla="*/ 403 w 4340"/>
                <a:gd name="T27" fmla="*/ 89 h 1954"/>
                <a:gd name="T28" fmla="*/ 387 w 4340"/>
                <a:gd name="T29" fmla="*/ 45 h 1954"/>
                <a:gd name="T30" fmla="*/ 374 w 4340"/>
                <a:gd name="T31" fmla="*/ 0 h 1954"/>
                <a:gd name="T32" fmla="*/ 2171 w 4340"/>
                <a:gd name="T33" fmla="*/ 1954 h 1954"/>
                <a:gd name="T34" fmla="*/ 1841 w 4340"/>
                <a:gd name="T35" fmla="*/ 1943 h 1954"/>
                <a:gd name="T36" fmla="*/ 1526 w 4340"/>
                <a:gd name="T37" fmla="*/ 1912 h 1954"/>
                <a:gd name="T38" fmla="*/ 1232 w 4340"/>
                <a:gd name="T39" fmla="*/ 1862 h 1954"/>
                <a:gd name="T40" fmla="*/ 959 w 4340"/>
                <a:gd name="T41" fmla="*/ 1795 h 1954"/>
                <a:gd name="T42" fmla="*/ 833 w 4340"/>
                <a:gd name="T43" fmla="*/ 1756 h 1954"/>
                <a:gd name="T44" fmla="*/ 714 w 4340"/>
                <a:gd name="T45" fmla="*/ 1713 h 1954"/>
                <a:gd name="T46" fmla="*/ 638 w 4340"/>
                <a:gd name="T47" fmla="*/ 1682 h 1954"/>
                <a:gd name="T48" fmla="*/ 997 w 4340"/>
                <a:gd name="T49" fmla="*/ 524 h 1954"/>
                <a:gd name="T50" fmla="*/ 1199 w 4340"/>
                <a:gd name="T51" fmla="*/ 589 h 1954"/>
                <a:gd name="T52" fmla="*/ 1419 w 4340"/>
                <a:gd name="T53" fmla="*/ 641 h 1954"/>
                <a:gd name="T54" fmla="*/ 1657 w 4340"/>
                <a:gd name="T55" fmla="*/ 679 h 1954"/>
                <a:gd name="T56" fmla="*/ 1911 w 4340"/>
                <a:gd name="T57" fmla="*/ 703 h 1954"/>
                <a:gd name="T58" fmla="*/ 2176 w 4340"/>
                <a:gd name="T59" fmla="*/ 712 h 1954"/>
                <a:gd name="T60" fmla="*/ 2323 w 4340"/>
                <a:gd name="T61" fmla="*/ 710 h 1954"/>
                <a:gd name="T62" fmla="*/ 2540 w 4340"/>
                <a:gd name="T63" fmla="*/ 696 h 1954"/>
                <a:gd name="T64" fmla="*/ 2747 w 4340"/>
                <a:gd name="T65" fmla="*/ 672 h 1954"/>
                <a:gd name="T66" fmla="*/ 2867 w 4340"/>
                <a:gd name="T67" fmla="*/ 1905 h 1954"/>
                <a:gd name="T68" fmla="*/ 2615 w 4340"/>
                <a:gd name="T69" fmla="*/ 1934 h 1954"/>
                <a:gd name="T70" fmla="*/ 2352 w 4340"/>
                <a:gd name="T71" fmla="*/ 1950 h 1954"/>
                <a:gd name="T72" fmla="*/ 2171 w 4340"/>
                <a:gd name="T73" fmla="*/ 1954 h 1954"/>
                <a:gd name="T74" fmla="*/ 3710 w 4340"/>
                <a:gd name="T75" fmla="*/ 345 h 1954"/>
                <a:gd name="T76" fmla="*/ 3760 w 4340"/>
                <a:gd name="T77" fmla="*/ 308 h 1954"/>
                <a:gd name="T78" fmla="*/ 3826 w 4340"/>
                <a:gd name="T79" fmla="*/ 252 h 1954"/>
                <a:gd name="T80" fmla="*/ 3881 w 4340"/>
                <a:gd name="T81" fmla="*/ 193 h 1954"/>
                <a:gd name="T82" fmla="*/ 3924 w 4340"/>
                <a:gd name="T83" fmla="*/ 131 h 1954"/>
                <a:gd name="T84" fmla="*/ 3957 w 4340"/>
                <a:gd name="T85" fmla="*/ 68 h 1954"/>
                <a:gd name="T86" fmla="*/ 3971 w 4340"/>
                <a:gd name="T87" fmla="*/ 24 h 1954"/>
                <a:gd name="T88" fmla="*/ 4336 w 4340"/>
                <a:gd name="T89" fmla="*/ 1091 h 1954"/>
                <a:gd name="T90" fmla="*/ 4311 w 4340"/>
                <a:gd name="T91" fmla="*/ 1177 h 1954"/>
                <a:gd name="T92" fmla="*/ 4269 w 4340"/>
                <a:gd name="T93" fmla="*/ 1261 h 1954"/>
                <a:gd name="T94" fmla="*/ 4210 w 4340"/>
                <a:gd name="T95" fmla="*/ 1341 h 1954"/>
                <a:gd name="T96" fmla="*/ 4134 w 4340"/>
                <a:gd name="T97" fmla="*/ 1418 h 1954"/>
                <a:gd name="T98" fmla="*/ 4044 w 4340"/>
                <a:gd name="T99" fmla="*/ 1492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40" h="1954">
                  <a:moveTo>
                    <a:pt x="374" y="0"/>
                  </a:moveTo>
                  <a:lnTo>
                    <a:pt x="374" y="0"/>
                  </a:lnTo>
                  <a:lnTo>
                    <a:pt x="0" y="1058"/>
                  </a:lnTo>
                  <a:lnTo>
                    <a:pt x="0" y="1058"/>
                  </a:lnTo>
                  <a:lnTo>
                    <a:pt x="2" y="1074"/>
                  </a:lnTo>
                  <a:lnTo>
                    <a:pt x="5" y="1092"/>
                  </a:lnTo>
                  <a:lnTo>
                    <a:pt x="8" y="1110"/>
                  </a:lnTo>
                  <a:lnTo>
                    <a:pt x="12" y="1126"/>
                  </a:lnTo>
                  <a:lnTo>
                    <a:pt x="18" y="1144"/>
                  </a:lnTo>
                  <a:lnTo>
                    <a:pt x="23" y="1161"/>
                  </a:lnTo>
                  <a:lnTo>
                    <a:pt x="29" y="1177"/>
                  </a:lnTo>
                  <a:lnTo>
                    <a:pt x="36" y="1194"/>
                  </a:lnTo>
                  <a:lnTo>
                    <a:pt x="44" y="1211"/>
                  </a:lnTo>
                  <a:lnTo>
                    <a:pt x="52" y="1227"/>
                  </a:lnTo>
                  <a:lnTo>
                    <a:pt x="61" y="1244"/>
                  </a:lnTo>
                  <a:lnTo>
                    <a:pt x="72" y="1261"/>
                  </a:lnTo>
                  <a:lnTo>
                    <a:pt x="92" y="1293"/>
                  </a:lnTo>
                  <a:lnTo>
                    <a:pt x="116" y="1325"/>
                  </a:lnTo>
                  <a:lnTo>
                    <a:pt x="143" y="1357"/>
                  </a:lnTo>
                  <a:lnTo>
                    <a:pt x="172" y="1387"/>
                  </a:lnTo>
                  <a:lnTo>
                    <a:pt x="205" y="1418"/>
                  </a:lnTo>
                  <a:lnTo>
                    <a:pt x="239" y="1447"/>
                  </a:lnTo>
                  <a:lnTo>
                    <a:pt x="275" y="1476"/>
                  </a:lnTo>
                  <a:lnTo>
                    <a:pt x="314" y="1505"/>
                  </a:lnTo>
                  <a:lnTo>
                    <a:pt x="354" y="1533"/>
                  </a:lnTo>
                  <a:lnTo>
                    <a:pt x="398" y="1560"/>
                  </a:lnTo>
                  <a:lnTo>
                    <a:pt x="398" y="1560"/>
                  </a:lnTo>
                  <a:lnTo>
                    <a:pt x="774" y="425"/>
                  </a:lnTo>
                  <a:lnTo>
                    <a:pt x="774" y="425"/>
                  </a:lnTo>
                  <a:lnTo>
                    <a:pt x="733" y="403"/>
                  </a:lnTo>
                  <a:lnTo>
                    <a:pt x="694" y="380"/>
                  </a:lnTo>
                  <a:lnTo>
                    <a:pt x="657" y="356"/>
                  </a:lnTo>
                  <a:lnTo>
                    <a:pt x="622" y="331"/>
                  </a:lnTo>
                  <a:lnTo>
                    <a:pt x="588" y="307"/>
                  </a:lnTo>
                  <a:lnTo>
                    <a:pt x="557" y="281"/>
                  </a:lnTo>
                  <a:lnTo>
                    <a:pt x="529" y="255"/>
                  </a:lnTo>
                  <a:lnTo>
                    <a:pt x="502" y="228"/>
                  </a:lnTo>
                  <a:lnTo>
                    <a:pt x="477" y="201"/>
                  </a:lnTo>
                  <a:lnTo>
                    <a:pt x="455" y="174"/>
                  </a:lnTo>
                  <a:lnTo>
                    <a:pt x="435" y="146"/>
                  </a:lnTo>
                  <a:lnTo>
                    <a:pt x="419" y="118"/>
                  </a:lnTo>
                  <a:lnTo>
                    <a:pt x="403" y="89"/>
                  </a:lnTo>
                  <a:lnTo>
                    <a:pt x="397" y="74"/>
                  </a:lnTo>
                  <a:lnTo>
                    <a:pt x="392" y="59"/>
                  </a:lnTo>
                  <a:lnTo>
                    <a:pt x="387" y="45"/>
                  </a:lnTo>
                  <a:lnTo>
                    <a:pt x="381" y="29"/>
                  </a:lnTo>
                  <a:lnTo>
                    <a:pt x="377" y="15"/>
                  </a:lnTo>
                  <a:lnTo>
                    <a:pt x="374" y="0"/>
                  </a:lnTo>
                  <a:lnTo>
                    <a:pt x="374" y="0"/>
                  </a:lnTo>
                  <a:close/>
                  <a:moveTo>
                    <a:pt x="2171" y="1954"/>
                  </a:moveTo>
                  <a:lnTo>
                    <a:pt x="2171" y="1954"/>
                  </a:lnTo>
                  <a:lnTo>
                    <a:pt x="2058" y="1953"/>
                  </a:lnTo>
                  <a:lnTo>
                    <a:pt x="1949" y="1948"/>
                  </a:lnTo>
                  <a:lnTo>
                    <a:pt x="1841" y="1943"/>
                  </a:lnTo>
                  <a:lnTo>
                    <a:pt x="1734" y="1935"/>
                  </a:lnTo>
                  <a:lnTo>
                    <a:pt x="1629" y="1924"/>
                  </a:lnTo>
                  <a:lnTo>
                    <a:pt x="1526" y="1912"/>
                  </a:lnTo>
                  <a:lnTo>
                    <a:pt x="1426" y="1897"/>
                  </a:lnTo>
                  <a:lnTo>
                    <a:pt x="1327" y="1881"/>
                  </a:lnTo>
                  <a:lnTo>
                    <a:pt x="1232" y="1862"/>
                  </a:lnTo>
                  <a:lnTo>
                    <a:pt x="1138" y="1842"/>
                  </a:lnTo>
                  <a:lnTo>
                    <a:pt x="1048" y="1819"/>
                  </a:lnTo>
                  <a:lnTo>
                    <a:pt x="959" y="1795"/>
                  </a:lnTo>
                  <a:lnTo>
                    <a:pt x="917" y="1783"/>
                  </a:lnTo>
                  <a:lnTo>
                    <a:pt x="874" y="1769"/>
                  </a:lnTo>
                  <a:lnTo>
                    <a:pt x="833" y="1756"/>
                  </a:lnTo>
                  <a:lnTo>
                    <a:pt x="792" y="1742"/>
                  </a:lnTo>
                  <a:lnTo>
                    <a:pt x="753" y="1727"/>
                  </a:lnTo>
                  <a:lnTo>
                    <a:pt x="714" y="1713"/>
                  </a:lnTo>
                  <a:lnTo>
                    <a:pt x="676" y="1697"/>
                  </a:lnTo>
                  <a:lnTo>
                    <a:pt x="638" y="1682"/>
                  </a:lnTo>
                  <a:lnTo>
                    <a:pt x="638" y="1682"/>
                  </a:lnTo>
                  <a:lnTo>
                    <a:pt x="936" y="500"/>
                  </a:lnTo>
                  <a:lnTo>
                    <a:pt x="936" y="500"/>
                  </a:lnTo>
                  <a:lnTo>
                    <a:pt x="997" y="524"/>
                  </a:lnTo>
                  <a:lnTo>
                    <a:pt x="1061" y="547"/>
                  </a:lnTo>
                  <a:lnTo>
                    <a:pt x="1129" y="568"/>
                  </a:lnTo>
                  <a:lnTo>
                    <a:pt x="1199" y="589"/>
                  </a:lnTo>
                  <a:lnTo>
                    <a:pt x="1269" y="607"/>
                  </a:lnTo>
                  <a:lnTo>
                    <a:pt x="1343" y="625"/>
                  </a:lnTo>
                  <a:lnTo>
                    <a:pt x="1419" y="641"/>
                  </a:lnTo>
                  <a:lnTo>
                    <a:pt x="1497" y="655"/>
                  </a:lnTo>
                  <a:lnTo>
                    <a:pt x="1576" y="668"/>
                  </a:lnTo>
                  <a:lnTo>
                    <a:pt x="1657" y="679"/>
                  </a:lnTo>
                  <a:lnTo>
                    <a:pt x="1740" y="689"/>
                  </a:lnTo>
                  <a:lnTo>
                    <a:pt x="1824" y="697"/>
                  </a:lnTo>
                  <a:lnTo>
                    <a:pt x="1911" y="703"/>
                  </a:lnTo>
                  <a:lnTo>
                    <a:pt x="1998" y="708"/>
                  </a:lnTo>
                  <a:lnTo>
                    <a:pt x="2086" y="711"/>
                  </a:lnTo>
                  <a:lnTo>
                    <a:pt x="2176" y="712"/>
                  </a:lnTo>
                  <a:lnTo>
                    <a:pt x="2176" y="712"/>
                  </a:lnTo>
                  <a:lnTo>
                    <a:pt x="2250" y="712"/>
                  </a:lnTo>
                  <a:lnTo>
                    <a:pt x="2323" y="710"/>
                  </a:lnTo>
                  <a:lnTo>
                    <a:pt x="2396" y="706"/>
                  </a:lnTo>
                  <a:lnTo>
                    <a:pt x="2469" y="701"/>
                  </a:lnTo>
                  <a:lnTo>
                    <a:pt x="2540" y="696"/>
                  </a:lnTo>
                  <a:lnTo>
                    <a:pt x="2609" y="690"/>
                  </a:lnTo>
                  <a:lnTo>
                    <a:pt x="2678" y="681"/>
                  </a:lnTo>
                  <a:lnTo>
                    <a:pt x="2747" y="672"/>
                  </a:lnTo>
                  <a:lnTo>
                    <a:pt x="2747" y="672"/>
                  </a:lnTo>
                  <a:lnTo>
                    <a:pt x="2867" y="1905"/>
                  </a:lnTo>
                  <a:lnTo>
                    <a:pt x="2867" y="1905"/>
                  </a:lnTo>
                  <a:lnTo>
                    <a:pt x="2784" y="1916"/>
                  </a:lnTo>
                  <a:lnTo>
                    <a:pt x="2700" y="1925"/>
                  </a:lnTo>
                  <a:lnTo>
                    <a:pt x="2615" y="1934"/>
                  </a:lnTo>
                  <a:lnTo>
                    <a:pt x="2528" y="1941"/>
                  </a:lnTo>
                  <a:lnTo>
                    <a:pt x="2440" y="1946"/>
                  </a:lnTo>
                  <a:lnTo>
                    <a:pt x="2352" y="1950"/>
                  </a:lnTo>
                  <a:lnTo>
                    <a:pt x="2261" y="1953"/>
                  </a:lnTo>
                  <a:lnTo>
                    <a:pt x="2171" y="1954"/>
                  </a:lnTo>
                  <a:lnTo>
                    <a:pt x="2171" y="1954"/>
                  </a:lnTo>
                  <a:close/>
                  <a:moveTo>
                    <a:pt x="4044" y="1492"/>
                  </a:moveTo>
                  <a:lnTo>
                    <a:pt x="4044" y="1492"/>
                  </a:lnTo>
                  <a:lnTo>
                    <a:pt x="3710" y="345"/>
                  </a:lnTo>
                  <a:lnTo>
                    <a:pt x="3710" y="345"/>
                  </a:lnTo>
                  <a:lnTo>
                    <a:pt x="3736" y="327"/>
                  </a:lnTo>
                  <a:lnTo>
                    <a:pt x="3760" y="308"/>
                  </a:lnTo>
                  <a:lnTo>
                    <a:pt x="3783" y="290"/>
                  </a:lnTo>
                  <a:lnTo>
                    <a:pt x="3805" y="271"/>
                  </a:lnTo>
                  <a:lnTo>
                    <a:pt x="3826" y="252"/>
                  </a:lnTo>
                  <a:lnTo>
                    <a:pt x="3845" y="232"/>
                  </a:lnTo>
                  <a:lnTo>
                    <a:pt x="3864" y="212"/>
                  </a:lnTo>
                  <a:lnTo>
                    <a:pt x="3881" y="193"/>
                  </a:lnTo>
                  <a:lnTo>
                    <a:pt x="3897" y="173"/>
                  </a:lnTo>
                  <a:lnTo>
                    <a:pt x="3912" y="152"/>
                  </a:lnTo>
                  <a:lnTo>
                    <a:pt x="3924" y="131"/>
                  </a:lnTo>
                  <a:lnTo>
                    <a:pt x="3937" y="110"/>
                  </a:lnTo>
                  <a:lnTo>
                    <a:pt x="3947" y="89"/>
                  </a:lnTo>
                  <a:lnTo>
                    <a:pt x="3957" y="68"/>
                  </a:lnTo>
                  <a:lnTo>
                    <a:pt x="3965" y="46"/>
                  </a:lnTo>
                  <a:lnTo>
                    <a:pt x="3971" y="24"/>
                  </a:lnTo>
                  <a:lnTo>
                    <a:pt x="3971" y="24"/>
                  </a:lnTo>
                  <a:lnTo>
                    <a:pt x="4340" y="1062"/>
                  </a:lnTo>
                  <a:lnTo>
                    <a:pt x="4340" y="1062"/>
                  </a:lnTo>
                  <a:lnTo>
                    <a:pt x="4336" y="1091"/>
                  </a:lnTo>
                  <a:lnTo>
                    <a:pt x="4330" y="1120"/>
                  </a:lnTo>
                  <a:lnTo>
                    <a:pt x="4322" y="1149"/>
                  </a:lnTo>
                  <a:lnTo>
                    <a:pt x="4311" y="1177"/>
                  </a:lnTo>
                  <a:lnTo>
                    <a:pt x="4299" y="1205"/>
                  </a:lnTo>
                  <a:lnTo>
                    <a:pt x="4285" y="1234"/>
                  </a:lnTo>
                  <a:lnTo>
                    <a:pt x="4269" y="1261"/>
                  </a:lnTo>
                  <a:lnTo>
                    <a:pt x="4251" y="1288"/>
                  </a:lnTo>
                  <a:lnTo>
                    <a:pt x="4231" y="1315"/>
                  </a:lnTo>
                  <a:lnTo>
                    <a:pt x="4210" y="1341"/>
                  </a:lnTo>
                  <a:lnTo>
                    <a:pt x="4186" y="1367"/>
                  </a:lnTo>
                  <a:lnTo>
                    <a:pt x="4162" y="1393"/>
                  </a:lnTo>
                  <a:lnTo>
                    <a:pt x="4134" y="1418"/>
                  </a:lnTo>
                  <a:lnTo>
                    <a:pt x="4106" y="1443"/>
                  </a:lnTo>
                  <a:lnTo>
                    <a:pt x="4076" y="1468"/>
                  </a:lnTo>
                  <a:lnTo>
                    <a:pt x="4044" y="1492"/>
                  </a:lnTo>
                  <a:lnTo>
                    <a:pt x="4044" y="1492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7" name="Freeform 20"/>
            <p:cNvSpPr>
              <a:spLocks noEditPoints="1"/>
            </p:cNvSpPr>
            <p:nvPr/>
          </p:nvSpPr>
          <p:spPr bwMode="auto">
            <a:xfrm flipH="1">
              <a:off x="5433629" y="2637745"/>
              <a:ext cx="531517" cy="221866"/>
            </a:xfrm>
            <a:custGeom>
              <a:avLst/>
              <a:gdLst>
                <a:gd name="T0" fmla="*/ 1448 w 2888"/>
                <a:gd name="T1" fmla="*/ 297 h 1553"/>
                <a:gd name="T2" fmla="*/ 1358 w 2888"/>
                <a:gd name="T3" fmla="*/ 295 h 1553"/>
                <a:gd name="T4" fmla="*/ 1271 w 2888"/>
                <a:gd name="T5" fmla="*/ 291 h 1553"/>
                <a:gd name="T6" fmla="*/ 1185 w 2888"/>
                <a:gd name="T7" fmla="*/ 285 h 1553"/>
                <a:gd name="T8" fmla="*/ 1102 w 2888"/>
                <a:gd name="T9" fmla="*/ 275 h 1553"/>
                <a:gd name="T10" fmla="*/ 1021 w 2888"/>
                <a:gd name="T11" fmla="*/ 264 h 1553"/>
                <a:gd name="T12" fmla="*/ 943 w 2888"/>
                <a:gd name="T13" fmla="*/ 249 h 1553"/>
                <a:gd name="T14" fmla="*/ 867 w 2888"/>
                <a:gd name="T15" fmla="*/ 233 h 1553"/>
                <a:gd name="T16" fmla="*/ 795 w 2888"/>
                <a:gd name="T17" fmla="*/ 214 h 1553"/>
                <a:gd name="T18" fmla="*/ 726 w 2888"/>
                <a:gd name="T19" fmla="*/ 194 h 1553"/>
                <a:gd name="T20" fmla="*/ 661 w 2888"/>
                <a:gd name="T21" fmla="*/ 171 h 1553"/>
                <a:gd name="T22" fmla="*/ 599 w 2888"/>
                <a:gd name="T23" fmla="*/ 147 h 1553"/>
                <a:gd name="T24" fmla="*/ 542 w 2888"/>
                <a:gd name="T25" fmla="*/ 120 h 1553"/>
                <a:gd name="T26" fmla="*/ 489 w 2888"/>
                <a:gd name="T27" fmla="*/ 93 h 1553"/>
                <a:gd name="T28" fmla="*/ 440 w 2888"/>
                <a:gd name="T29" fmla="*/ 64 h 1553"/>
                <a:gd name="T30" fmla="*/ 397 w 2888"/>
                <a:gd name="T31" fmla="*/ 32 h 1553"/>
                <a:gd name="T32" fmla="*/ 358 w 2888"/>
                <a:gd name="T33" fmla="*/ 0 h 1553"/>
                <a:gd name="T34" fmla="*/ 0 w 2888"/>
                <a:gd name="T35" fmla="*/ 1008 h 1553"/>
                <a:gd name="T36" fmla="*/ 5 w 2888"/>
                <a:gd name="T37" fmla="*/ 1022 h 1553"/>
                <a:gd name="T38" fmla="*/ 16 w 2888"/>
                <a:gd name="T39" fmla="*/ 1050 h 1553"/>
                <a:gd name="T40" fmla="*/ 32 w 2888"/>
                <a:gd name="T41" fmla="*/ 1079 h 1553"/>
                <a:gd name="T42" fmla="*/ 50 w 2888"/>
                <a:gd name="T43" fmla="*/ 1107 h 1553"/>
                <a:gd name="T44" fmla="*/ 81 w 2888"/>
                <a:gd name="T45" fmla="*/ 1146 h 1553"/>
                <a:gd name="T46" fmla="*/ 133 w 2888"/>
                <a:gd name="T47" fmla="*/ 1198 h 1553"/>
                <a:gd name="T48" fmla="*/ 194 w 2888"/>
                <a:gd name="T49" fmla="*/ 1247 h 1553"/>
                <a:gd name="T50" fmla="*/ 266 w 2888"/>
                <a:gd name="T51" fmla="*/ 1293 h 1553"/>
                <a:gd name="T52" fmla="*/ 346 w 2888"/>
                <a:gd name="T53" fmla="*/ 1337 h 1553"/>
                <a:gd name="T54" fmla="*/ 434 w 2888"/>
                <a:gd name="T55" fmla="*/ 1377 h 1553"/>
                <a:gd name="T56" fmla="*/ 531 w 2888"/>
                <a:gd name="T57" fmla="*/ 1413 h 1553"/>
                <a:gd name="T58" fmla="*/ 635 w 2888"/>
                <a:gd name="T59" fmla="*/ 1446 h 1553"/>
                <a:gd name="T60" fmla="*/ 745 w 2888"/>
                <a:gd name="T61" fmla="*/ 1476 h 1553"/>
                <a:gd name="T62" fmla="*/ 861 w 2888"/>
                <a:gd name="T63" fmla="*/ 1500 h 1553"/>
                <a:gd name="T64" fmla="*/ 984 w 2888"/>
                <a:gd name="T65" fmla="*/ 1520 h 1553"/>
                <a:gd name="T66" fmla="*/ 1111 w 2888"/>
                <a:gd name="T67" fmla="*/ 1536 h 1553"/>
                <a:gd name="T68" fmla="*/ 1243 w 2888"/>
                <a:gd name="T69" fmla="*/ 1546 h 1553"/>
                <a:gd name="T70" fmla="*/ 1378 w 2888"/>
                <a:gd name="T71" fmla="*/ 1552 h 1553"/>
                <a:gd name="T72" fmla="*/ 1448 w 2888"/>
                <a:gd name="T73" fmla="*/ 1553 h 1553"/>
                <a:gd name="T74" fmla="*/ 1566 w 2888"/>
                <a:gd name="T75" fmla="*/ 1551 h 1553"/>
                <a:gd name="T76" fmla="*/ 1682 w 2888"/>
                <a:gd name="T77" fmla="*/ 1544 h 1553"/>
                <a:gd name="T78" fmla="*/ 1795 w 2888"/>
                <a:gd name="T79" fmla="*/ 1534 h 1553"/>
                <a:gd name="T80" fmla="*/ 1905 w 2888"/>
                <a:gd name="T81" fmla="*/ 1521 h 1553"/>
                <a:gd name="T82" fmla="*/ 1783 w 2888"/>
                <a:gd name="T83" fmla="*/ 276 h 1553"/>
                <a:gd name="T84" fmla="*/ 1743 w 2888"/>
                <a:gd name="T85" fmla="*/ 280 h 1553"/>
                <a:gd name="T86" fmla="*/ 1661 w 2888"/>
                <a:gd name="T87" fmla="*/ 289 h 1553"/>
                <a:gd name="T88" fmla="*/ 1577 w 2888"/>
                <a:gd name="T89" fmla="*/ 294 h 1553"/>
                <a:gd name="T90" fmla="*/ 1491 w 2888"/>
                <a:gd name="T91" fmla="*/ 296 h 1553"/>
                <a:gd name="T92" fmla="*/ 1448 w 2888"/>
                <a:gd name="T93" fmla="*/ 297 h 1553"/>
                <a:gd name="T94" fmla="*/ 2668 w 2888"/>
                <a:gd name="T95" fmla="*/ 1269 h 1553"/>
                <a:gd name="T96" fmla="*/ 2337 w 2888"/>
                <a:gd name="T97" fmla="*/ 128 h 1553"/>
                <a:gd name="T98" fmla="*/ 2391 w 2888"/>
                <a:gd name="T99" fmla="*/ 101 h 1553"/>
                <a:gd name="T100" fmla="*/ 2440 w 2888"/>
                <a:gd name="T101" fmla="*/ 73 h 1553"/>
                <a:gd name="T102" fmla="*/ 2485 w 2888"/>
                <a:gd name="T103" fmla="*/ 43 h 1553"/>
                <a:gd name="T104" fmla="*/ 2525 w 2888"/>
                <a:gd name="T105" fmla="*/ 12 h 1553"/>
                <a:gd name="T106" fmla="*/ 2888 w 2888"/>
                <a:gd name="T107" fmla="*/ 1030 h 1553"/>
                <a:gd name="T108" fmla="*/ 2880 w 2888"/>
                <a:gd name="T109" fmla="*/ 1046 h 1553"/>
                <a:gd name="T110" fmla="*/ 2864 w 2888"/>
                <a:gd name="T111" fmla="*/ 1079 h 1553"/>
                <a:gd name="T112" fmla="*/ 2844 w 2888"/>
                <a:gd name="T113" fmla="*/ 1110 h 1553"/>
                <a:gd name="T114" fmla="*/ 2819 w 2888"/>
                <a:gd name="T115" fmla="*/ 1141 h 1553"/>
                <a:gd name="T116" fmla="*/ 2792 w 2888"/>
                <a:gd name="T117" fmla="*/ 1170 h 1553"/>
                <a:gd name="T118" fmla="*/ 2761 w 2888"/>
                <a:gd name="T119" fmla="*/ 1199 h 1553"/>
                <a:gd name="T120" fmla="*/ 2727 w 2888"/>
                <a:gd name="T121" fmla="*/ 1229 h 1553"/>
                <a:gd name="T122" fmla="*/ 2688 w 2888"/>
                <a:gd name="T123" fmla="*/ 1256 h 1553"/>
                <a:gd name="T124" fmla="*/ 2668 w 2888"/>
                <a:gd name="T125" fmla="*/ 1269 h 1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88" h="1553">
                  <a:moveTo>
                    <a:pt x="1448" y="297"/>
                  </a:moveTo>
                  <a:lnTo>
                    <a:pt x="1448" y="297"/>
                  </a:lnTo>
                  <a:lnTo>
                    <a:pt x="1403" y="296"/>
                  </a:lnTo>
                  <a:lnTo>
                    <a:pt x="1358" y="295"/>
                  </a:lnTo>
                  <a:lnTo>
                    <a:pt x="1314" y="294"/>
                  </a:lnTo>
                  <a:lnTo>
                    <a:pt x="1271" y="291"/>
                  </a:lnTo>
                  <a:lnTo>
                    <a:pt x="1227" y="288"/>
                  </a:lnTo>
                  <a:lnTo>
                    <a:pt x="1185" y="285"/>
                  </a:lnTo>
                  <a:lnTo>
                    <a:pt x="1143" y="280"/>
                  </a:lnTo>
                  <a:lnTo>
                    <a:pt x="1102" y="275"/>
                  </a:lnTo>
                  <a:lnTo>
                    <a:pt x="1061" y="269"/>
                  </a:lnTo>
                  <a:lnTo>
                    <a:pt x="1021" y="264"/>
                  </a:lnTo>
                  <a:lnTo>
                    <a:pt x="981" y="257"/>
                  </a:lnTo>
                  <a:lnTo>
                    <a:pt x="943" y="249"/>
                  </a:lnTo>
                  <a:lnTo>
                    <a:pt x="904" y="241"/>
                  </a:lnTo>
                  <a:lnTo>
                    <a:pt x="867" y="233"/>
                  </a:lnTo>
                  <a:lnTo>
                    <a:pt x="830" y="224"/>
                  </a:lnTo>
                  <a:lnTo>
                    <a:pt x="795" y="214"/>
                  </a:lnTo>
                  <a:lnTo>
                    <a:pt x="760" y="204"/>
                  </a:lnTo>
                  <a:lnTo>
                    <a:pt x="726" y="194"/>
                  </a:lnTo>
                  <a:lnTo>
                    <a:pt x="693" y="183"/>
                  </a:lnTo>
                  <a:lnTo>
                    <a:pt x="661" y="171"/>
                  </a:lnTo>
                  <a:lnTo>
                    <a:pt x="630" y="160"/>
                  </a:lnTo>
                  <a:lnTo>
                    <a:pt x="599" y="147"/>
                  </a:lnTo>
                  <a:lnTo>
                    <a:pt x="570" y="134"/>
                  </a:lnTo>
                  <a:lnTo>
                    <a:pt x="542" y="120"/>
                  </a:lnTo>
                  <a:lnTo>
                    <a:pt x="515" y="106"/>
                  </a:lnTo>
                  <a:lnTo>
                    <a:pt x="489" y="93"/>
                  </a:lnTo>
                  <a:lnTo>
                    <a:pt x="464" y="78"/>
                  </a:lnTo>
                  <a:lnTo>
                    <a:pt x="440" y="64"/>
                  </a:lnTo>
                  <a:lnTo>
                    <a:pt x="418" y="48"/>
                  </a:lnTo>
                  <a:lnTo>
                    <a:pt x="397" y="32"/>
                  </a:lnTo>
                  <a:lnTo>
                    <a:pt x="377" y="17"/>
                  </a:lnTo>
                  <a:lnTo>
                    <a:pt x="358" y="0"/>
                  </a:lnTo>
                  <a:lnTo>
                    <a:pt x="358" y="0"/>
                  </a:lnTo>
                  <a:lnTo>
                    <a:pt x="0" y="1008"/>
                  </a:lnTo>
                  <a:lnTo>
                    <a:pt x="0" y="1008"/>
                  </a:lnTo>
                  <a:lnTo>
                    <a:pt x="5" y="1022"/>
                  </a:lnTo>
                  <a:lnTo>
                    <a:pt x="10" y="1037"/>
                  </a:lnTo>
                  <a:lnTo>
                    <a:pt x="16" y="1050"/>
                  </a:lnTo>
                  <a:lnTo>
                    <a:pt x="24" y="1065"/>
                  </a:lnTo>
                  <a:lnTo>
                    <a:pt x="32" y="1079"/>
                  </a:lnTo>
                  <a:lnTo>
                    <a:pt x="40" y="1092"/>
                  </a:lnTo>
                  <a:lnTo>
                    <a:pt x="50" y="1107"/>
                  </a:lnTo>
                  <a:lnTo>
                    <a:pt x="59" y="1120"/>
                  </a:lnTo>
                  <a:lnTo>
                    <a:pt x="81" y="1146"/>
                  </a:lnTo>
                  <a:lnTo>
                    <a:pt x="106" y="1172"/>
                  </a:lnTo>
                  <a:lnTo>
                    <a:pt x="133" y="1198"/>
                  </a:lnTo>
                  <a:lnTo>
                    <a:pt x="162" y="1222"/>
                  </a:lnTo>
                  <a:lnTo>
                    <a:pt x="194" y="1247"/>
                  </a:lnTo>
                  <a:lnTo>
                    <a:pt x="228" y="1270"/>
                  </a:lnTo>
                  <a:lnTo>
                    <a:pt x="266" y="1293"/>
                  </a:lnTo>
                  <a:lnTo>
                    <a:pt x="304" y="1315"/>
                  </a:lnTo>
                  <a:lnTo>
                    <a:pt x="346" y="1337"/>
                  </a:lnTo>
                  <a:lnTo>
                    <a:pt x="389" y="1357"/>
                  </a:lnTo>
                  <a:lnTo>
                    <a:pt x="434" y="1377"/>
                  </a:lnTo>
                  <a:lnTo>
                    <a:pt x="482" y="1395"/>
                  </a:lnTo>
                  <a:lnTo>
                    <a:pt x="531" y="1413"/>
                  </a:lnTo>
                  <a:lnTo>
                    <a:pt x="582" y="1430"/>
                  </a:lnTo>
                  <a:lnTo>
                    <a:pt x="635" y="1446"/>
                  </a:lnTo>
                  <a:lnTo>
                    <a:pt x="689" y="1461"/>
                  </a:lnTo>
                  <a:lnTo>
                    <a:pt x="745" y="1476"/>
                  </a:lnTo>
                  <a:lnTo>
                    <a:pt x="803" y="1488"/>
                  </a:lnTo>
                  <a:lnTo>
                    <a:pt x="861" y="1500"/>
                  </a:lnTo>
                  <a:lnTo>
                    <a:pt x="923" y="1511"/>
                  </a:lnTo>
                  <a:lnTo>
                    <a:pt x="984" y="1520"/>
                  </a:lnTo>
                  <a:lnTo>
                    <a:pt x="1048" y="1529"/>
                  </a:lnTo>
                  <a:lnTo>
                    <a:pt x="1111" y="1536"/>
                  </a:lnTo>
                  <a:lnTo>
                    <a:pt x="1176" y="1541"/>
                  </a:lnTo>
                  <a:lnTo>
                    <a:pt x="1243" y="1546"/>
                  </a:lnTo>
                  <a:lnTo>
                    <a:pt x="1311" y="1550"/>
                  </a:lnTo>
                  <a:lnTo>
                    <a:pt x="1378" y="1552"/>
                  </a:lnTo>
                  <a:lnTo>
                    <a:pt x="1448" y="1553"/>
                  </a:lnTo>
                  <a:lnTo>
                    <a:pt x="1448" y="1553"/>
                  </a:lnTo>
                  <a:lnTo>
                    <a:pt x="1507" y="1552"/>
                  </a:lnTo>
                  <a:lnTo>
                    <a:pt x="1566" y="1551"/>
                  </a:lnTo>
                  <a:lnTo>
                    <a:pt x="1625" y="1547"/>
                  </a:lnTo>
                  <a:lnTo>
                    <a:pt x="1682" y="1544"/>
                  </a:lnTo>
                  <a:lnTo>
                    <a:pt x="1739" y="1540"/>
                  </a:lnTo>
                  <a:lnTo>
                    <a:pt x="1795" y="1534"/>
                  </a:lnTo>
                  <a:lnTo>
                    <a:pt x="1850" y="1528"/>
                  </a:lnTo>
                  <a:lnTo>
                    <a:pt x="1905" y="1521"/>
                  </a:lnTo>
                  <a:lnTo>
                    <a:pt x="1905" y="1521"/>
                  </a:lnTo>
                  <a:lnTo>
                    <a:pt x="1783" y="276"/>
                  </a:lnTo>
                  <a:lnTo>
                    <a:pt x="1783" y="276"/>
                  </a:lnTo>
                  <a:lnTo>
                    <a:pt x="1743" y="280"/>
                  </a:lnTo>
                  <a:lnTo>
                    <a:pt x="1703" y="285"/>
                  </a:lnTo>
                  <a:lnTo>
                    <a:pt x="1661" y="289"/>
                  </a:lnTo>
                  <a:lnTo>
                    <a:pt x="1619" y="292"/>
                  </a:lnTo>
                  <a:lnTo>
                    <a:pt x="1577" y="294"/>
                  </a:lnTo>
                  <a:lnTo>
                    <a:pt x="1534" y="295"/>
                  </a:lnTo>
                  <a:lnTo>
                    <a:pt x="1491" y="296"/>
                  </a:lnTo>
                  <a:lnTo>
                    <a:pt x="1448" y="297"/>
                  </a:lnTo>
                  <a:lnTo>
                    <a:pt x="1448" y="297"/>
                  </a:lnTo>
                  <a:close/>
                  <a:moveTo>
                    <a:pt x="2668" y="1269"/>
                  </a:moveTo>
                  <a:lnTo>
                    <a:pt x="2668" y="1269"/>
                  </a:lnTo>
                  <a:lnTo>
                    <a:pt x="2337" y="128"/>
                  </a:lnTo>
                  <a:lnTo>
                    <a:pt x="2337" y="128"/>
                  </a:lnTo>
                  <a:lnTo>
                    <a:pt x="2365" y="115"/>
                  </a:lnTo>
                  <a:lnTo>
                    <a:pt x="2391" y="101"/>
                  </a:lnTo>
                  <a:lnTo>
                    <a:pt x="2416" y="87"/>
                  </a:lnTo>
                  <a:lnTo>
                    <a:pt x="2440" y="73"/>
                  </a:lnTo>
                  <a:lnTo>
                    <a:pt x="2464" y="57"/>
                  </a:lnTo>
                  <a:lnTo>
                    <a:pt x="2485" y="43"/>
                  </a:lnTo>
                  <a:lnTo>
                    <a:pt x="2505" y="27"/>
                  </a:lnTo>
                  <a:lnTo>
                    <a:pt x="2525" y="12"/>
                  </a:lnTo>
                  <a:lnTo>
                    <a:pt x="2525" y="12"/>
                  </a:lnTo>
                  <a:lnTo>
                    <a:pt x="2888" y="1030"/>
                  </a:lnTo>
                  <a:lnTo>
                    <a:pt x="2888" y="1030"/>
                  </a:lnTo>
                  <a:lnTo>
                    <a:pt x="2880" y="1046"/>
                  </a:lnTo>
                  <a:lnTo>
                    <a:pt x="2873" y="1062"/>
                  </a:lnTo>
                  <a:lnTo>
                    <a:pt x="2864" y="1079"/>
                  </a:lnTo>
                  <a:lnTo>
                    <a:pt x="2854" y="1094"/>
                  </a:lnTo>
                  <a:lnTo>
                    <a:pt x="2844" y="1110"/>
                  </a:lnTo>
                  <a:lnTo>
                    <a:pt x="2832" y="1125"/>
                  </a:lnTo>
                  <a:lnTo>
                    <a:pt x="2819" y="1141"/>
                  </a:lnTo>
                  <a:lnTo>
                    <a:pt x="2806" y="1156"/>
                  </a:lnTo>
                  <a:lnTo>
                    <a:pt x="2792" y="1170"/>
                  </a:lnTo>
                  <a:lnTo>
                    <a:pt x="2776" y="1186"/>
                  </a:lnTo>
                  <a:lnTo>
                    <a:pt x="2761" y="1199"/>
                  </a:lnTo>
                  <a:lnTo>
                    <a:pt x="2744" y="1214"/>
                  </a:lnTo>
                  <a:lnTo>
                    <a:pt x="2727" y="1229"/>
                  </a:lnTo>
                  <a:lnTo>
                    <a:pt x="2708" y="1242"/>
                  </a:lnTo>
                  <a:lnTo>
                    <a:pt x="2688" y="1256"/>
                  </a:lnTo>
                  <a:lnTo>
                    <a:pt x="2668" y="1269"/>
                  </a:lnTo>
                  <a:lnTo>
                    <a:pt x="2668" y="1269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8" name="Freeform 21"/>
            <p:cNvSpPr>
              <a:spLocks/>
            </p:cNvSpPr>
            <p:nvPr/>
          </p:nvSpPr>
          <p:spPr bwMode="auto">
            <a:xfrm flipH="1">
              <a:off x="5388475" y="3513599"/>
              <a:ext cx="1290" cy="1290"/>
            </a:xfrm>
            <a:custGeom>
              <a:avLst/>
              <a:gdLst>
                <a:gd name="T0" fmla="*/ 5 w 5"/>
                <a:gd name="T1" fmla="*/ 0 h 2"/>
                <a:gd name="T2" fmla="*/ 5 w 5"/>
                <a:gd name="T3" fmla="*/ 0 h 2"/>
                <a:gd name="T4" fmla="*/ 0 w 5"/>
                <a:gd name="T5" fmla="*/ 2 h 2"/>
                <a:gd name="T6" fmla="*/ 0 w 5"/>
                <a:gd name="T7" fmla="*/ 2 h 2"/>
                <a:gd name="T8" fmla="*/ 5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29" name="Freeform 22"/>
            <p:cNvSpPr>
              <a:spLocks/>
            </p:cNvSpPr>
            <p:nvPr/>
          </p:nvSpPr>
          <p:spPr bwMode="auto">
            <a:xfrm flipH="1">
              <a:off x="5388475" y="3513599"/>
              <a:ext cx="1290" cy="1290"/>
            </a:xfrm>
            <a:custGeom>
              <a:avLst/>
              <a:gdLst>
                <a:gd name="T0" fmla="*/ 5 w 5"/>
                <a:gd name="T1" fmla="*/ 0 h 2"/>
                <a:gd name="T2" fmla="*/ 5 w 5"/>
                <a:gd name="T3" fmla="*/ 0 h 2"/>
                <a:gd name="T4" fmla="*/ 0 w 5"/>
                <a:gd name="T5" fmla="*/ 2 h 2"/>
                <a:gd name="T6" fmla="*/ 0 w 5"/>
                <a:gd name="T7" fmla="*/ 2 h 2"/>
                <a:gd name="T8" fmla="*/ 5 w 5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">
                  <a:moveTo>
                    <a:pt x="5" y="0"/>
                  </a:moveTo>
                  <a:lnTo>
                    <a:pt x="5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0" name="Rectangle 23"/>
            <p:cNvSpPr>
              <a:spLocks noChangeArrowheads="1"/>
            </p:cNvSpPr>
            <p:nvPr/>
          </p:nvSpPr>
          <p:spPr bwMode="auto">
            <a:xfrm flipH="1">
              <a:off x="5232374" y="3462003"/>
              <a:ext cx="1290" cy="1290"/>
            </a:xfrm>
            <a:prstGeom prst="rect">
              <a:avLst/>
            </a:pr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1" name="Rectangle 24"/>
            <p:cNvSpPr>
              <a:spLocks noChangeArrowheads="1"/>
            </p:cNvSpPr>
            <p:nvPr/>
          </p:nvSpPr>
          <p:spPr bwMode="auto">
            <a:xfrm flipH="1">
              <a:off x="5232374" y="3462003"/>
              <a:ext cx="1290" cy="1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2" name="Freeform 25"/>
            <p:cNvSpPr>
              <a:spLocks/>
            </p:cNvSpPr>
            <p:nvPr/>
          </p:nvSpPr>
          <p:spPr bwMode="auto">
            <a:xfrm flipH="1">
              <a:off x="5400086" y="3516179"/>
              <a:ext cx="127719" cy="21929"/>
            </a:xfrm>
            <a:custGeom>
              <a:avLst/>
              <a:gdLst>
                <a:gd name="T0" fmla="*/ 697 w 697"/>
                <a:gd name="T1" fmla="*/ 0 h 147"/>
                <a:gd name="T2" fmla="*/ 697 w 697"/>
                <a:gd name="T3" fmla="*/ 0 h 147"/>
                <a:gd name="T4" fmla="*/ 623 w 697"/>
                <a:gd name="T5" fmla="*/ 22 h 147"/>
                <a:gd name="T6" fmla="*/ 551 w 697"/>
                <a:gd name="T7" fmla="*/ 41 h 147"/>
                <a:gd name="T8" fmla="*/ 482 w 697"/>
                <a:gd name="T9" fmla="*/ 58 h 147"/>
                <a:gd name="T10" fmla="*/ 418 w 697"/>
                <a:gd name="T11" fmla="*/ 74 h 147"/>
                <a:gd name="T12" fmla="*/ 357 w 697"/>
                <a:gd name="T13" fmla="*/ 88 h 147"/>
                <a:gd name="T14" fmla="*/ 299 w 697"/>
                <a:gd name="T15" fmla="*/ 99 h 147"/>
                <a:gd name="T16" fmla="*/ 246 w 697"/>
                <a:gd name="T17" fmla="*/ 110 h 147"/>
                <a:gd name="T18" fmla="*/ 198 w 697"/>
                <a:gd name="T19" fmla="*/ 119 h 147"/>
                <a:gd name="T20" fmla="*/ 114 w 697"/>
                <a:gd name="T21" fmla="*/ 132 h 147"/>
                <a:gd name="T22" fmla="*/ 52 w 697"/>
                <a:gd name="T23" fmla="*/ 141 h 147"/>
                <a:gd name="T24" fmla="*/ 14 w 697"/>
                <a:gd name="T25" fmla="*/ 146 h 147"/>
                <a:gd name="T26" fmla="*/ 0 w 697"/>
                <a:gd name="T27" fmla="*/ 147 h 147"/>
                <a:gd name="T28" fmla="*/ 0 w 697"/>
                <a:gd name="T29" fmla="*/ 147 h 147"/>
                <a:gd name="T30" fmla="*/ 84 w 697"/>
                <a:gd name="T31" fmla="*/ 135 h 147"/>
                <a:gd name="T32" fmla="*/ 170 w 697"/>
                <a:gd name="T33" fmla="*/ 121 h 147"/>
                <a:gd name="T34" fmla="*/ 256 w 697"/>
                <a:gd name="T35" fmla="*/ 105 h 147"/>
                <a:gd name="T36" fmla="*/ 343 w 697"/>
                <a:gd name="T37" fmla="*/ 89 h 147"/>
                <a:gd name="T38" fmla="*/ 432 w 697"/>
                <a:gd name="T39" fmla="*/ 69 h 147"/>
                <a:gd name="T40" fmla="*/ 520 w 697"/>
                <a:gd name="T41" fmla="*/ 48 h 147"/>
                <a:gd name="T42" fmla="*/ 608 w 697"/>
                <a:gd name="T43" fmla="*/ 25 h 147"/>
                <a:gd name="T44" fmla="*/ 697 w 697"/>
                <a:gd name="T4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7" h="147">
                  <a:moveTo>
                    <a:pt x="697" y="0"/>
                  </a:moveTo>
                  <a:lnTo>
                    <a:pt x="697" y="0"/>
                  </a:lnTo>
                  <a:lnTo>
                    <a:pt x="623" y="22"/>
                  </a:lnTo>
                  <a:lnTo>
                    <a:pt x="551" y="41"/>
                  </a:lnTo>
                  <a:lnTo>
                    <a:pt x="482" y="58"/>
                  </a:lnTo>
                  <a:lnTo>
                    <a:pt x="418" y="74"/>
                  </a:lnTo>
                  <a:lnTo>
                    <a:pt x="357" y="88"/>
                  </a:lnTo>
                  <a:lnTo>
                    <a:pt x="299" y="99"/>
                  </a:lnTo>
                  <a:lnTo>
                    <a:pt x="246" y="110"/>
                  </a:lnTo>
                  <a:lnTo>
                    <a:pt x="198" y="119"/>
                  </a:lnTo>
                  <a:lnTo>
                    <a:pt x="114" y="132"/>
                  </a:lnTo>
                  <a:lnTo>
                    <a:pt x="52" y="141"/>
                  </a:lnTo>
                  <a:lnTo>
                    <a:pt x="14" y="146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84" y="135"/>
                  </a:lnTo>
                  <a:lnTo>
                    <a:pt x="170" y="121"/>
                  </a:lnTo>
                  <a:lnTo>
                    <a:pt x="256" y="105"/>
                  </a:lnTo>
                  <a:lnTo>
                    <a:pt x="343" y="89"/>
                  </a:lnTo>
                  <a:lnTo>
                    <a:pt x="432" y="69"/>
                  </a:lnTo>
                  <a:lnTo>
                    <a:pt x="520" y="48"/>
                  </a:lnTo>
                  <a:lnTo>
                    <a:pt x="608" y="25"/>
                  </a:lnTo>
                  <a:lnTo>
                    <a:pt x="697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3" name="Freeform 26"/>
            <p:cNvSpPr>
              <a:spLocks/>
            </p:cNvSpPr>
            <p:nvPr/>
          </p:nvSpPr>
          <p:spPr bwMode="auto">
            <a:xfrm flipH="1">
              <a:off x="5400086" y="3516179"/>
              <a:ext cx="127719" cy="21929"/>
            </a:xfrm>
            <a:custGeom>
              <a:avLst/>
              <a:gdLst>
                <a:gd name="T0" fmla="*/ 697 w 697"/>
                <a:gd name="T1" fmla="*/ 0 h 147"/>
                <a:gd name="T2" fmla="*/ 697 w 697"/>
                <a:gd name="T3" fmla="*/ 0 h 147"/>
                <a:gd name="T4" fmla="*/ 623 w 697"/>
                <a:gd name="T5" fmla="*/ 22 h 147"/>
                <a:gd name="T6" fmla="*/ 551 w 697"/>
                <a:gd name="T7" fmla="*/ 41 h 147"/>
                <a:gd name="T8" fmla="*/ 482 w 697"/>
                <a:gd name="T9" fmla="*/ 58 h 147"/>
                <a:gd name="T10" fmla="*/ 418 w 697"/>
                <a:gd name="T11" fmla="*/ 74 h 147"/>
                <a:gd name="T12" fmla="*/ 357 w 697"/>
                <a:gd name="T13" fmla="*/ 88 h 147"/>
                <a:gd name="T14" fmla="*/ 299 w 697"/>
                <a:gd name="T15" fmla="*/ 99 h 147"/>
                <a:gd name="T16" fmla="*/ 246 w 697"/>
                <a:gd name="T17" fmla="*/ 110 h 147"/>
                <a:gd name="T18" fmla="*/ 198 w 697"/>
                <a:gd name="T19" fmla="*/ 119 h 147"/>
                <a:gd name="T20" fmla="*/ 114 w 697"/>
                <a:gd name="T21" fmla="*/ 132 h 147"/>
                <a:gd name="T22" fmla="*/ 52 w 697"/>
                <a:gd name="T23" fmla="*/ 141 h 147"/>
                <a:gd name="T24" fmla="*/ 14 w 697"/>
                <a:gd name="T25" fmla="*/ 146 h 147"/>
                <a:gd name="T26" fmla="*/ 0 w 697"/>
                <a:gd name="T27" fmla="*/ 147 h 147"/>
                <a:gd name="T28" fmla="*/ 0 w 697"/>
                <a:gd name="T29" fmla="*/ 147 h 147"/>
                <a:gd name="T30" fmla="*/ 84 w 697"/>
                <a:gd name="T31" fmla="*/ 135 h 147"/>
                <a:gd name="T32" fmla="*/ 170 w 697"/>
                <a:gd name="T33" fmla="*/ 121 h 147"/>
                <a:gd name="T34" fmla="*/ 256 w 697"/>
                <a:gd name="T35" fmla="*/ 105 h 147"/>
                <a:gd name="T36" fmla="*/ 343 w 697"/>
                <a:gd name="T37" fmla="*/ 89 h 147"/>
                <a:gd name="T38" fmla="*/ 432 w 697"/>
                <a:gd name="T39" fmla="*/ 69 h 147"/>
                <a:gd name="T40" fmla="*/ 520 w 697"/>
                <a:gd name="T41" fmla="*/ 48 h 147"/>
                <a:gd name="T42" fmla="*/ 608 w 697"/>
                <a:gd name="T43" fmla="*/ 25 h 147"/>
                <a:gd name="T44" fmla="*/ 697 w 697"/>
                <a:gd name="T45" fmla="*/ 0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97" h="147">
                  <a:moveTo>
                    <a:pt x="697" y="0"/>
                  </a:moveTo>
                  <a:lnTo>
                    <a:pt x="697" y="0"/>
                  </a:lnTo>
                  <a:lnTo>
                    <a:pt x="623" y="22"/>
                  </a:lnTo>
                  <a:lnTo>
                    <a:pt x="551" y="41"/>
                  </a:lnTo>
                  <a:lnTo>
                    <a:pt x="482" y="58"/>
                  </a:lnTo>
                  <a:lnTo>
                    <a:pt x="418" y="74"/>
                  </a:lnTo>
                  <a:lnTo>
                    <a:pt x="357" y="88"/>
                  </a:lnTo>
                  <a:lnTo>
                    <a:pt x="299" y="99"/>
                  </a:lnTo>
                  <a:lnTo>
                    <a:pt x="246" y="110"/>
                  </a:lnTo>
                  <a:lnTo>
                    <a:pt x="198" y="119"/>
                  </a:lnTo>
                  <a:lnTo>
                    <a:pt x="114" y="132"/>
                  </a:lnTo>
                  <a:lnTo>
                    <a:pt x="52" y="141"/>
                  </a:lnTo>
                  <a:lnTo>
                    <a:pt x="14" y="146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84" y="135"/>
                  </a:lnTo>
                  <a:lnTo>
                    <a:pt x="170" y="121"/>
                  </a:lnTo>
                  <a:lnTo>
                    <a:pt x="256" y="105"/>
                  </a:lnTo>
                  <a:lnTo>
                    <a:pt x="343" y="89"/>
                  </a:lnTo>
                  <a:lnTo>
                    <a:pt x="432" y="69"/>
                  </a:lnTo>
                  <a:lnTo>
                    <a:pt x="520" y="48"/>
                  </a:lnTo>
                  <a:lnTo>
                    <a:pt x="608" y="25"/>
                  </a:lnTo>
                  <a:lnTo>
                    <a:pt x="69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4" name="Freeform 27"/>
            <p:cNvSpPr>
              <a:spLocks/>
            </p:cNvSpPr>
            <p:nvPr/>
          </p:nvSpPr>
          <p:spPr bwMode="auto">
            <a:xfrm flipH="1">
              <a:off x="5393636" y="3514889"/>
              <a:ext cx="3871" cy="1290"/>
            </a:xfrm>
            <a:custGeom>
              <a:avLst/>
              <a:gdLst>
                <a:gd name="T0" fmla="*/ 16 w 16"/>
                <a:gd name="T1" fmla="*/ 0 h 5"/>
                <a:gd name="T2" fmla="*/ 16 w 16"/>
                <a:gd name="T3" fmla="*/ 0 h 5"/>
                <a:gd name="T4" fmla="*/ 0 w 16"/>
                <a:gd name="T5" fmla="*/ 5 h 5"/>
                <a:gd name="T6" fmla="*/ 0 w 16"/>
                <a:gd name="T7" fmla="*/ 5 h 5"/>
                <a:gd name="T8" fmla="*/ 16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16" y="0"/>
                  </a:moveTo>
                  <a:lnTo>
                    <a:pt x="16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5" name="Freeform 28"/>
            <p:cNvSpPr>
              <a:spLocks/>
            </p:cNvSpPr>
            <p:nvPr/>
          </p:nvSpPr>
          <p:spPr bwMode="auto">
            <a:xfrm flipH="1">
              <a:off x="5393636" y="3514889"/>
              <a:ext cx="3871" cy="1290"/>
            </a:xfrm>
            <a:custGeom>
              <a:avLst/>
              <a:gdLst>
                <a:gd name="T0" fmla="*/ 16 w 16"/>
                <a:gd name="T1" fmla="*/ 0 h 5"/>
                <a:gd name="T2" fmla="*/ 16 w 16"/>
                <a:gd name="T3" fmla="*/ 0 h 5"/>
                <a:gd name="T4" fmla="*/ 0 w 16"/>
                <a:gd name="T5" fmla="*/ 5 h 5"/>
                <a:gd name="T6" fmla="*/ 0 w 16"/>
                <a:gd name="T7" fmla="*/ 5 h 5"/>
                <a:gd name="T8" fmla="*/ 16 w 16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5">
                  <a:moveTo>
                    <a:pt x="16" y="0"/>
                  </a:moveTo>
                  <a:lnTo>
                    <a:pt x="16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6" name="Freeform 29"/>
            <p:cNvSpPr>
              <a:spLocks/>
            </p:cNvSpPr>
            <p:nvPr/>
          </p:nvSpPr>
          <p:spPr bwMode="auto">
            <a:xfrm flipH="1">
              <a:off x="5233665" y="3294314"/>
              <a:ext cx="316072" cy="243795"/>
            </a:xfrm>
            <a:custGeom>
              <a:avLst/>
              <a:gdLst>
                <a:gd name="T0" fmla="*/ 1379 w 1718"/>
                <a:gd name="T1" fmla="*/ 0 h 1694"/>
                <a:gd name="T2" fmla="*/ 1718 w 1718"/>
                <a:gd name="T3" fmla="*/ 1165 h 1694"/>
                <a:gd name="T4" fmla="*/ 1664 w 1718"/>
                <a:gd name="T5" fmla="*/ 1196 h 1694"/>
                <a:gd name="T6" fmla="*/ 1554 w 1718"/>
                <a:gd name="T7" fmla="*/ 1254 h 1694"/>
                <a:gd name="T8" fmla="*/ 1445 w 1718"/>
                <a:gd name="T9" fmla="*/ 1309 h 1694"/>
                <a:gd name="T10" fmla="*/ 1337 w 1718"/>
                <a:gd name="T11" fmla="*/ 1357 h 1694"/>
                <a:gd name="T12" fmla="*/ 1229 w 1718"/>
                <a:gd name="T13" fmla="*/ 1403 h 1694"/>
                <a:gd name="T14" fmla="*/ 1124 w 1718"/>
                <a:gd name="T15" fmla="*/ 1444 h 1694"/>
                <a:gd name="T16" fmla="*/ 1022 w 1718"/>
                <a:gd name="T17" fmla="*/ 1481 h 1694"/>
                <a:gd name="T18" fmla="*/ 873 w 1718"/>
                <a:gd name="T19" fmla="*/ 1530 h 1694"/>
                <a:gd name="T20" fmla="*/ 868 w 1718"/>
                <a:gd name="T21" fmla="*/ 1532 h 1694"/>
                <a:gd name="T22" fmla="*/ 846 w 1718"/>
                <a:gd name="T23" fmla="*/ 1538 h 1694"/>
                <a:gd name="T24" fmla="*/ 830 w 1718"/>
                <a:gd name="T25" fmla="*/ 1543 h 1694"/>
                <a:gd name="T26" fmla="*/ 815 w 1718"/>
                <a:gd name="T27" fmla="*/ 1547 h 1694"/>
                <a:gd name="T28" fmla="*/ 726 w 1718"/>
                <a:gd name="T29" fmla="*/ 1572 h 1694"/>
                <a:gd name="T30" fmla="*/ 550 w 1718"/>
                <a:gd name="T31" fmla="*/ 1616 h 1694"/>
                <a:gd name="T32" fmla="*/ 374 w 1718"/>
                <a:gd name="T33" fmla="*/ 1652 h 1694"/>
                <a:gd name="T34" fmla="*/ 202 w 1718"/>
                <a:gd name="T35" fmla="*/ 1682 h 1694"/>
                <a:gd name="T36" fmla="*/ 118 w 1718"/>
                <a:gd name="T37" fmla="*/ 1694 h 1694"/>
                <a:gd name="T38" fmla="*/ 0 w 1718"/>
                <a:gd name="T39" fmla="*/ 486 h 1694"/>
                <a:gd name="T40" fmla="*/ 215 w 1718"/>
                <a:gd name="T41" fmla="*/ 450 h 1694"/>
                <a:gd name="T42" fmla="*/ 420 w 1718"/>
                <a:gd name="T43" fmla="*/ 406 h 1694"/>
                <a:gd name="T44" fmla="*/ 566 w 1718"/>
                <a:gd name="T45" fmla="*/ 369 h 1694"/>
                <a:gd name="T46" fmla="*/ 660 w 1718"/>
                <a:gd name="T47" fmla="*/ 341 h 1694"/>
                <a:gd name="T48" fmla="*/ 750 w 1718"/>
                <a:gd name="T49" fmla="*/ 311 h 1694"/>
                <a:gd name="T50" fmla="*/ 839 w 1718"/>
                <a:gd name="T51" fmla="*/ 280 h 1694"/>
                <a:gd name="T52" fmla="*/ 923 w 1718"/>
                <a:gd name="T53" fmla="*/ 248 h 1694"/>
                <a:gd name="T54" fmla="*/ 1003 w 1718"/>
                <a:gd name="T55" fmla="*/ 213 h 1694"/>
                <a:gd name="T56" fmla="*/ 1081 w 1718"/>
                <a:gd name="T57" fmla="*/ 178 h 1694"/>
                <a:gd name="T58" fmla="*/ 1154 w 1718"/>
                <a:gd name="T59" fmla="*/ 141 h 1694"/>
                <a:gd name="T60" fmla="*/ 1223 w 1718"/>
                <a:gd name="T61" fmla="*/ 102 h 1694"/>
                <a:gd name="T62" fmla="*/ 1289 w 1718"/>
                <a:gd name="T63" fmla="*/ 62 h 1694"/>
                <a:gd name="T64" fmla="*/ 1350 w 1718"/>
                <a:gd name="T65" fmla="*/ 22 h 1694"/>
                <a:gd name="T66" fmla="*/ 1379 w 1718"/>
                <a:gd name="T67" fmla="*/ 0 h 1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18" h="1694">
                  <a:moveTo>
                    <a:pt x="1379" y="0"/>
                  </a:moveTo>
                  <a:lnTo>
                    <a:pt x="1379" y="0"/>
                  </a:lnTo>
                  <a:lnTo>
                    <a:pt x="1718" y="1165"/>
                  </a:lnTo>
                  <a:lnTo>
                    <a:pt x="1718" y="1165"/>
                  </a:lnTo>
                  <a:lnTo>
                    <a:pt x="1718" y="1165"/>
                  </a:lnTo>
                  <a:lnTo>
                    <a:pt x="1664" y="1196"/>
                  </a:lnTo>
                  <a:lnTo>
                    <a:pt x="1609" y="1226"/>
                  </a:lnTo>
                  <a:lnTo>
                    <a:pt x="1554" y="1254"/>
                  </a:lnTo>
                  <a:lnTo>
                    <a:pt x="1500" y="1281"/>
                  </a:lnTo>
                  <a:lnTo>
                    <a:pt x="1445" y="1309"/>
                  </a:lnTo>
                  <a:lnTo>
                    <a:pt x="1391" y="1334"/>
                  </a:lnTo>
                  <a:lnTo>
                    <a:pt x="1337" y="1357"/>
                  </a:lnTo>
                  <a:lnTo>
                    <a:pt x="1283" y="1380"/>
                  </a:lnTo>
                  <a:lnTo>
                    <a:pt x="1229" y="1403"/>
                  </a:lnTo>
                  <a:lnTo>
                    <a:pt x="1176" y="1424"/>
                  </a:lnTo>
                  <a:lnTo>
                    <a:pt x="1124" y="1444"/>
                  </a:lnTo>
                  <a:lnTo>
                    <a:pt x="1072" y="1463"/>
                  </a:lnTo>
                  <a:lnTo>
                    <a:pt x="1022" y="1481"/>
                  </a:lnTo>
                  <a:lnTo>
                    <a:pt x="971" y="1498"/>
                  </a:lnTo>
                  <a:lnTo>
                    <a:pt x="873" y="1530"/>
                  </a:lnTo>
                  <a:lnTo>
                    <a:pt x="873" y="1530"/>
                  </a:lnTo>
                  <a:lnTo>
                    <a:pt x="868" y="1532"/>
                  </a:lnTo>
                  <a:lnTo>
                    <a:pt x="868" y="1532"/>
                  </a:lnTo>
                  <a:lnTo>
                    <a:pt x="846" y="1538"/>
                  </a:lnTo>
                  <a:lnTo>
                    <a:pt x="846" y="1538"/>
                  </a:lnTo>
                  <a:lnTo>
                    <a:pt x="830" y="1543"/>
                  </a:lnTo>
                  <a:lnTo>
                    <a:pt x="830" y="1543"/>
                  </a:lnTo>
                  <a:lnTo>
                    <a:pt x="815" y="1547"/>
                  </a:lnTo>
                  <a:lnTo>
                    <a:pt x="815" y="1547"/>
                  </a:lnTo>
                  <a:lnTo>
                    <a:pt x="726" y="1572"/>
                  </a:lnTo>
                  <a:lnTo>
                    <a:pt x="638" y="1595"/>
                  </a:lnTo>
                  <a:lnTo>
                    <a:pt x="550" y="1616"/>
                  </a:lnTo>
                  <a:lnTo>
                    <a:pt x="461" y="1636"/>
                  </a:lnTo>
                  <a:lnTo>
                    <a:pt x="374" y="1652"/>
                  </a:lnTo>
                  <a:lnTo>
                    <a:pt x="288" y="1668"/>
                  </a:lnTo>
                  <a:lnTo>
                    <a:pt x="202" y="1682"/>
                  </a:lnTo>
                  <a:lnTo>
                    <a:pt x="118" y="1694"/>
                  </a:lnTo>
                  <a:lnTo>
                    <a:pt x="118" y="1694"/>
                  </a:lnTo>
                  <a:lnTo>
                    <a:pt x="0" y="486"/>
                  </a:lnTo>
                  <a:lnTo>
                    <a:pt x="0" y="486"/>
                  </a:lnTo>
                  <a:lnTo>
                    <a:pt x="108" y="470"/>
                  </a:lnTo>
                  <a:lnTo>
                    <a:pt x="215" y="450"/>
                  </a:lnTo>
                  <a:lnTo>
                    <a:pt x="318" y="429"/>
                  </a:lnTo>
                  <a:lnTo>
                    <a:pt x="420" y="406"/>
                  </a:lnTo>
                  <a:lnTo>
                    <a:pt x="517" y="381"/>
                  </a:lnTo>
                  <a:lnTo>
                    <a:pt x="566" y="369"/>
                  </a:lnTo>
                  <a:lnTo>
                    <a:pt x="613" y="355"/>
                  </a:lnTo>
                  <a:lnTo>
                    <a:pt x="660" y="341"/>
                  </a:lnTo>
                  <a:lnTo>
                    <a:pt x="705" y="326"/>
                  </a:lnTo>
                  <a:lnTo>
                    <a:pt x="750" y="311"/>
                  </a:lnTo>
                  <a:lnTo>
                    <a:pt x="795" y="296"/>
                  </a:lnTo>
                  <a:lnTo>
                    <a:pt x="839" y="280"/>
                  </a:lnTo>
                  <a:lnTo>
                    <a:pt x="880" y="264"/>
                  </a:lnTo>
                  <a:lnTo>
                    <a:pt x="923" y="248"/>
                  </a:lnTo>
                  <a:lnTo>
                    <a:pt x="963" y="231"/>
                  </a:lnTo>
                  <a:lnTo>
                    <a:pt x="1003" y="213"/>
                  </a:lnTo>
                  <a:lnTo>
                    <a:pt x="1042" y="196"/>
                  </a:lnTo>
                  <a:lnTo>
                    <a:pt x="1081" y="178"/>
                  </a:lnTo>
                  <a:lnTo>
                    <a:pt x="1117" y="159"/>
                  </a:lnTo>
                  <a:lnTo>
                    <a:pt x="1154" y="141"/>
                  </a:lnTo>
                  <a:lnTo>
                    <a:pt x="1189" y="122"/>
                  </a:lnTo>
                  <a:lnTo>
                    <a:pt x="1223" y="102"/>
                  </a:lnTo>
                  <a:lnTo>
                    <a:pt x="1256" y="82"/>
                  </a:lnTo>
                  <a:lnTo>
                    <a:pt x="1289" y="62"/>
                  </a:lnTo>
                  <a:lnTo>
                    <a:pt x="1320" y="42"/>
                  </a:lnTo>
                  <a:lnTo>
                    <a:pt x="1350" y="22"/>
                  </a:lnTo>
                  <a:lnTo>
                    <a:pt x="1379" y="0"/>
                  </a:lnTo>
                  <a:lnTo>
                    <a:pt x="1379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7" name="Freeform 30"/>
            <p:cNvSpPr>
              <a:spLocks/>
            </p:cNvSpPr>
            <p:nvPr/>
          </p:nvSpPr>
          <p:spPr bwMode="auto">
            <a:xfrm flipH="1">
              <a:off x="5415568" y="2819624"/>
              <a:ext cx="198674" cy="201227"/>
            </a:xfrm>
            <a:custGeom>
              <a:avLst/>
              <a:gdLst>
                <a:gd name="T0" fmla="*/ 0 w 1077"/>
                <a:gd name="T1" fmla="*/ 252 h 1409"/>
                <a:gd name="T2" fmla="*/ 0 w 1077"/>
                <a:gd name="T3" fmla="*/ 252 h 1409"/>
                <a:gd name="T4" fmla="*/ 58 w 1077"/>
                <a:gd name="T5" fmla="*/ 243 h 1409"/>
                <a:gd name="T6" fmla="*/ 116 w 1077"/>
                <a:gd name="T7" fmla="*/ 233 h 1409"/>
                <a:gd name="T8" fmla="*/ 172 w 1077"/>
                <a:gd name="T9" fmla="*/ 222 h 1409"/>
                <a:gd name="T10" fmla="*/ 227 w 1077"/>
                <a:gd name="T11" fmla="*/ 211 h 1409"/>
                <a:gd name="T12" fmla="*/ 281 w 1077"/>
                <a:gd name="T13" fmla="*/ 197 h 1409"/>
                <a:gd name="T14" fmla="*/ 333 w 1077"/>
                <a:gd name="T15" fmla="*/ 184 h 1409"/>
                <a:gd name="T16" fmla="*/ 384 w 1077"/>
                <a:gd name="T17" fmla="*/ 169 h 1409"/>
                <a:gd name="T18" fmla="*/ 433 w 1077"/>
                <a:gd name="T19" fmla="*/ 153 h 1409"/>
                <a:gd name="T20" fmla="*/ 481 w 1077"/>
                <a:gd name="T21" fmla="*/ 137 h 1409"/>
                <a:gd name="T22" fmla="*/ 526 w 1077"/>
                <a:gd name="T23" fmla="*/ 120 h 1409"/>
                <a:gd name="T24" fmla="*/ 570 w 1077"/>
                <a:gd name="T25" fmla="*/ 101 h 1409"/>
                <a:gd name="T26" fmla="*/ 613 w 1077"/>
                <a:gd name="T27" fmla="*/ 83 h 1409"/>
                <a:gd name="T28" fmla="*/ 653 w 1077"/>
                <a:gd name="T29" fmla="*/ 63 h 1409"/>
                <a:gd name="T30" fmla="*/ 692 w 1077"/>
                <a:gd name="T31" fmla="*/ 43 h 1409"/>
                <a:gd name="T32" fmla="*/ 729 w 1077"/>
                <a:gd name="T33" fmla="*/ 22 h 1409"/>
                <a:gd name="T34" fmla="*/ 763 w 1077"/>
                <a:gd name="T35" fmla="*/ 0 h 1409"/>
                <a:gd name="T36" fmla="*/ 763 w 1077"/>
                <a:gd name="T37" fmla="*/ 0 h 1409"/>
                <a:gd name="T38" fmla="*/ 1077 w 1077"/>
                <a:gd name="T39" fmla="*/ 1082 h 1409"/>
                <a:gd name="T40" fmla="*/ 1077 w 1077"/>
                <a:gd name="T41" fmla="*/ 1082 h 1409"/>
                <a:gd name="T42" fmla="*/ 1035 w 1077"/>
                <a:gd name="T43" fmla="*/ 1110 h 1409"/>
                <a:gd name="T44" fmla="*/ 989 w 1077"/>
                <a:gd name="T45" fmla="*/ 1137 h 1409"/>
                <a:gd name="T46" fmla="*/ 941 w 1077"/>
                <a:gd name="T47" fmla="*/ 1164 h 1409"/>
                <a:gd name="T48" fmla="*/ 890 w 1077"/>
                <a:gd name="T49" fmla="*/ 1189 h 1409"/>
                <a:gd name="T50" fmla="*/ 837 w 1077"/>
                <a:gd name="T51" fmla="*/ 1214 h 1409"/>
                <a:gd name="T52" fmla="*/ 782 w 1077"/>
                <a:gd name="T53" fmla="*/ 1237 h 1409"/>
                <a:gd name="T54" fmla="*/ 724 w 1077"/>
                <a:gd name="T55" fmla="*/ 1260 h 1409"/>
                <a:gd name="T56" fmla="*/ 664 w 1077"/>
                <a:gd name="T57" fmla="*/ 1281 h 1409"/>
                <a:gd name="T58" fmla="*/ 602 w 1077"/>
                <a:gd name="T59" fmla="*/ 1302 h 1409"/>
                <a:gd name="T60" fmla="*/ 538 w 1077"/>
                <a:gd name="T61" fmla="*/ 1320 h 1409"/>
                <a:gd name="T62" fmla="*/ 471 w 1077"/>
                <a:gd name="T63" fmla="*/ 1338 h 1409"/>
                <a:gd name="T64" fmla="*/ 404 w 1077"/>
                <a:gd name="T65" fmla="*/ 1355 h 1409"/>
                <a:gd name="T66" fmla="*/ 333 w 1077"/>
                <a:gd name="T67" fmla="*/ 1370 h 1409"/>
                <a:gd name="T68" fmla="*/ 261 w 1077"/>
                <a:gd name="T69" fmla="*/ 1385 h 1409"/>
                <a:gd name="T70" fmla="*/ 188 w 1077"/>
                <a:gd name="T71" fmla="*/ 1398 h 1409"/>
                <a:gd name="T72" fmla="*/ 114 w 1077"/>
                <a:gd name="T73" fmla="*/ 1409 h 1409"/>
                <a:gd name="T74" fmla="*/ 114 w 1077"/>
                <a:gd name="T75" fmla="*/ 1409 h 1409"/>
                <a:gd name="T76" fmla="*/ 0 w 1077"/>
                <a:gd name="T77" fmla="*/ 252 h 1409"/>
                <a:gd name="T78" fmla="*/ 0 w 1077"/>
                <a:gd name="T79" fmla="*/ 252 h 1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77" h="1409">
                  <a:moveTo>
                    <a:pt x="0" y="252"/>
                  </a:moveTo>
                  <a:lnTo>
                    <a:pt x="0" y="252"/>
                  </a:lnTo>
                  <a:lnTo>
                    <a:pt x="58" y="243"/>
                  </a:lnTo>
                  <a:lnTo>
                    <a:pt x="116" y="233"/>
                  </a:lnTo>
                  <a:lnTo>
                    <a:pt x="172" y="222"/>
                  </a:lnTo>
                  <a:lnTo>
                    <a:pt x="227" y="211"/>
                  </a:lnTo>
                  <a:lnTo>
                    <a:pt x="281" y="197"/>
                  </a:lnTo>
                  <a:lnTo>
                    <a:pt x="333" y="184"/>
                  </a:lnTo>
                  <a:lnTo>
                    <a:pt x="384" y="169"/>
                  </a:lnTo>
                  <a:lnTo>
                    <a:pt x="433" y="153"/>
                  </a:lnTo>
                  <a:lnTo>
                    <a:pt x="481" y="137"/>
                  </a:lnTo>
                  <a:lnTo>
                    <a:pt x="526" y="120"/>
                  </a:lnTo>
                  <a:lnTo>
                    <a:pt x="570" y="101"/>
                  </a:lnTo>
                  <a:lnTo>
                    <a:pt x="613" y="83"/>
                  </a:lnTo>
                  <a:lnTo>
                    <a:pt x="653" y="63"/>
                  </a:lnTo>
                  <a:lnTo>
                    <a:pt x="692" y="43"/>
                  </a:lnTo>
                  <a:lnTo>
                    <a:pt x="729" y="22"/>
                  </a:lnTo>
                  <a:lnTo>
                    <a:pt x="763" y="0"/>
                  </a:lnTo>
                  <a:lnTo>
                    <a:pt x="763" y="0"/>
                  </a:lnTo>
                  <a:lnTo>
                    <a:pt x="1077" y="1082"/>
                  </a:lnTo>
                  <a:lnTo>
                    <a:pt x="1077" y="1082"/>
                  </a:lnTo>
                  <a:lnTo>
                    <a:pt x="1035" y="1110"/>
                  </a:lnTo>
                  <a:lnTo>
                    <a:pt x="989" y="1137"/>
                  </a:lnTo>
                  <a:lnTo>
                    <a:pt x="941" y="1164"/>
                  </a:lnTo>
                  <a:lnTo>
                    <a:pt x="890" y="1189"/>
                  </a:lnTo>
                  <a:lnTo>
                    <a:pt x="837" y="1214"/>
                  </a:lnTo>
                  <a:lnTo>
                    <a:pt x="782" y="1237"/>
                  </a:lnTo>
                  <a:lnTo>
                    <a:pt x="724" y="1260"/>
                  </a:lnTo>
                  <a:lnTo>
                    <a:pt x="664" y="1281"/>
                  </a:lnTo>
                  <a:lnTo>
                    <a:pt x="602" y="1302"/>
                  </a:lnTo>
                  <a:lnTo>
                    <a:pt x="538" y="1320"/>
                  </a:lnTo>
                  <a:lnTo>
                    <a:pt x="471" y="1338"/>
                  </a:lnTo>
                  <a:lnTo>
                    <a:pt x="404" y="1355"/>
                  </a:lnTo>
                  <a:lnTo>
                    <a:pt x="333" y="1370"/>
                  </a:lnTo>
                  <a:lnTo>
                    <a:pt x="261" y="1385"/>
                  </a:lnTo>
                  <a:lnTo>
                    <a:pt x="188" y="1398"/>
                  </a:lnTo>
                  <a:lnTo>
                    <a:pt x="114" y="1409"/>
                  </a:lnTo>
                  <a:lnTo>
                    <a:pt x="114" y="1409"/>
                  </a:lnTo>
                  <a:lnTo>
                    <a:pt x="0" y="252"/>
                  </a:lnTo>
                  <a:lnTo>
                    <a:pt x="0" y="25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8" name="Freeform 31"/>
            <p:cNvSpPr>
              <a:spLocks/>
            </p:cNvSpPr>
            <p:nvPr/>
          </p:nvSpPr>
          <p:spPr bwMode="auto">
            <a:xfrm flipH="1">
              <a:off x="5295589" y="3138233"/>
              <a:ext cx="276079" cy="225736"/>
            </a:xfrm>
            <a:custGeom>
              <a:avLst/>
              <a:gdLst>
                <a:gd name="T0" fmla="*/ 1177 w 1494"/>
                <a:gd name="T1" fmla="*/ 0 h 1575"/>
                <a:gd name="T2" fmla="*/ 1177 w 1494"/>
                <a:gd name="T3" fmla="*/ 0 h 1575"/>
                <a:gd name="T4" fmla="*/ 1494 w 1494"/>
                <a:gd name="T5" fmla="*/ 1089 h 1575"/>
                <a:gd name="T6" fmla="*/ 1494 w 1494"/>
                <a:gd name="T7" fmla="*/ 1089 h 1575"/>
                <a:gd name="T8" fmla="*/ 1465 w 1494"/>
                <a:gd name="T9" fmla="*/ 1111 h 1575"/>
                <a:gd name="T10" fmla="*/ 1435 w 1494"/>
                <a:gd name="T11" fmla="*/ 1131 h 1575"/>
                <a:gd name="T12" fmla="*/ 1404 w 1494"/>
                <a:gd name="T13" fmla="*/ 1151 h 1575"/>
                <a:gd name="T14" fmla="*/ 1371 w 1494"/>
                <a:gd name="T15" fmla="*/ 1171 h 1575"/>
                <a:gd name="T16" fmla="*/ 1338 w 1494"/>
                <a:gd name="T17" fmla="*/ 1191 h 1575"/>
                <a:gd name="T18" fmla="*/ 1304 w 1494"/>
                <a:gd name="T19" fmla="*/ 1211 h 1575"/>
                <a:gd name="T20" fmla="*/ 1269 w 1494"/>
                <a:gd name="T21" fmla="*/ 1230 h 1575"/>
                <a:gd name="T22" fmla="*/ 1232 w 1494"/>
                <a:gd name="T23" fmla="*/ 1248 h 1575"/>
                <a:gd name="T24" fmla="*/ 1196 w 1494"/>
                <a:gd name="T25" fmla="*/ 1267 h 1575"/>
                <a:gd name="T26" fmla="*/ 1157 w 1494"/>
                <a:gd name="T27" fmla="*/ 1285 h 1575"/>
                <a:gd name="T28" fmla="*/ 1118 w 1494"/>
                <a:gd name="T29" fmla="*/ 1302 h 1575"/>
                <a:gd name="T30" fmla="*/ 1078 w 1494"/>
                <a:gd name="T31" fmla="*/ 1320 h 1575"/>
                <a:gd name="T32" fmla="*/ 1038 w 1494"/>
                <a:gd name="T33" fmla="*/ 1337 h 1575"/>
                <a:gd name="T34" fmla="*/ 995 w 1494"/>
                <a:gd name="T35" fmla="*/ 1353 h 1575"/>
                <a:gd name="T36" fmla="*/ 954 w 1494"/>
                <a:gd name="T37" fmla="*/ 1369 h 1575"/>
                <a:gd name="T38" fmla="*/ 910 w 1494"/>
                <a:gd name="T39" fmla="*/ 1385 h 1575"/>
                <a:gd name="T40" fmla="*/ 865 w 1494"/>
                <a:gd name="T41" fmla="*/ 1400 h 1575"/>
                <a:gd name="T42" fmla="*/ 820 w 1494"/>
                <a:gd name="T43" fmla="*/ 1415 h 1575"/>
                <a:gd name="T44" fmla="*/ 775 w 1494"/>
                <a:gd name="T45" fmla="*/ 1430 h 1575"/>
                <a:gd name="T46" fmla="*/ 728 w 1494"/>
                <a:gd name="T47" fmla="*/ 1444 h 1575"/>
                <a:gd name="T48" fmla="*/ 681 w 1494"/>
                <a:gd name="T49" fmla="*/ 1458 h 1575"/>
                <a:gd name="T50" fmla="*/ 632 w 1494"/>
                <a:gd name="T51" fmla="*/ 1470 h 1575"/>
                <a:gd name="T52" fmla="*/ 535 w 1494"/>
                <a:gd name="T53" fmla="*/ 1495 h 1575"/>
                <a:gd name="T54" fmla="*/ 433 w 1494"/>
                <a:gd name="T55" fmla="*/ 1518 h 1575"/>
                <a:gd name="T56" fmla="*/ 330 w 1494"/>
                <a:gd name="T57" fmla="*/ 1539 h 1575"/>
                <a:gd name="T58" fmla="*/ 223 w 1494"/>
                <a:gd name="T59" fmla="*/ 1559 h 1575"/>
                <a:gd name="T60" fmla="*/ 115 w 1494"/>
                <a:gd name="T61" fmla="*/ 1575 h 1575"/>
                <a:gd name="T62" fmla="*/ 115 w 1494"/>
                <a:gd name="T63" fmla="*/ 1575 h 1575"/>
                <a:gd name="T64" fmla="*/ 0 w 1494"/>
                <a:gd name="T65" fmla="*/ 413 h 1575"/>
                <a:gd name="T66" fmla="*/ 0 w 1494"/>
                <a:gd name="T67" fmla="*/ 413 h 1575"/>
                <a:gd name="T68" fmla="*/ 93 w 1494"/>
                <a:gd name="T69" fmla="*/ 398 h 1575"/>
                <a:gd name="T70" fmla="*/ 183 w 1494"/>
                <a:gd name="T71" fmla="*/ 381 h 1575"/>
                <a:gd name="T72" fmla="*/ 272 w 1494"/>
                <a:gd name="T73" fmla="*/ 364 h 1575"/>
                <a:gd name="T74" fmla="*/ 358 w 1494"/>
                <a:gd name="T75" fmla="*/ 345 h 1575"/>
                <a:gd name="T76" fmla="*/ 441 w 1494"/>
                <a:gd name="T77" fmla="*/ 323 h 1575"/>
                <a:gd name="T78" fmla="*/ 522 w 1494"/>
                <a:gd name="T79" fmla="*/ 301 h 1575"/>
                <a:gd name="T80" fmla="*/ 601 w 1494"/>
                <a:gd name="T81" fmla="*/ 276 h 1575"/>
                <a:gd name="T82" fmla="*/ 677 w 1494"/>
                <a:gd name="T83" fmla="*/ 251 h 1575"/>
                <a:gd name="T84" fmla="*/ 751 w 1494"/>
                <a:gd name="T85" fmla="*/ 224 h 1575"/>
                <a:gd name="T86" fmla="*/ 821 w 1494"/>
                <a:gd name="T87" fmla="*/ 196 h 1575"/>
                <a:gd name="T88" fmla="*/ 889 w 1494"/>
                <a:gd name="T89" fmla="*/ 166 h 1575"/>
                <a:gd name="T90" fmla="*/ 954 w 1494"/>
                <a:gd name="T91" fmla="*/ 135 h 1575"/>
                <a:gd name="T92" fmla="*/ 984 w 1494"/>
                <a:gd name="T93" fmla="*/ 120 h 1575"/>
                <a:gd name="T94" fmla="*/ 1014 w 1494"/>
                <a:gd name="T95" fmla="*/ 103 h 1575"/>
                <a:gd name="T96" fmla="*/ 1044 w 1494"/>
                <a:gd name="T97" fmla="*/ 86 h 1575"/>
                <a:gd name="T98" fmla="*/ 1072 w 1494"/>
                <a:gd name="T99" fmla="*/ 70 h 1575"/>
                <a:gd name="T100" fmla="*/ 1100 w 1494"/>
                <a:gd name="T101" fmla="*/ 53 h 1575"/>
                <a:gd name="T102" fmla="*/ 1126 w 1494"/>
                <a:gd name="T103" fmla="*/ 35 h 1575"/>
                <a:gd name="T104" fmla="*/ 1152 w 1494"/>
                <a:gd name="T105" fmla="*/ 18 h 1575"/>
                <a:gd name="T106" fmla="*/ 1177 w 1494"/>
                <a:gd name="T107" fmla="*/ 0 h 1575"/>
                <a:gd name="T108" fmla="*/ 1177 w 1494"/>
                <a:gd name="T109" fmla="*/ 0 h 1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94" h="1575">
                  <a:moveTo>
                    <a:pt x="1177" y="0"/>
                  </a:moveTo>
                  <a:lnTo>
                    <a:pt x="1177" y="0"/>
                  </a:lnTo>
                  <a:lnTo>
                    <a:pt x="1494" y="1089"/>
                  </a:lnTo>
                  <a:lnTo>
                    <a:pt x="1494" y="1089"/>
                  </a:lnTo>
                  <a:lnTo>
                    <a:pt x="1465" y="1111"/>
                  </a:lnTo>
                  <a:lnTo>
                    <a:pt x="1435" y="1131"/>
                  </a:lnTo>
                  <a:lnTo>
                    <a:pt x="1404" y="1151"/>
                  </a:lnTo>
                  <a:lnTo>
                    <a:pt x="1371" y="1171"/>
                  </a:lnTo>
                  <a:lnTo>
                    <a:pt x="1338" y="1191"/>
                  </a:lnTo>
                  <a:lnTo>
                    <a:pt x="1304" y="1211"/>
                  </a:lnTo>
                  <a:lnTo>
                    <a:pt x="1269" y="1230"/>
                  </a:lnTo>
                  <a:lnTo>
                    <a:pt x="1232" y="1248"/>
                  </a:lnTo>
                  <a:lnTo>
                    <a:pt x="1196" y="1267"/>
                  </a:lnTo>
                  <a:lnTo>
                    <a:pt x="1157" y="1285"/>
                  </a:lnTo>
                  <a:lnTo>
                    <a:pt x="1118" y="1302"/>
                  </a:lnTo>
                  <a:lnTo>
                    <a:pt x="1078" y="1320"/>
                  </a:lnTo>
                  <a:lnTo>
                    <a:pt x="1038" y="1337"/>
                  </a:lnTo>
                  <a:lnTo>
                    <a:pt x="995" y="1353"/>
                  </a:lnTo>
                  <a:lnTo>
                    <a:pt x="954" y="1369"/>
                  </a:lnTo>
                  <a:lnTo>
                    <a:pt x="910" y="1385"/>
                  </a:lnTo>
                  <a:lnTo>
                    <a:pt x="865" y="1400"/>
                  </a:lnTo>
                  <a:lnTo>
                    <a:pt x="820" y="1415"/>
                  </a:lnTo>
                  <a:lnTo>
                    <a:pt x="775" y="1430"/>
                  </a:lnTo>
                  <a:lnTo>
                    <a:pt x="728" y="1444"/>
                  </a:lnTo>
                  <a:lnTo>
                    <a:pt x="681" y="1458"/>
                  </a:lnTo>
                  <a:lnTo>
                    <a:pt x="632" y="1470"/>
                  </a:lnTo>
                  <a:lnTo>
                    <a:pt x="535" y="1495"/>
                  </a:lnTo>
                  <a:lnTo>
                    <a:pt x="433" y="1518"/>
                  </a:lnTo>
                  <a:lnTo>
                    <a:pt x="330" y="1539"/>
                  </a:lnTo>
                  <a:lnTo>
                    <a:pt x="223" y="1559"/>
                  </a:lnTo>
                  <a:lnTo>
                    <a:pt x="115" y="1575"/>
                  </a:lnTo>
                  <a:lnTo>
                    <a:pt x="115" y="1575"/>
                  </a:lnTo>
                  <a:lnTo>
                    <a:pt x="0" y="413"/>
                  </a:lnTo>
                  <a:lnTo>
                    <a:pt x="0" y="413"/>
                  </a:lnTo>
                  <a:lnTo>
                    <a:pt x="93" y="398"/>
                  </a:lnTo>
                  <a:lnTo>
                    <a:pt x="183" y="381"/>
                  </a:lnTo>
                  <a:lnTo>
                    <a:pt x="272" y="364"/>
                  </a:lnTo>
                  <a:lnTo>
                    <a:pt x="358" y="345"/>
                  </a:lnTo>
                  <a:lnTo>
                    <a:pt x="441" y="323"/>
                  </a:lnTo>
                  <a:lnTo>
                    <a:pt x="522" y="301"/>
                  </a:lnTo>
                  <a:lnTo>
                    <a:pt x="601" y="276"/>
                  </a:lnTo>
                  <a:lnTo>
                    <a:pt x="677" y="251"/>
                  </a:lnTo>
                  <a:lnTo>
                    <a:pt x="751" y="224"/>
                  </a:lnTo>
                  <a:lnTo>
                    <a:pt x="821" y="196"/>
                  </a:lnTo>
                  <a:lnTo>
                    <a:pt x="889" y="166"/>
                  </a:lnTo>
                  <a:lnTo>
                    <a:pt x="954" y="135"/>
                  </a:lnTo>
                  <a:lnTo>
                    <a:pt x="984" y="120"/>
                  </a:lnTo>
                  <a:lnTo>
                    <a:pt x="1014" y="103"/>
                  </a:lnTo>
                  <a:lnTo>
                    <a:pt x="1044" y="86"/>
                  </a:lnTo>
                  <a:lnTo>
                    <a:pt x="1072" y="70"/>
                  </a:lnTo>
                  <a:lnTo>
                    <a:pt x="1100" y="53"/>
                  </a:lnTo>
                  <a:lnTo>
                    <a:pt x="1126" y="35"/>
                  </a:lnTo>
                  <a:lnTo>
                    <a:pt x="1152" y="18"/>
                  </a:lnTo>
                  <a:lnTo>
                    <a:pt x="1177" y="0"/>
                  </a:lnTo>
                  <a:lnTo>
                    <a:pt x="1177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39" name="Freeform 32"/>
            <p:cNvSpPr>
              <a:spLocks/>
            </p:cNvSpPr>
            <p:nvPr/>
          </p:nvSpPr>
          <p:spPr bwMode="auto">
            <a:xfrm flipH="1">
              <a:off x="5353643" y="2974414"/>
              <a:ext cx="239957" cy="223156"/>
            </a:xfrm>
            <a:custGeom>
              <a:avLst/>
              <a:gdLst>
                <a:gd name="T0" fmla="*/ 0 w 1297"/>
                <a:gd name="T1" fmla="*/ 327 h 1560"/>
                <a:gd name="T2" fmla="*/ 0 w 1297"/>
                <a:gd name="T3" fmla="*/ 327 h 1560"/>
                <a:gd name="T4" fmla="*/ 74 w 1297"/>
                <a:gd name="T5" fmla="*/ 316 h 1560"/>
                <a:gd name="T6" fmla="*/ 147 w 1297"/>
                <a:gd name="T7" fmla="*/ 303 h 1560"/>
                <a:gd name="T8" fmla="*/ 219 w 1297"/>
                <a:gd name="T9" fmla="*/ 288 h 1560"/>
                <a:gd name="T10" fmla="*/ 290 w 1297"/>
                <a:gd name="T11" fmla="*/ 273 h 1560"/>
                <a:gd name="T12" fmla="*/ 357 w 1297"/>
                <a:gd name="T13" fmla="*/ 256 h 1560"/>
                <a:gd name="T14" fmla="*/ 424 w 1297"/>
                <a:gd name="T15" fmla="*/ 238 h 1560"/>
                <a:gd name="T16" fmla="*/ 488 w 1297"/>
                <a:gd name="T17" fmla="*/ 220 h 1560"/>
                <a:gd name="T18" fmla="*/ 550 w 1297"/>
                <a:gd name="T19" fmla="*/ 199 h 1560"/>
                <a:gd name="T20" fmla="*/ 610 w 1297"/>
                <a:gd name="T21" fmla="*/ 178 h 1560"/>
                <a:gd name="T22" fmla="*/ 668 w 1297"/>
                <a:gd name="T23" fmla="*/ 155 h 1560"/>
                <a:gd name="T24" fmla="*/ 723 w 1297"/>
                <a:gd name="T25" fmla="*/ 132 h 1560"/>
                <a:gd name="T26" fmla="*/ 776 w 1297"/>
                <a:gd name="T27" fmla="*/ 107 h 1560"/>
                <a:gd name="T28" fmla="*/ 827 w 1297"/>
                <a:gd name="T29" fmla="*/ 82 h 1560"/>
                <a:gd name="T30" fmla="*/ 875 w 1297"/>
                <a:gd name="T31" fmla="*/ 55 h 1560"/>
                <a:gd name="T32" fmla="*/ 921 w 1297"/>
                <a:gd name="T33" fmla="*/ 28 h 1560"/>
                <a:gd name="T34" fmla="*/ 963 w 1297"/>
                <a:gd name="T35" fmla="*/ 0 h 1560"/>
                <a:gd name="T36" fmla="*/ 963 w 1297"/>
                <a:gd name="T37" fmla="*/ 0 h 1560"/>
                <a:gd name="T38" fmla="*/ 1297 w 1297"/>
                <a:gd name="T39" fmla="*/ 1147 h 1560"/>
                <a:gd name="T40" fmla="*/ 1297 w 1297"/>
                <a:gd name="T41" fmla="*/ 1147 h 1560"/>
                <a:gd name="T42" fmla="*/ 1272 w 1297"/>
                <a:gd name="T43" fmla="*/ 1165 h 1560"/>
                <a:gd name="T44" fmla="*/ 1246 w 1297"/>
                <a:gd name="T45" fmla="*/ 1182 h 1560"/>
                <a:gd name="T46" fmla="*/ 1220 w 1297"/>
                <a:gd name="T47" fmla="*/ 1200 h 1560"/>
                <a:gd name="T48" fmla="*/ 1192 w 1297"/>
                <a:gd name="T49" fmla="*/ 1217 h 1560"/>
                <a:gd name="T50" fmla="*/ 1164 w 1297"/>
                <a:gd name="T51" fmla="*/ 1233 h 1560"/>
                <a:gd name="T52" fmla="*/ 1134 w 1297"/>
                <a:gd name="T53" fmla="*/ 1250 h 1560"/>
                <a:gd name="T54" fmla="*/ 1104 w 1297"/>
                <a:gd name="T55" fmla="*/ 1267 h 1560"/>
                <a:gd name="T56" fmla="*/ 1074 w 1297"/>
                <a:gd name="T57" fmla="*/ 1282 h 1560"/>
                <a:gd name="T58" fmla="*/ 1009 w 1297"/>
                <a:gd name="T59" fmla="*/ 1313 h 1560"/>
                <a:gd name="T60" fmla="*/ 941 w 1297"/>
                <a:gd name="T61" fmla="*/ 1343 h 1560"/>
                <a:gd name="T62" fmla="*/ 871 w 1297"/>
                <a:gd name="T63" fmla="*/ 1371 h 1560"/>
                <a:gd name="T64" fmla="*/ 797 w 1297"/>
                <a:gd name="T65" fmla="*/ 1398 h 1560"/>
                <a:gd name="T66" fmla="*/ 721 w 1297"/>
                <a:gd name="T67" fmla="*/ 1423 h 1560"/>
                <a:gd name="T68" fmla="*/ 642 w 1297"/>
                <a:gd name="T69" fmla="*/ 1448 h 1560"/>
                <a:gd name="T70" fmla="*/ 561 w 1297"/>
                <a:gd name="T71" fmla="*/ 1470 h 1560"/>
                <a:gd name="T72" fmla="*/ 478 w 1297"/>
                <a:gd name="T73" fmla="*/ 1492 h 1560"/>
                <a:gd name="T74" fmla="*/ 392 w 1297"/>
                <a:gd name="T75" fmla="*/ 1511 h 1560"/>
                <a:gd name="T76" fmla="*/ 303 w 1297"/>
                <a:gd name="T77" fmla="*/ 1528 h 1560"/>
                <a:gd name="T78" fmla="*/ 213 w 1297"/>
                <a:gd name="T79" fmla="*/ 1545 h 1560"/>
                <a:gd name="T80" fmla="*/ 120 w 1297"/>
                <a:gd name="T81" fmla="*/ 1560 h 1560"/>
                <a:gd name="T82" fmla="*/ 120 w 1297"/>
                <a:gd name="T83" fmla="*/ 1560 h 1560"/>
                <a:gd name="T84" fmla="*/ 0 w 1297"/>
                <a:gd name="T85" fmla="*/ 327 h 1560"/>
                <a:gd name="T86" fmla="*/ 0 w 1297"/>
                <a:gd name="T87" fmla="*/ 327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97" h="1560">
                  <a:moveTo>
                    <a:pt x="0" y="327"/>
                  </a:moveTo>
                  <a:lnTo>
                    <a:pt x="0" y="327"/>
                  </a:lnTo>
                  <a:lnTo>
                    <a:pt x="74" y="316"/>
                  </a:lnTo>
                  <a:lnTo>
                    <a:pt x="147" y="303"/>
                  </a:lnTo>
                  <a:lnTo>
                    <a:pt x="219" y="288"/>
                  </a:lnTo>
                  <a:lnTo>
                    <a:pt x="290" y="273"/>
                  </a:lnTo>
                  <a:lnTo>
                    <a:pt x="357" y="256"/>
                  </a:lnTo>
                  <a:lnTo>
                    <a:pt x="424" y="238"/>
                  </a:lnTo>
                  <a:lnTo>
                    <a:pt x="488" y="220"/>
                  </a:lnTo>
                  <a:lnTo>
                    <a:pt x="550" y="199"/>
                  </a:lnTo>
                  <a:lnTo>
                    <a:pt x="610" y="178"/>
                  </a:lnTo>
                  <a:lnTo>
                    <a:pt x="668" y="155"/>
                  </a:lnTo>
                  <a:lnTo>
                    <a:pt x="723" y="132"/>
                  </a:lnTo>
                  <a:lnTo>
                    <a:pt x="776" y="107"/>
                  </a:lnTo>
                  <a:lnTo>
                    <a:pt x="827" y="82"/>
                  </a:lnTo>
                  <a:lnTo>
                    <a:pt x="875" y="55"/>
                  </a:lnTo>
                  <a:lnTo>
                    <a:pt x="921" y="28"/>
                  </a:lnTo>
                  <a:lnTo>
                    <a:pt x="963" y="0"/>
                  </a:lnTo>
                  <a:lnTo>
                    <a:pt x="963" y="0"/>
                  </a:lnTo>
                  <a:lnTo>
                    <a:pt x="1297" y="1147"/>
                  </a:lnTo>
                  <a:lnTo>
                    <a:pt x="1297" y="1147"/>
                  </a:lnTo>
                  <a:lnTo>
                    <a:pt x="1272" y="1165"/>
                  </a:lnTo>
                  <a:lnTo>
                    <a:pt x="1246" y="1182"/>
                  </a:lnTo>
                  <a:lnTo>
                    <a:pt x="1220" y="1200"/>
                  </a:lnTo>
                  <a:lnTo>
                    <a:pt x="1192" y="1217"/>
                  </a:lnTo>
                  <a:lnTo>
                    <a:pt x="1164" y="1233"/>
                  </a:lnTo>
                  <a:lnTo>
                    <a:pt x="1134" y="1250"/>
                  </a:lnTo>
                  <a:lnTo>
                    <a:pt x="1104" y="1267"/>
                  </a:lnTo>
                  <a:lnTo>
                    <a:pt x="1074" y="1282"/>
                  </a:lnTo>
                  <a:lnTo>
                    <a:pt x="1009" y="1313"/>
                  </a:lnTo>
                  <a:lnTo>
                    <a:pt x="941" y="1343"/>
                  </a:lnTo>
                  <a:lnTo>
                    <a:pt x="871" y="1371"/>
                  </a:lnTo>
                  <a:lnTo>
                    <a:pt x="797" y="1398"/>
                  </a:lnTo>
                  <a:lnTo>
                    <a:pt x="721" y="1423"/>
                  </a:lnTo>
                  <a:lnTo>
                    <a:pt x="642" y="1448"/>
                  </a:lnTo>
                  <a:lnTo>
                    <a:pt x="561" y="1470"/>
                  </a:lnTo>
                  <a:lnTo>
                    <a:pt x="478" y="1492"/>
                  </a:lnTo>
                  <a:lnTo>
                    <a:pt x="392" y="1511"/>
                  </a:lnTo>
                  <a:lnTo>
                    <a:pt x="303" y="1528"/>
                  </a:lnTo>
                  <a:lnTo>
                    <a:pt x="213" y="1545"/>
                  </a:lnTo>
                  <a:lnTo>
                    <a:pt x="120" y="1560"/>
                  </a:lnTo>
                  <a:lnTo>
                    <a:pt x="120" y="1560"/>
                  </a:lnTo>
                  <a:lnTo>
                    <a:pt x="0" y="327"/>
                  </a:lnTo>
                  <a:lnTo>
                    <a:pt x="0" y="327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0" name="Freeform 33"/>
            <p:cNvSpPr>
              <a:spLocks/>
            </p:cNvSpPr>
            <p:nvPr/>
          </p:nvSpPr>
          <p:spPr bwMode="auto">
            <a:xfrm flipH="1">
              <a:off x="5473621" y="2655804"/>
              <a:ext cx="162551" cy="199938"/>
            </a:xfrm>
            <a:custGeom>
              <a:avLst/>
              <a:gdLst>
                <a:gd name="T0" fmla="*/ 0 w 885"/>
                <a:gd name="T1" fmla="*/ 148 h 1393"/>
                <a:gd name="T2" fmla="*/ 0 w 885"/>
                <a:gd name="T3" fmla="*/ 148 h 1393"/>
                <a:gd name="T4" fmla="*/ 40 w 885"/>
                <a:gd name="T5" fmla="*/ 143 h 1393"/>
                <a:gd name="T6" fmla="*/ 80 w 885"/>
                <a:gd name="T7" fmla="*/ 137 h 1393"/>
                <a:gd name="T8" fmla="*/ 118 w 885"/>
                <a:gd name="T9" fmla="*/ 131 h 1393"/>
                <a:gd name="T10" fmla="*/ 157 w 885"/>
                <a:gd name="T11" fmla="*/ 123 h 1393"/>
                <a:gd name="T12" fmla="*/ 194 w 885"/>
                <a:gd name="T13" fmla="*/ 116 h 1393"/>
                <a:gd name="T14" fmla="*/ 231 w 885"/>
                <a:gd name="T15" fmla="*/ 108 h 1393"/>
                <a:gd name="T16" fmla="*/ 267 w 885"/>
                <a:gd name="T17" fmla="*/ 99 h 1393"/>
                <a:gd name="T18" fmla="*/ 302 w 885"/>
                <a:gd name="T19" fmla="*/ 90 h 1393"/>
                <a:gd name="T20" fmla="*/ 337 w 885"/>
                <a:gd name="T21" fmla="*/ 81 h 1393"/>
                <a:gd name="T22" fmla="*/ 371 w 885"/>
                <a:gd name="T23" fmla="*/ 70 h 1393"/>
                <a:gd name="T24" fmla="*/ 404 w 885"/>
                <a:gd name="T25" fmla="*/ 60 h 1393"/>
                <a:gd name="T26" fmla="*/ 435 w 885"/>
                <a:gd name="T27" fmla="*/ 49 h 1393"/>
                <a:gd name="T28" fmla="*/ 466 w 885"/>
                <a:gd name="T29" fmla="*/ 38 h 1393"/>
                <a:gd name="T30" fmla="*/ 497 w 885"/>
                <a:gd name="T31" fmla="*/ 25 h 1393"/>
                <a:gd name="T32" fmla="*/ 526 w 885"/>
                <a:gd name="T33" fmla="*/ 13 h 1393"/>
                <a:gd name="T34" fmla="*/ 554 w 885"/>
                <a:gd name="T35" fmla="*/ 0 h 1393"/>
                <a:gd name="T36" fmla="*/ 554 w 885"/>
                <a:gd name="T37" fmla="*/ 0 h 1393"/>
                <a:gd name="T38" fmla="*/ 885 w 885"/>
                <a:gd name="T39" fmla="*/ 1141 h 1393"/>
                <a:gd name="T40" fmla="*/ 885 w 885"/>
                <a:gd name="T41" fmla="*/ 1141 h 1393"/>
                <a:gd name="T42" fmla="*/ 851 w 885"/>
                <a:gd name="T43" fmla="*/ 1163 h 1393"/>
                <a:gd name="T44" fmla="*/ 814 w 885"/>
                <a:gd name="T45" fmla="*/ 1184 h 1393"/>
                <a:gd name="T46" fmla="*/ 775 w 885"/>
                <a:gd name="T47" fmla="*/ 1204 h 1393"/>
                <a:gd name="T48" fmla="*/ 735 w 885"/>
                <a:gd name="T49" fmla="*/ 1224 h 1393"/>
                <a:gd name="T50" fmla="*/ 692 w 885"/>
                <a:gd name="T51" fmla="*/ 1242 h 1393"/>
                <a:gd name="T52" fmla="*/ 648 w 885"/>
                <a:gd name="T53" fmla="*/ 1261 h 1393"/>
                <a:gd name="T54" fmla="*/ 603 w 885"/>
                <a:gd name="T55" fmla="*/ 1278 h 1393"/>
                <a:gd name="T56" fmla="*/ 555 w 885"/>
                <a:gd name="T57" fmla="*/ 1294 h 1393"/>
                <a:gd name="T58" fmla="*/ 506 w 885"/>
                <a:gd name="T59" fmla="*/ 1310 h 1393"/>
                <a:gd name="T60" fmla="*/ 455 w 885"/>
                <a:gd name="T61" fmla="*/ 1325 h 1393"/>
                <a:gd name="T62" fmla="*/ 403 w 885"/>
                <a:gd name="T63" fmla="*/ 1338 h 1393"/>
                <a:gd name="T64" fmla="*/ 349 w 885"/>
                <a:gd name="T65" fmla="*/ 1352 h 1393"/>
                <a:gd name="T66" fmla="*/ 294 w 885"/>
                <a:gd name="T67" fmla="*/ 1363 h 1393"/>
                <a:gd name="T68" fmla="*/ 238 w 885"/>
                <a:gd name="T69" fmla="*/ 1374 h 1393"/>
                <a:gd name="T70" fmla="*/ 180 w 885"/>
                <a:gd name="T71" fmla="*/ 1384 h 1393"/>
                <a:gd name="T72" fmla="*/ 122 w 885"/>
                <a:gd name="T73" fmla="*/ 1393 h 1393"/>
                <a:gd name="T74" fmla="*/ 122 w 885"/>
                <a:gd name="T75" fmla="*/ 1393 h 1393"/>
                <a:gd name="T76" fmla="*/ 0 w 885"/>
                <a:gd name="T77" fmla="*/ 148 h 1393"/>
                <a:gd name="T78" fmla="*/ 0 w 885"/>
                <a:gd name="T79" fmla="*/ 148 h 1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85" h="1393">
                  <a:moveTo>
                    <a:pt x="0" y="148"/>
                  </a:moveTo>
                  <a:lnTo>
                    <a:pt x="0" y="148"/>
                  </a:lnTo>
                  <a:lnTo>
                    <a:pt x="40" y="143"/>
                  </a:lnTo>
                  <a:lnTo>
                    <a:pt x="80" y="137"/>
                  </a:lnTo>
                  <a:lnTo>
                    <a:pt x="118" y="131"/>
                  </a:lnTo>
                  <a:lnTo>
                    <a:pt x="157" y="123"/>
                  </a:lnTo>
                  <a:lnTo>
                    <a:pt x="194" y="116"/>
                  </a:lnTo>
                  <a:lnTo>
                    <a:pt x="231" y="108"/>
                  </a:lnTo>
                  <a:lnTo>
                    <a:pt x="267" y="99"/>
                  </a:lnTo>
                  <a:lnTo>
                    <a:pt x="302" y="90"/>
                  </a:lnTo>
                  <a:lnTo>
                    <a:pt x="337" y="81"/>
                  </a:lnTo>
                  <a:lnTo>
                    <a:pt x="371" y="70"/>
                  </a:lnTo>
                  <a:lnTo>
                    <a:pt x="404" y="60"/>
                  </a:lnTo>
                  <a:lnTo>
                    <a:pt x="435" y="49"/>
                  </a:lnTo>
                  <a:lnTo>
                    <a:pt x="466" y="38"/>
                  </a:lnTo>
                  <a:lnTo>
                    <a:pt x="497" y="25"/>
                  </a:lnTo>
                  <a:lnTo>
                    <a:pt x="526" y="13"/>
                  </a:lnTo>
                  <a:lnTo>
                    <a:pt x="554" y="0"/>
                  </a:lnTo>
                  <a:lnTo>
                    <a:pt x="554" y="0"/>
                  </a:lnTo>
                  <a:lnTo>
                    <a:pt x="885" y="1141"/>
                  </a:lnTo>
                  <a:lnTo>
                    <a:pt x="885" y="1141"/>
                  </a:lnTo>
                  <a:lnTo>
                    <a:pt x="851" y="1163"/>
                  </a:lnTo>
                  <a:lnTo>
                    <a:pt x="814" y="1184"/>
                  </a:lnTo>
                  <a:lnTo>
                    <a:pt x="775" y="1204"/>
                  </a:lnTo>
                  <a:lnTo>
                    <a:pt x="735" y="1224"/>
                  </a:lnTo>
                  <a:lnTo>
                    <a:pt x="692" y="1242"/>
                  </a:lnTo>
                  <a:lnTo>
                    <a:pt x="648" y="1261"/>
                  </a:lnTo>
                  <a:lnTo>
                    <a:pt x="603" y="1278"/>
                  </a:lnTo>
                  <a:lnTo>
                    <a:pt x="555" y="1294"/>
                  </a:lnTo>
                  <a:lnTo>
                    <a:pt x="506" y="1310"/>
                  </a:lnTo>
                  <a:lnTo>
                    <a:pt x="455" y="1325"/>
                  </a:lnTo>
                  <a:lnTo>
                    <a:pt x="403" y="1338"/>
                  </a:lnTo>
                  <a:lnTo>
                    <a:pt x="349" y="1352"/>
                  </a:lnTo>
                  <a:lnTo>
                    <a:pt x="294" y="1363"/>
                  </a:lnTo>
                  <a:lnTo>
                    <a:pt x="238" y="1374"/>
                  </a:lnTo>
                  <a:lnTo>
                    <a:pt x="180" y="1384"/>
                  </a:lnTo>
                  <a:lnTo>
                    <a:pt x="122" y="1393"/>
                  </a:lnTo>
                  <a:lnTo>
                    <a:pt x="122" y="1393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1" name="Freeform 34"/>
            <p:cNvSpPr>
              <a:spLocks/>
            </p:cNvSpPr>
            <p:nvPr/>
          </p:nvSpPr>
          <p:spPr bwMode="auto">
            <a:xfrm flipH="1">
              <a:off x="6086414" y="3486511"/>
              <a:ext cx="20641" cy="6450"/>
            </a:xfrm>
            <a:custGeom>
              <a:avLst/>
              <a:gdLst>
                <a:gd name="T0" fmla="*/ 1 w 108"/>
                <a:gd name="T1" fmla="*/ 1 h 48"/>
                <a:gd name="T2" fmla="*/ 2 w 108"/>
                <a:gd name="T3" fmla="*/ 0 h 48"/>
                <a:gd name="T4" fmla="*/ 2 w 108"/>
                <a:gd name="T5" fmla="*/ 0 h 48"/>
                <a:gd name="T6" fmla="*/ 54 w 108"/>
                <a:gd name="T7" fmla="*/ 22 h 48"/>
                <a:gd name="T8" fmla="*/ 108 w 108"/>
                <a:gd name="T9" fmla="*/ 44 h 48"/>
                <a:gd name="T10" fmla="*/ 106 w 108"/>
                <a:gd name="T11" fmla="*/ 48 h 48"/>
                <a:gd name="T12" fmla="*/ 106 w 108"/>
                <a:gd name="T13" fmla="*/ 48 h 48"/>
                <a:gd name="T14" fmla="*/ 54 w 108"/>
                <a:gd name="T15" fmla="*/ 26 h 48"/>
                <a:gd name="T16" fmla="*/ 0 w 108"/>
                <a:gd name="T17" fmla="*/ 3 h 48"/>
                <a:gd name="T18" fmla="*/ 2 w 108"/>
                <a:gd name="T19" fmla="*/ 0 h 48"/>
                <a:gd name="T20" fmla="*/ 1 w 108"/>
                <a:gd name="T21" fmla="*/ 1 h 48"/>
                <a:gd name="T22" fmla="*/ 2 w 108"/>
                <a:gd name="T23" fmla="*/ 0 h 48"/>
                <a:gd name="T24" fmla="*/ 2 w 108"/>
                <a:gd name="T25" fmla="*/ 0 h 48"/>
                <a:gd name="T26" fmla="*/ 55 w 108"/>
                <a:gd name="T27" fmla="*/ 23 h 48"/>
                <a:gd name="T28" fmla="*/ 107 w 108"/>
                <a:gd name="T29" fmla="*/ 44 h 48"/>
                <a:gd name="T30" fmla="*/ 107 w 108"/>
                <a:gd name="T31" fmla="*/ 46 h 48"/>
                <a:gd name="T32" fmla="*/ 106 w 108"/>
                <a:gd name="T33" fmla="*/ 47 h 48"/>
                <a:gd name="T34" fmla="*/ 106 w 108"/>
                <a:gd name="T35" fmla="*/ 47 h 48"/>
                <a:gd name="T36" fmla="*/ 53 w 108"/>
                <a:gd name="T37" fmla="*/ 25 h 48"/>
                <a:gd name="T38" fmla="*/ 0 w 108"/>
                <a:gd name="T39" fmla="*/ 3 h 48"/>
                <a:gd name="T40" fmla="*/ 1 w 108"/>
                <a:gd name="T41" fmla="*/ 1 h 48"/>
                <a:gd name="T42" fmla="*/ 2 w 108"/>
                <a:gd name="T43" fmla="*/ 0 h 48"/>
                <a:gd name="T44" fmla="*/ 1 w 108"/>
                <a:gd name="T45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48">
                  <a:moveTo>
                    <a:pt x="1" y="1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54" y="22"/>
                  </a:lnTo>
                  <a:lnTo>
                    <a:pt x="108" y="44"/>
                  </a:lnTo>
                  <a:lnTo>
                    <a:pt x="106" y="48"/>
                  </a:lnTo>
                  <a:lnTo>
                    <a:pt x="106" y="48"/>
                  </a:lnTo>
                  <a:lnTo>
                    <a:pt x="54" y="26"/>
                  </a:lnTo>
                  <a:lnTo>
                    <a:pt x="0" y="3"/>
                  </a:lnTo>
                  <a:lnTo>
                    <a:pt x="2" y="0"/>
                  </a:lnTo>
                  <a:lnTo>
                    <a:pt x="1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55" y="23"/>
                  </a:lnTo>
                  <a:lnTo>
                    <a:pt x="107" y="44"/>
                  </a:lnTo>
                  <a:lnTo>
                    <a:pt x="107" y="46"/>
                  </a:lnTo>
                  <a:lnTo>
                    <a:pt x="106" y="47"/>
                  </a:lnTo>
                  <a:lnTo>
                    <a:pt x="106" y="47"/>
                  </a:lnTo>
                  <a:lnTo>
                    <a:pt x="53" y="25"/>
                  </a:lnTo>
                  <a:lnTo>
                    <a:pt x="0" y="3"/>
                  </a:lnTo>
                  <a:lnTo>
                    <a:pt x="1" y="1"/>
                  </a:lnTo>
                  <a:lnTo>
                    <a:pt x="2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2" name="Freeform 35"/>
            <p:cNvSpPr>
              <a:spLocks/>
            </p:cNvSpPr>
            <p:nvPr/>
          </p:nvSpPr>
          <p:spPr bwMode="auto">
            <a:xfrm flipH="1">
              <a:off x="6159949" y="3464583"/>
              <a:ext cx="1290" cy="0"/>
            </a:xfrm>
            <a:custGeom>
              <a:avLst/>
              <a:gdLst>
                <a:gd name="T0" fmla="*/ 1 w 3"/>
                <a:gd name="T1" fmla="*/ 2 h 5"/>
                <a:gd name="T2" fmla="*/ 0 w 3"/>
                <a:gd name="T3" fmla="*/ 2 h 5"/>
                <a:gd name="T4" fmla="*/ 0 w 3"/>
                <a:gd name="T5" fmla="*/ 2 h 5"/>
                <a:gd name="T6" fmla="*/ 0 w 3"/>
                <a:gd name="T7" fmla="*/ 0 h 5"/>
                <a:gd name="T8" fmla="*/ 3 w 3"/>
                <a:gd name="T9" fmla="*/ 1 h 5"/>
                <a:gd name="T10" fmla="*/ 1 w 3"/>
                <a:gd name="T11" fmla="*/ 5 h 5"/>
                <a:gd name="T12" fmla="*/ 1 w 3"/>
                <a:gd name="T13" fmla="*/ 5 h 5"/>
                <a:gd name="T14" fmla="*/ 0 w 3"/>
                <a:gd name="T15" fmla="*/ 5 h 5"/>
                <a:gd name="T16" fmla="*/ 0 w 3"/>
                <a:gd name="T17" fmla="*/ 2 h 5"/>
                <a:gd name="T18" fmla="*/ 1 w 3"/>
                <a:gd name="T19" fmla="*/ 2 h 5"/>
                <a:gd name="T20" fmla="*/ 2 w 3"/>
                <a:gd name="T21" fmla="*/ 1 h 5"/>
                <a:gd name="T22" fmla="*/ 2 w 3"/>
                <a:gd name="T23" fmla="*/ 1 h 5"/>
                <a:gd name="T24" fmla="*/ 2 w 3"/>
                <a:gd name="T25" fmla="*/ 4 h 5"/>
                <a:gd name="T26" fmla="*/ 1 w 3"/>
                <a:gd name="T27" fmla="*/ 5 h 5"/>
                <a:gd name="T28" fmla="*/ 0 w 3"/>
                <a:gd name="T29" fmla="*/ 5 h 5"/>
                <a:gd name="T30" fmla="*/ 1 w 3"/>
                <a:gd name="T31" fmla="*/ 2 h 5"/>
                <a:gd name="T32" fmla="*/ 3 w 3"/>
                <a:gd name="T33" fmla="*/ 2 h 5"/>
                <a:gd name="T34" fmla="*/ 3 w 3"/>
                <a:gd name="T35" fmla="*/ 2 h 5"/>
                <a:gd name="T36" fmla="*/ 1 w 3"/>
                <a:gd name="T37" fmla="*/ 2 h 5"/>
                <a:gd name="T38" fmla="*/ 2 w 3"/>
                <a:gd name="T39" fmla="*/ 1 h 5"/>
                <a:gd name="T40" fmla="*/ 1 w 3"/>
                <a:gd name="T4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" h="5">
                  <a:moveTo>
                    <a:pt x="1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3" y="1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3" name="Freeform 36"/>
            <p:cNvSpPr>
              <a:spLocks/>
            </p:cNvSpPr>
            <p:nvPr/>
          </p:nvSpPr>
          <p:spPr bwMode="auto">
            <a:xfrm flipH="1">
              <a:off x="5572958" y="2381052"/>
              <a:ext cx="252858" cy="127702"/>
            </a:xfrm>
            <a:custGeom>
              <a:avLst/>
              <a:gdLst>
                <a:gd name="T0" fmla="*/ 1214 w 1373"/>
                <a:gd name="T1" fmla="*/ 641 h 892"/>
                <a:gd name="T2" fmla="*/ 1189 w 1373"/>
                <a:gd name="T3" fmla="*/ 554 h 892"/>
                <a:gd name="T4" fmla="*/ 1159 w 1373"/>
                <a:gd name="T5" fmla="*/ 488 h 892"/>
                <a:gd name="T6" fmla="*/ 1119 w 1373"/>
                <a:gd name="T7" fmla="*/ 441 h 892"/>
                <a:gd name="T8" fmla="*/ 1071 w 1373"/>
                <a:gd name="T9" fmla="*/ 414 h 892"/>
                <a:gd name="T10" fmla="*/ 1017 w 1373"/>
                <a:gd name="T11" fmla="*/ 406 h 892"/>
                <a:gd name="T12" fmla="*/ 960 w 1373"/>
                <a:gd name="T13" fmla="*/ 415 h 892"/>
                <a:gd name="T14" fmla="*/ 942 w 1373"/>
                <a:gd name="T15" fmla="*/ 423 h 892"/>
                <a:gd name="T16" fmla="*/ 922 w 1373"/>
                <a:gd name="T17" fmla="*/ 440 h 892"/>
                <a:gd name="T18" fmla="*/ 906 w 1373"/>
                <a:gd name="T19" fmla="*/ 464 h 892"/>
                <a:gd name="T20" fmla="*/ 895 w 1373"/>
                <a:gd name="T21" fmla="*/ 502 h 892"/>
                <a:gd name="T22" fmla="*/ 888 w 1373"/>
                <a:gd name="T23" fmla="*/ 573 h 892"/>
                <a:gd name="T24" fmla="*/ 892 w 1373"/>
                <a:gd name="T25" fmla="*/ 650 h 892"/>
                <a:gd name="T26" fmla="*/ 902 w 1373"/>
                <a:gd name="T27" fmla="*/ 751 h 892"/>
                <a:gd name="T28" fmla="*/ 860 w 1373"/>
                <a:gd name="T29" fmla="*/ 884 h 892"/>
                <a:gd name="T30" fmla="*/ 693 w 1373"/>
                <a:gd name="T31" fmla="*/ 892 h 892"/>
                <a:gd name="T32" fmla="*/ 573 w 1373"/>
                <a:gd name="T33" fmla="*/ 888 h 892"/>
                <a:gd name="T34" fmla="*/ 407 w 1373"/>
                <a:gd name="T35" fmla="*/ 867 h 892"/>
                <a:gd name="T36" fmla="*/ 259 w 1373"/>
                <a:gd name="T37" fmla="*/ 831 h 892"/>
                <a:gd name="T38" fmla="*/ 155 w 1373"/>
                <a:gd name="T39" fmla="*/ 790 h 892"/>
                <a:gd name="T40" fmla="*/ 102 w 1373"/>
                <a:gd name="T41" fmla="*/ 762 h 892"/>
                <a:gd name="T42" fmla="*/ 57 w 1373"/>
                <a:gd name="T43" fmla="*/ 731 h 892"/>
                <a:gd name="T44" fmla="*/ 20 w 1373"/>
                <a:gd name="T45" fmla="*/ 697 h 892"/>
                <a:gd name="T46" fmla="*/ 0 w 1373"/>
                <a:gd name="T47" fmla="*/ 674 h 892"/>
                <a:gd name="T48" fmla="*/ 91 w 1373"/>
                <a:gd name="T49" fmla="*/ 426 h 892"/>
                <a:gd name="T50" fmla="*/ 112 w 1373"/>
                <a:gd name="T51" fmla="*/ 360 h 892"/>
                <a:gd name="T52" fmla="*/ 142 w 1373"/>
                <a:gd name="T53" fmla="*/ 297 h 892"/>
                <a:gd name="T54" fmla="*/ 180 w 1373"/>
                <a:gd name="T55" fmla="*/ 238 h 892"/>
                <a:gd name="T56" fmla="*/ 227 w 1373"/>
                <a:gd name="T57" fmla="*/ 185 h 892"/>
                <a:gd name="T58" fmla="*/ 280 w 1373"/>
                <a:gd name="T59" fmla="*/ 137 h 892"/>
                <a:gd name="T60" fmla="*/ 339 w 1373"/>
                <a:gd name="T61" fmla="*/ 95 h 892"/>
                <a:gd name="T62" fmla="*/ 405 w 1373"/>
                <a:gd name="T63" fmla="*/ 60 h 892"/>
                <a:gd name="T64" fmla="*/ 476 w 1373"/>
                <a:gd name="T65" fmla="*/ 33 h 892"/>
                <a:gd name="T66" fmla="*/ 550 w 1373"/>
                <a:gd name="T67" fmla="*/ 13 h 892"/>
                <a:gd name="T68" fmla="*/ 628 w 1373"/>
                <a:gd name="T69" fmla="*/ 2 h 892"/>
                <a:gd name="T70" fmla="*/ 682 w 1373"/>
                <a:gd name="T71" fmla="*/ 0 h 892"/>
                <a:gd name="T72" fmla="*/ 757 w 1373"/>
                <a:gd name="T73" fmla="*/ 4 h 892"/>
                <a:gd name="T74" fmla="*/ 830 w 1373"/>
                <a:gd name="T75" fmla="*/ 16 h 892"/>
                <a:gd name="T76" fmla="*/ 899 w 1373"/>
                <a:gd name="T77" fmla="*/ 36 h 892"/>
                <a:gd name="T78" fmla="*/ 964 w 1373"/>
                <a:gd name="T79" fmla="*/ 62 h 892"/>
                <a:gd name="T80" fmla="*/ 1024 w 1373"/>
                <a:gd name="T81" fmla="*/ 95 h 892"/>
                <a:gd name="T82" fmla="*/ 1081 w 1373"/>
                <a:gd name="T83" fmla="*/ 134 h 892"/>
                <a:gd name="T84" fmla="*/ 1131 w 1373"/>
                <a:gd name="T85" fmla="*/ 177 h 892"/>
                <a:gd name="T86" fmla="*/ 1175 w 1373"/>
                <a:gd name="T87" fmla="*/ 227 h 892"/>
                <a:gd name="T88" fmla="*/ 1213 w 1373"/>
                <a:gd name="T89" fmla="*/ 281 h 892"/>
                <a:gd name="T90" fmla="*/ 1244 w 1373"/>
                <a:gd name="T91" fmla="*/ 338 h 892"/>
                <a:gd name="T92" fmla="*/ 1259 w 1373"/>
                <a:gd name="T93" fmla="*/ 378 h 892"/>
                <a:gd name="T94" fmla="*/ 1373 w 1373"/>
                <a:gd name="T95" fmla="*/ 689 h 892"/>
                <a:gd name="T96" fmla="*/ 1335 w 1373"/>
                <a:gd name="T97" fmla="*/ 724 h 892"/>
                <a:gd name="T98" fmla="*/ 1290 w 1373"/>
                <a:gd name="T99" fmla="*/ 758 h 892"/>
                <a:gd name="T100" fmla="*/ 1253 w 1373"/>
                <a:gd name="T101" fmla="*/ 779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73" h="892">
                  <a:moveTo>
                    <a:pt x="1253" y="779"/>
                  </a:moveTo>
                  <a:lnTo>
                    <a:pt x="1253" y="779"/>
                  </a:lnTo>
                  <a:lnTo>
                    <a:pt x="1214" y="641"/>
                  </a:lnTo>
                  <a:lnTo>
                    <a:pt x="1197" y="580"/>
                  </a:lnTo>
                  <a:lnTo>
                    <a:pt x="1197" y="580"/>
                  </a:lnTo>
                  <a:lnTo>
                    <a:pt x="1189" y="554"/>
                  </a:lnTo>
                  <a:lnTo>
                    <a:pt x="1180" y="530"/>
                  </a:lnTo>
                  <a:lnTo>
                    <a:pt x="1170" y="508"/>
                  </a:lnTo>
                  <a:lnTo>
                    <a:pt x="1159" y="488"/>
                  </a:lnTo>
                  <a:lnTo>
                    <a:pt x="1146" y="470"/>
                  </a:lnTo>
                  <a:lnTo>
                    <a:pt x="1133" y="455"/>
                  </a:lnTo>
                  <a:lnTo>
                    <a:pt x="1119" y="441"/>
                  </a:lnTo>
                  <a:lnTo>
                    <a:pt x="1103" y="431"/>
                  </a:lnTo>
                  <a:lnTo>
                    <a:pt x="1088" y="421"/>
                  </a:lnTo>
                  <a:lnTo>
                    <a:pt x="1071" y="414"/>
                  </a:lnTo>
                  <a:lnTo>
                    <a:pt x="1054" y="410"/>
                  </a:lnTo>
                  <a:lnTo>
                    <a:pt x="1036" y="407"/>
                  </a:lnTo>
                  <a:lnTo>
                    <a:pt x="1017" y="406"/>
                  </a:lnTo>
                  <a:lnTo>
                    <a:pt x="998" y="407"/>
                  </a:lnTo>
                  <a:lnTo>
                    <a:pt x="980" y="410"/>
                  </a:lnTo>
                  <a:lnTo>
                    <a:pt x="960" y="415"/>
                  </a:lnTo>
                  <a:lnTo>
                    <a:pt x="960" y="415"/>
                  </a:lnTo>
                  <a:lnTo>
                    <a:pt x="951" y="419"/>
                  </a:lnTo>
                  <a:lnTo>
                    <a:pt x="942" y="423"/>
                  </a:lnTo>
                  <a:lnTo>
                    <a:pt x="935" y="428"/>
                  </a:lnTo>
                  <a:lnTo>
                    <a:pt x="928" y="434"/>
                  </a:lnTo>
                  <a:lnTo>
                    <a:pt x="922" y="440"/>
                  </a:lnTo>
                  <a:lnTo>
                    <a:pt x="916" y="447"/>
                  </a:lnTo>
                  <a:lnTo>
                    <a:pt x="911" y="456"/>
                  </a:lnTo>
                  <a:lnTo>
                    <a:pt x="906" y="464"/>
                  </a:lnTo>
                  <a:lnTo>
                    <a:pt x="903" y="473"/>
                  </a:lnTo>
                  <a:lnTo>
                    <a:pt x="900" y="483"/>
                  </a:lnTo>
                  <a:lnTo>
                    <a:pt x="895" y="502"/>
                  </a:lnTo>
                  <a:lnTo>
                    <a:pt x="890" y="525"/>
                  </a:lnTo>
                  <a:lnTo>
                    <a:pt x="889" y="548"/>
                  </a:lnTo>
                  <a:lnTo>
                    <a:pt x="888" y="573"/>
                  </a:lnTo>
                  <a:lnTo>
                    <a:pt x="889" y="598"/>
                  </a:lnTo>
                  <a:lnTo>
                    <a:pt x="890" y="624"/>
                  </a:lnTo>
                  <a:lnTo>
                    <a:pt x="892" y="650"/>
                  </a:lnTo>
                  <a:lnTo>
                    <a:pt x="898" y="703"/>
                  </a:lnTo>
                  <a:lnTo>
                    <a:pt x="902" y="751"/>
                  </a:lnTo>
                  <a:lnTo>
                    <a:pt x="902" y="751"/>
                  </a:lnTo>
                  <a:lnTo>
                    <a:pt x="913" y="878"/>
                  </a:lnTo>
                  <a:lnTo>
                    <a:pt x="913" y="878"/>
                  </a:lnTo>
                  <a:lnTo>
                    <a:pt x="860" y="884"/>
                  </a:lnTo>
                  <a:lnTo>
                    <a:pt x="805" y="888"/>
                  </a:lnTo>
                  <a:lnTo>
                    <a:pt x="750" y="891"/>
                  </a:lnTo>
                  <a:lnTo>
                    <a:pt x="693" y="892"/>
                  </a:lnTo>
                  <a:lnTo>
                    <a:pt x="693" y="892"/>
                  </a:lnTo>
                  <a:lnTo>
                    <a:pt x="633" y="891"/>
                  </a:lnTo>
                  <a:lnTo>
                    <a:pt x="573" y="888"/>
                  </a:lnTo>
                  <a:lnTo>
                    <a:pt x="516" y="883"/>
                  </a:lnTo>
                  <a:lnTo>
                    <a:pt x="461" y="875"/>
                  </a:lnTo>
                  <a:lnTo>
                    <a:pt x="407" y="867"/>
                  </a:lnTo>
                  <a:lnTo>
                    <a:pt x="356" y="857"/>
                  </a:lnTo>
                  <a:lnTo>
                    <a:pt x="306" y="844"/>
                  </a:lnTo>
                  <a:lnTo>
                    <a:pt x="259" y="831"/>
                  </a:lnTo>
                  <a:lnTo>
                    <a:pt x="216" y="815"/>
                  </a:lnTo>
                  <a:lnTo>
                    <a:pt x="175" y="798"/>
                  </a:lnTo>
                  <a:lnTo>
                    <a:pt x="155" y="790"/>
                  </a:lnTo>
                  <a:lnTo>
                    <a:pt x="137" y="781"/>
                  </a:lnTo>
                  <a:lnTo>
                    <a:pt x="119" y="771"/>
                  </a:lnTo>
                  <a:lnTo>
                    <a:pt x="102" y="762"/>
                  </a:lnTo>
                  <a:lnTo>
                    <a:pt x="87" y="751"/>
                  </a:lnTo>
                  <a:lnTo>
                    <a:pt x="71" y="741"/>
                  </a:lnTo>
                  <a:lnTo>
                    <a:pt x="57" y="731"/>
                  </a:lnTo>
                  <a:lnTo>
                    <a:pt x="44" y="720"/>
                  </a:lnTo>
                  <a:lnTo>
                    <a:pt x="32" y="709"/>
                  </a:lnTo>
                  <a:lnTo>
                    <a:pt x="20" y="697"/>
                  </a:lnTo>
                  <a:lnTo>
                    <a:pt x="10" y="686"/>
                  </a:lnTo>
                  <a:lnTo>
                    <a:pt x="0" y="674"/>
                  </a:lnTo>
                  <a:lnTo>
                    <a:pt x="0" y="674"/>
                  </a:lnTo>
                  <a:lnTo>
                    <a:pt x="57" y="521"/>
                  </a:lnTo>
                  <a:lnTo>
                    <a:pt x="91" y="426"/>
                  </a:lnTo>
                  <a:lnTo>
                    <a:pt x="91" y="426"/>
                  </a:lnTo>
                  <a:lnTo>
                    <a:pt x="97" y="405"/>
                  </a:lnTo>
                  <a:lnTo>
                    <a:pt x="104" y="382"/>
                  </a:lnTo>
                  <a:lnTo>
                    <a:pt x="112" y="360"/>
                  </a:lnTo>
                  <a:lnTo>
                    <a:pt x="121" y="339"/>
                  </a:lnTo>
                  <a:lnTo>
                    <a:pt x="131" y="317"/>
                  </a:lnTo>
                  <a:lnTo>
                    <a:pt x="142" y="297"/>
                  </a:lnTo>
                  <a:lnTo>
                    <a:pt x="154" y="276"/>
                  </a:lnTo>
                  <a:lnTo>
                    <a:pt x="167" y="258"/>
                  </a:lnTo>
                  <a:lnTo>
                    <a:pt x="180" y="238"/>
                  </a:lnTo>
                  <a:lnTo>
                    <a:pt x="195" y="220"/>
                  </a:lnTo>
                  <a:lnTo>
                    <a:pt x="210" y="202"/>
                  </a:lnTo>
                  <a:lnTo>
                    <a:pt x="227" y="185"/>
                  </a:lnTo>
                  <a:lnTo>
                    <a:pt x="244" y="168"/>
                  </a:lnTo>
                  <a:lnTo>
                    <a:pt x="261" y="152"/>
                  </a:lnTo>
                  <a:lnTo>
                    <a:pt x="280" y="137"/>
                  </a:lnTo>
                  <a:lnTo>
                    <a:pt x="300" y="122"/>
                  </a:lnTo>
                  <a:lnTo>
                    <a:pt x="320" y="109"/>
                  </a:lnTo>
                  <a:lnTo>
                    <a:pt x="339" y="95"/>
                  </a:lnTo>
                  <a:lnTo>
                    <a:pt x="361" y="83"/>
                  </a:lnTo>
                  <a:lnTo>
                    <a:pt x="383" y="71"/>
                  </a:lnTo>
                  <a:lnTo>
                    <a:pt x="405" y="60"/>
                  </a:lnTo>
                  <a:lnTo>
                    <a:pt x="428" y="50"/>
                  </a:lnTo>
                  <a:lnTo>
                    <a:pt x="452" y="41"/>
                  </a:lnTo>
                  <a:lnTo>
                    <a:pt x="476" y="33"/>
                  </a:lnTo>
                  <a:lnTo>
                    <a:pt x="499" y="25"/>
                  </a:lnTo>
                  <a:lnTo>
                    <a:pt x="524" y="19"/>
                  </a:lnTo>
                  <a:lnTo>
                    <a:pt x="550" y="13"/>
                  </a:lnTo>
                  <a:lnTo>
                    <a:pt x="575" y="9"/>
                  </a:lnTo>
                  <a:lnTo>
                    <a:pt x="602" y="5"/>
                  </a:lnTo>
                  <a:lnTo>
                    <a:pt x="628" y="2"/>
                  </a:lnTo>
                  <a:lnTo>
                    <a:pt x="655" y="0"/>
                  </a:lnTo>
                  <a:lnTo>
                    <a:pt x="682" y="0"/>
                  </a:lnTo>
                  <a:lnTo>
                    <a:pt x="682" y="0"/>
                  </a:lnTo>
                  <a:lnTo>
                    <a:pt x="707" y="0"/>
                  </a:lnTo>
                  <a:lnTo>
                    <a:pt x="732" y="2"/>
                  </a:lnTo>
                  <a:lnTo>
                    <a:pt x="757" y="4"/>
                  </a:lnTo>
                  <a:lnTo>
                    <a:pt x="782" y="8"/>
                  </a:lnTo>
                  <a:lnTo>
                    <a:pt x="806" y="12"/>
                  </a:lnTo>
                  <a:lnTo>
                    <a:pt x="830" y="16"/>
                  </a:lnTo>
                  <a:lnTo>
                    <a:pt x="853" y="22"/>
                  </a:lnTo>
                  <a:lnTo>
                    <a:pt x="876" y="28"/>
                  </a:lnTo>
                  <a:lnTo>
                    <a:pt x="899" y="36"/>
                  </a:lnTo>
                  <a:lnTo>
                    <a:pt x="920" y="44"/>
                  </a:lnTo>
                  <a:lnTo>
                    <a:pt x="942" y="52"/>
                  </a:lnTo>
                  <a:lnTo>
                    <a:pt x="964" y="62"/>
                  </a:lnTo>
                  <a:lnTo>
                    <a:pt x="985" y="72"/>
                  </a:lnTo>
                  <a:lnTo>
                    <a:pt x="1005" y="84"/>
                  </a:lnTo>
                  <a:lnTo>
                    <a:pt x="1024" y="95"/>
                  </a:lnTo>
                  <a:lnTo>
                    <a:pt x="1044" y="108"/>
                  </a:lnTo>
                  <a:lnTo>
                    <a:pt x="1063" y="120"/>
                  </a:lnTo>
                  <a:lnTo>
                    <a:pt x="1081" y="134"/>
                  </a:lnTo>
                  <a:lnTo>
                    <a:pt x="1098" y="148"/>
                  </a:lnTo>
                  <a:lnTo>
                    <a:pt x="1115" y="163"/>
                  </a:lnTo>
                  <a:lnTo>
                    <a:pt x="1131" y="177"/>
                  </a:lnTo>
                  <a:lnTo>
                    <a:pt x="1146" y="194"/>
                  </a:lnTo>
                  <a:lnTo>
                    <a:pt x="1161" y="210"/>
                  </a:lnTo>
                  <a:lnTo>
                    <a:pt x="1175" y="227"/>
                  </a:lnTo>
                  <a:lnTo>
                    <a:pt x="1189" y="244"/>
                  </a:lnTo>
                  <a:lnTo>
                    <a:pt x="1201" y="263"/>
                  </a:lnTo>
                  <a:lnTo>
                    <a:pt x="1213" y="281"/>
                  </a:lnTo>
                  <a:lnTo>
                    <a:pt x="1224" y="299"/>
                  </a:lnTo>
                  <a:lnTo>
                    <a:pt x="1234" y="319"/>
                  </a:lnTo>
                  <a:lnTo>
                    <a:pt x="1244" y="338"/>
                  </a:lnTo>
                  <a:lnTo>
                    <a:pt x="1252" y="359"/>
                  </a:lnTo>
                  <a:lnTo>
                    <a:pt x="1259" y="378"/>
                  </a:lnTo>
                  <a:lnTo>
                    <a:pt x="1259" y="378"/>
                  </a:lnTo>
                  <a:lnTo>
                    <a:pt x="1302" y="494"/>
                  </a:lnTo>
                  <a:lnTo>
                    <a:pt x="1373" y="689"/>
                  </a:lnTo>
                  <a:lnTo>
                    <a:pt x="1373" y="689"/>
                  </a:lnTo>
                  <a:lnTo>
                    <a:pt x="1361" y="701"/>
                  </a:lnTo>
                  <a:lnTo>
                    <a:pt x="1349" y="713"/>
                  </a:lnTo>
                  <a:lnTo>
                    <a:pt x="1335" y="724"/>
                  </a:lnTo>
                  <a:lnTo>
                    <a:pt x="1321" y="736"/>
                  </a:lnTo>
                  <a:lnTo>
                    <a:pt x="1306" y="747"/>
                  </a:lnTo>
                  <a:lnTo>
                    <a:pt x="1290" y="758"/>
                  </a:lnTo>
                  <a:lnTo>
                    <a:pt x="1272" y="768"/>
                  </a:lnTo>
                  <a:lnTo>
                    <a:pt x="1253" y="779"/>
                  </a:lnTo>
                  <a:lnTo>
                    <a:pt x="1253" y="7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4" name="Freeform 37"/>
            <p:cNvSpPr>
              <a:spLocks/>
            </p:cNvSpPr>
            <p:nvPr/>
          </p:nvSpPr>
          <p:spPr bwMode="auto">
            <a:xfrm flipH="1">
              <a:off x="5594890" y="2439098"/>
              <a:ext cx="67085" cy="68366"/>
            </a:xfrm>
            <a:custGeom>
              <a:avLst/>
              <a:gdLst>
                <a:gd name="T0" fmla="*/ 72 w 365"/>
                <a:gd name="T1" fmla="*/ 9 h 472"/>
                <a:gd name="T2" fmla="*/ 72 w 365"/>
                <a:gd name="T3" fmla="*/ 9 h 472"/>
                <a:gd name="T4" fmla="*/ 92 w 365"/>
                <a:gd name="T5" fmla="*/ 4 h 472"/>
                <a:gd name="T6" fmla="*/ 110 w 365"/>
                <a:gd name="T7" fmla="*/ 1 h 472"/>
                <a:gd name="T8" fmla="*/ 129 w 365"/>
                <a:gd name="T9" fmla="*/ 0 h 472"/>
                <a:gd name="T10" fmla="*/ 148 w 365"/>
                <a:gd name="T11" fmla="*/ 1 h 472"/>
                <a:gd name="T12" fmla="*/ 166 w 365"/>
                <a:gd name="T13" fmla="*/ 4 h 472"/>
                <a:gd name="T14" fmla="*/ 183 w 365"/>
                <a:gd name="T15" fmla="*/ 8 h 472"/>
                <a:gd name="T16" fmla="*/ 200 w 365"/>
                <a:gd name="T17" fmla="*/ 15 h 472"/>
                <a:gd name="T18" fmla="*/ 215 w 365"/>
                <a:gd name="T19" fmla="*/ 25 h 472"/>
                <a:gd name="T20" fmla="*/ 231 w 365"/>
                <a:gd name="T21" fmla="*/ 35 h 472"/>
                <a:gd name="T22" fmla="*/ 245 w 365"/>
                <a:gd name="T23" fmla="*/ 49 h 472"/>
                <a:gd name="T24" fmla="*/ 258 w 365"/>
                <a:gd name="T25" fmla="*/ 64 h 472"/>
                <a:gd name="T26" fmla="*/ 271 w 365"/>
                <a:gd name="T27" fmla="*/ 82 h 472"/>
                <a:gd name="T28" fmla="*/ 282 w 365"/>
                <a:gd name="T29" fmla="*/ 102 h 472"/>
                <a:gd name="T30" fmla="*/ 292 w 365"/>
                <a:gd name="T31" fmla="*/ 124 h 472"/>
                <a:gd name="T32" fmla="*/ 301 w 365"/>
                <a:gd name="T33" fmla="*/ 148 h 472"/>
                <a:gd name="T34" fmla="*/ 309 w 365"/>
                <a:gd name="T35" fmla="*/ 174 h 472"/>
                <a:gd name="T36" fmla="*/ 309 w 365"/>
                <a:gd name="T37" fmla="*/ 174 h 472"/>
                <a:gd name="T38" fmla="*/ 326 w 365"/>
                <a:gd name="T39" fmla="*/ 235 h 472"/>
                <a:gd name="T40" fmla="*/ 365 w 365"/>
                <a:gd name="T41" fmla="*/ 373 h 472"/>
                <a:gd name="T42" fmla="*/ 365 w 365"/>
                <a:gd name="T43" fmla="*/ 373 h 472"/>
                <a:gd name="T44" fmla="*/ 331 w 365"/>
                <a:gd name="T45" fmla="*/ 389 h 472"/>
                <a:gd name="T46" fmla="*/ 293 w 365"/>
                <a:gd name="T47" fmla="*/ 405 h 472"/>
                <a:gd name="T48" fmla="*/ 254 w 365"/>
                <a:gd name="T49" fmla="*/ 418 h 472"/>
                <a:gd name="T50" fmla="*/ 212 w 365"/>
                <a:gd name="T51" fmla="*/ 432 h 472"/>
                <a:gd name="T52" fmla="*/ 169 w 365"/>
                <a:gd name="T53" fmla="*/ 444 h 472"/>
                <a:gd name="T54" fmla="*/ 123 w 365"/>
                <a:gd name="T55" fmla="*/ 455 h 472"/>
                <a:gd name="T56" fmla="*/ 74 w 365"/>
                <a:gd name="T57" fmla="*/ 463 h 472"/>
                <a:gd name="T58" fmla="*/ 25 w 365"/>
                <a:gd name="T59" fmla="*/ 472 h 472"/>
                <a:gd name="T60" fmla="*/ 25 w 365"/>
                <a:gd name="T61" fmla="*/ 472 h 472"/>
                <a:gd name="T62" fmla="*/ 14 w 365"/>
                <a:gd name="T63" fmla="*/ 345 h 472"/>
                <a:gd name="T64" fmla="*/ 14 w 365"/>
                <a:gd name="T65" fmla="*/ 345 h 472"/>
                <a:gd name="T66" fmla="*/ 10 w 365"/>
                <a:gd name="T67" fmla="*/ 297 h 472"/>
                <a:gd name="T68" fmla="*/ 4 w 365"/>
                <a:gd name="T69" fmla="*/ 244 h 472"/>
                <a:gd name="T70" fmla="*/ 2 w 365"/>
                <a:gd name="T71" fmla="*/ 218 h 472"/>
                <a:gd name="T72" fmla="*/ 1 w 365"/>
                <a:gd name="T73" fmla="*/ 192 h 472"/>
                <a:gd name="T74" fmla="*/ 0 w 365"/>
                <a:gd name="T75" fmla="*/ 167 h 472"/>
                <a:gd name="T76" fmla="*/ 1 w 365"/>
                <a:gd name="T77" fmla="*/ 142 h 472"/>
                <a:gd name="T78" fmla="*/ 2 w 365"/>
                <a:gd name="T79" fmla="*/ 119 h 472"/>
                <a:gd name="T80" fmla="*/ 7 w 365"/>
                <a:gd name="T81" fmla="*/ 96 h 472"/>
                <a:gd name="T82" fmla="*/ 12 w 365"/>
                <a:gd name="T83" fmla="*/ 77 h 472"/>
                <a:gd name="T84" fmla="*/ 15 w 365"/>
                <a:gd name="T85" fmla="*/ 67 h 472"/>
                <a:gd name="T86" fmla="*/ 18 w 365"/>
                <a:gd name="T87" fmla="*/ 58 h 472"/>
                <a:gd name="T88" fmla="*/ 23 w 365"/>
                <a:gd name="T89" fmla="*/ 50 h 472"/>
                <a:gd name="T90" fmla="*/ 28 w 365"/>
                <a:gd name="T91" fmla="*/ 41 h 472"/>
                <a:gd name="T92" fmla="*/ 34 w 365"/>
                <a:gd name="T93" fmla="*/ 34 h 472"/>
                <a:gd name="T94" fmla="*/ 40 w 365"/>
                <a:gd name="T95" fmla="*/ 28 h 472"/>
                <a:gd name="T96" fmla="*/ 47 w 365"/>
                <a:gd name="T97" fmla="*/ 22 h 472"/>
                <a:gd name="T98" fmla="*/ 54 w 365"/>
                <a:gd name="T99" fmla="*/ 17 h 472"/>
                <a:gd name="T100" fmla="*/ 63 w 365"/>
                <a:gd name="T101" fmla="*/ 13 h 472"/>
                <a:gd name="T102" fmla="*/ 72 w 365"/>
                <a:gd name="T103" fmla="*/ 9 h 472"/>
                <a:gd name="T104" fmla="*/ 72 w 365"/>
                <a:gd name="T105" fmla="*/ 9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65" h="472">
                  <a:moveTo>
                    <a:pt x="72" y="9"/>
                  </a:moveTo>
                  <a:lnTo>
                    <a:pt x="72" y="9"/>
                  </a:lnTo>
                  <a:lnTo>
                    <a:pt x="92" y="4"/>
                  </a:lnTo>
                  <a:lnTo>
                    <a:pt x="110" y="1"/>
                  </a:lnTo>
                  <a:lnTo>
                    <a:pt x="129" y="0"/>
                  </a:lnTo>
                  <a:lnTo>
                    <a:pt x="148" y="1"/>
                  </a:lnTo>
                  <a:lnTo>
                    <a:pt x="166" y="4"/>
                  </a:lnTo>
                  <a:lnTo>
                    <a:pt x="183" y="8"/>
                  </a:lnTo>
                  <a:lnTo>
                    <a:pt x="200" y="15"/>
                  </a:lnTo>
                  <a:lnTo>
                    <a:pt x="215" y="25"/>
                  </a:lnTo>
                  <a:lnTo>
                    <a:pt x="231" y="35"/>
                  </a:lnTo>
                  <a:lnTo>
                    <a:pt x="245" y="49"/>
                  </a:lnTo>
                  <a:lnTo>
                    <a:pt x="258" y="64"/>
                  </a:lnTo>
                  <a:lnTo>
                    <a:pt x="271" y="82"/>
                  </a:lnTo>
                  <a:lnTo>
                    <a:pt x="282" y="102"/>
                  </a:lnTo>
                  <a:lnTo>
                    <a:pt x="292" y="124"/>
                  </a:lnTo>
                  <a:lnTo>
                    <a:pt x="301" y="148"/>
                  </a:lnTo>
                  <a:lnTo>
                    <a:pt x="309" y="174"/>
                  </a:lnTo>
                  <a:lnTo>
                    <a:pt x="309" y="174"/>
                  </a:lnTo>
                  <a:lnTo>
                    <a:pt x="326" y="235"/>
                  </a:lnTo>
                  <a:lnTo>
                    <a:pt x="365" y="373"/>
                  </a:lnTo>
                  <a:lnTo>
                    <a:pt x="365" y="373"/>
                  </a:lnTo>
                  <a:lnTo>
                    <a:pt x="331" y="389"/>
                  </a:lnTo>
                  <a:lnTo>
                    <a:pt x="293" y="405"/>
                  </a:lnTo>
                  <a:lnTo>
                    <a:pt x="254" y="418"/>
                  </a:lnTo>
                  <a:lnTo>
                    <a:pt x="212" y="432"/>
                  </a:lnTo>
                  <a:lnTo>
                    <a:pt x="169" y="444"/>
                  </a:lnTo>
                  <a:lnTo>
                    <a:pt x="123" y="455"/>
                  </a:lnTo>
                  <a:lnTo>
                    <a:pt x="74" y="463"/>
                  </a:lnTo>
                  <a:lnTo>
                    <a:pt x="25" y="472"/>
                  </a:lnTo>
                  <a:lnTo>
                    <a:pt x="25" y="472"/>
                  </a:lnTo>
                  <a:lnTo>
                    <a:pt x="14" y="345"/>
                  </a:lnTo>
                  <a:lnTo>
                    <a:pt x="14" y="345"/>
                  </a:lnTo>
                  <a:lnTo>
                    <a:pt x="10" y="297"/>
                  </a:lnTo>
                  <a:lnTo>
                    <a:pt x="4" y="244"/>
                  </a:lnTo>
                  <a:lnTo>
                    <a:pt x="2" y="218"/>
                  </a:lnTo>
                  <a:lnTo>
                    <a:pt x="1" y="192"/>
                  </a:lnTo>
                  <a:lnTo>
                    <a:pt x="0" y="167"/>
                  </a:lnTo>
                  <a:lnTo>
                    <a:pt x="1" y="142"/>
                  </a:lnTo>
                  <a:lnTo>
                    <a:pt x="2" y="119"/>
                  </a:lnTo>
                  <a:lnTo>
                    <a:pt x="7" y="96"/>
                  </a:lnTo>
                  <a:lnTo>
                    <a:pt x="12" y="77"/>
                  </a:lnTo>
                  <a:lnTo>
                    <a:pt x="15" y="67"/>
                  </a:lnTo>
                  <a:lnTo>
                    <a:pt x="18" y="58"/>
                  </a:lnTo>
                  <a:lnTo>
                    <a:pt x="23" y="50"/>
                  </a:lnTo>
                  <a:lnTo>
                    <a:pt x="28" y="41"/>
                  </a:lnTo>
                  <a:lnTo>
                    <a:pt x="34" y="34"/>
                  </a:lnTo>
                  <a:lnTo>
                    <a:pt x="40" y="28"/>
                  </a:lnTo>
                  <a:lnTo>
                    <a:pt x="47" y="22"/>
                  </a:lnTo>
                  <a:lnTo>
                    <a:pt x="54" y="17"/>
                  </a:lnTo>
                  <a:lnTo>
                    <a:pt x="63" y="13"/>
                  </a:lnTo>
                  <a:lnTo>
                    <a:pt x="72" y="9"/>
                  </a:lnTo>
                  <a:lnTo>
                    <a:pt x="72" y="9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5" name="Freeform 38"/>
            <p:cNvSpPr>
              <a:spLocks noEditPoints="1"/>
            </p:cNvSpPr>
            <p:nvPr/>
          </p:nvSpPr>
          <p:spPr bwMode="auto">
            <a:xfrm flipH="1">
              <a:off x="5233665" y="2439098"/>
              <a:ext cx="927575" cy="1099009"/>
            </a:xfrm>
            <a:custGeom>
              <a:avLst/>
              <a:gdLst>
                <a:gd name="T0" fmla="*/ 1268 w 5032"/>
                <a:gd name="T1" fmla="*/ 3887 h 7662"/>
                <a:gd name="T2" fmla="*/ 1106 w 5032"/>
                <a:gd name="T3" fmla="*/ 3812 h 7662"/>
                <a:gd name="T4" fmla="*/ 757 w 5032"/>
                <a:gd name="T5" fmla="*/ 4963 h 7662"/>
                <a:gd name="T6" fmla="*/ 970 w 5032"/>
                <a:gd name="T7" fmla="*/ 5069 h 7662"/>
                <a:gd name="T8" fmla="*/ 399 w 5032"/>
                <a:gd name="T9" fmla="*/ 7353 h 7662"/>
                <a:gd name="T10" fmla="*/ 293 w 5032"/>
                <a:gd name="T11" fmla="*/ 7308 h 7662"/>
                <a:gd name="T12" fmla="*/ 138 w 5032"/>
                <a:gd name="T13" fmla="*/ 7230 h 7662"/>
                <a:gd name="T14" fmla="*/ 0 w 5032"/>
                <a:gd name="T15" fmla="*/ 7151 h 7662"/>
                <a:gd name="T16" fmla="*/ 412 w 5032"/>
                <a:gd name="T17" fmla="*/ 6037 h 7662"/>
                <a:gd name="T18" fmla="*/ 565 w 5032"/>
                <a:gd name="T19" fmla="*/ 6123 h 7662"/>
                <a:gd name="T20" fmla="*/ 692 w 5032"/>
                <a:gd name="T21" fmla="*/ 6184 h 7662"/>
                <a:gd name="T22" fmla="*/ 3432 w 5032"/>
                <a:gd name="T23" fmla="*/ 7662 h 7662"/>
                <a:gd name="T24" fmla="*/ 3775 w 5032"/>
                <a:gd name="T25" fmla="*/ 7604 h 7662"/>
                <a:gd name="T26" fmla="*/ 4129 w 5032"/>
                <a:gd name="T27" fmla="*/ 7515 h 7662"/>
                <a:gd name="T28" fmla="*/ 4160 w 5032"/>
                <a:gd name="T29" fmla="*/ 7506 h 7662"/>
                <a:gd name="T30" fmla="*/ 4187 w 5032"/>
                <a:gd name="T31" fmla="*/ 7498 h 7662"/>
                <a:gd name="T32" fmla="*/ 4386 w 5032"/>
                <a:gd name="T33" fmla="*/ 7431 h 7662"/>
                <a:gd name="T34" fmla="*/ 4597 w 5032"/>
                <a:gd name="T35" fmla="*/ 7348 h 7662"/>
                <a:gd name="T36" fmla="*/ 4814 w 5032"/>
                <a:gd name="T37" fmla="*/ 7249 h 7662"/>
                <a:gd name="T38" fmla="*/ 5032 w 5032"/>
                <a:gd name="T39" fmla="*/ 7133 h 7662"/>
                <a:gd name="T40" fmla="*/ 4693 w 5032"/>
                <a:gd name="T41" fmla="*/ 5968 h 7662"/>
                <a:gd name="T42" fmla="*/ 4570 w 5032"/>
                <a:gd name="T43" fmla="*/ 6050 h 7662"/>
                <a:gd name="T44" fmla="*/ 4431 w 5032"/>
                <a:gd name="T45" fmla="*/ 6127 h 7662"/>
                <a:gd name="T46" fmla="*/ 4277 w 5032"/>
                <a:gd name="T47" fmla="*/ 6199 h 7662"/>
                <a:gd name="T48" fmla="*/ 4109 w 5032"/>
                <a:gd name="T49" fmla="*/ 6264 h 7662"/>
                <a:gd name="T50" fmla="*/ 3927 w 5032"/>
                <a:gd name="T51" fmla="*/ 6323 h 7662"/>
                <a:gd name="T52" fmla="*/ 3632 w 5032"/>
                <a:gd name="T53" fmla="*/ 6397 h 7662"/>
                <a:gd name="T54" fmla="*/ 3314 w 5032"/>
                <a:gd name="T55" fmla="*/ 6454 h 7662"/>
                <a:gd name="T56" fmla="*/ 3226 w 5032"/>
                <a:gd name="T57" fmla="*/ 4035 h 7662"/>
                <a:gd name="T58" fmla="*/ 3503 w 5032"/>
                <a:gd name="T59" fmla="*/ 3970 h 7662"/>
                <a:gd name="T60" fmla="*/ 3747 w 5032"/>
                <a:gd name="T61" fmla="*/ 3887 h 7662"/>
                <a:gd name="T62" fmla="*/ 3954 w 5032"/>
                <a:gd name="T63" fmla="*/ 3787 h 7662"/>
                <a:gd name="T64" fmla="*/ 4376 w 5032"/>
                <a:gd name="T65" fmla="*/ 4879 h 7662"/>
                <a:gd name="T66" fmla="*/ 4299 w 5032"/>
                <a:gd name="T67" fmla="*/ 4932 h 7662"/>
                <a:gd name="T68" fmla="*/ 4183 w 5032"/>
                <a:gd name="T69" fmla="*/ 4999 h 7662"/>
                <a:gd name="T70" fmla="*/ 3950 w 5032"/>
                <a:gd name="T71" fmla="*/ 5103 h 7662"/>
                <a:gd name="T72" fmla="*/ 3640 w 5032"/>
                <a:gd name="T73" fmla="*/ 5202 h 7662"/>
                <a:gd name="T74" fmla="*/ 3292 w 5032"/>
                <a:gd name="T75" fmla="*/ 5277 h 7662"/>
                <a:gd name="T76" fmla="*/ 3079 w 5032"/>
                <a:gd name="T77" fmla="*/ 4059 h 7662"/>
                <a:gd name="T78" fmla="*/ 2923 w 5032"/>
                <a:gd name="T79" fmla="*/ 1646 h 7662"/>
                <a:gd name="T80" fmla="*/ 3074 w 5032"/>
                <a:gd name="T81" fmla="*/ 1617 h 7662"/>
                <a:gd name="T82" fmla="*/ 3214 w 5032"/>
                <a:gd name="T83" fmla="*/ 1579 h 7662"/>
                <a:gd name="T84" fmla="*/ 3340 w 5032"/>
                <a:gd name="T85" fmla="*/ 1534 h 7662"/>
                <a:gd name="T86" fmla="*/ 3728 w 5032"/>
                <a:gd name="T87" fmla="*/ 2650 h 7662"/>
                <a:gd name="T88" fmla="*/ 3618 w 5032"/>
                <a:gd name="T89" fmla="*/ 2713 h 7662"/>
                <a:gd name="T90" fmla="*/ 3446 w 5032"/>
                <a:gd name="T91" fmla="*/ 2787 h 7662"/>
                <a:gd name="T92" fmla="*/ 3246 w 5032"/>
                <a:gd name="T93" fmla="*/ 2847 h 7662"/>
                <a:gd name="T94" fmla="*/ 3023 w 5032"/>
                <a:gd name="T95" fmla="*/ 2893 h 7662"/>
                <a:gd name="T96" fmla="*/ 2843 w 5032"/>
                <a:gd name="T97" fmla="*/ 1657 h 7662"/>
                <a:gd name="T98" fmla="*/ 2813 w 5032"/>
                <a:gd name="T99" fmla="*/ 1 h 7662"/>
                <a:gd name="T100" fmla="*/ 2886 w 5032"/>
                <a:gd name="T101" fmla="*/ 8 h 7662"/>
                <a:gd name="T102" fmla="*/ 2948 w 5032"/>
                <a:gd name="T103" fmla="*/ 49 h 7662"/>
                <a:gd name="T104" fmla="*/ 2995 w 5032"/>
                <a:gd name="T105" fmla="*/ 124 h 7662"/>
                <a:gd name="T106" fmla="*/ 3029 w 5032"/>
                <a:gd name="T107" fmla="*/ 235 h 7662"/>
                <a:gd name="T108" fmla="*/ 2996 w 5032"/>
                <a:gd name="T109" fmla="*/ 405 h 7662"/>
                <a:gd name="T110" fmla="*/ 2826 w 5032"/>
                <a:gd name="T111" fmla="*/ 455 h 7662"/>
                <a:gd name="T112" fmla="*/ 2717 w 5032"/>
                <a:gd name="T113" fmla="*/ 345 h 7662"/>
                <a:gd name="T114" fmla="*/ 2705 w 5032"/>
                <a:gd name="T115" fmla="*/ 218 h 7662"/>
                <a:gd name="T116" fmla="*/ 2705 w 5032"/>
                <a:gd name="T117" fmla="*/ 119 h 7662"/>
                <a:gd name="T118" fmla="*/ 2721 w 5032"/>
                <a:gd name="T119" fmla="*/ 58 h 7662"/>
                <a:gd name="T120" fmla="*/ 2743 w 5032"/>
                <a:gd name="T121" fmla="*/ 28 h 7662"/>
                <a:gd name="T122" fmla="*/ 2775 w 5032"/>
                <a:gd name="T123" fmla="*/ 9 h 7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32" h="7662">
                  <a:moveTo>
                    <a:pt x="970" y="5069"/>
                  </a:moveTo>
                  <a:lnTo>
                    <a:pt x="970" y="5069"/>
                  </a:lnTo>
                  <a:lnTo>
                    <a:pt x="1268" y="3887"/>
                  </a:lnTo>
                  <a:lnTo>
                    <a:pt x="1268" y="3887"/>
                  </a:lnTo>
                  <a:lnTo>
                    <a:pt x="1225" y="3869"/>
                  </a:lnTo>
                  <a:lnTo>
                    <a:pt x="1184" y="3851"/>
                  </a:lnTo>
                  <a:lnTo>
                    <a:pt x="1145" y="3832"/>
                  </a:lnTo>
                  <a:lnTo>
                    <a:pt x="1106" y="3812"/>
                  </a:lnTo>
                  <a:lnTo>
                    <a:pt x="1106" y="3812"/>
                  </a:lnTo>
                  <a:lnTo>
                    <a:pt x="730" y="4947"/>
                  </a:lnTo>
                  <a:lnTo>
                    <a:pt x="730" y="4947"/>
                  </a:lnTo>
                  <a:lnTo>
                    <a:pt x="757" y="4963"/>
                  </a:lnTo>
                  <a:lnTo>
                    <a:pt x="785" y="4979"/>
                  </a:lnTo>
                  <a:lnTo>
                    <a:pt x="844" y="5010"/>
                  </a:lnTo>
                  <a:lnTo>
                    <a:pt x="906" y="5041"/>
                  </a:lnTo>
                  <a:lnTo>
                    <a:pt x="970" y="5069"/>
                  </a:lnTo>
                  <a:lnTo>
                    <a:pt x="970" y="5069"/>
                  </a:lnTo>
                  <a:close/>
                  <a:moveTo>
                    <a:pt x="692" y="6184"/>
                  </a:moveTo>
                  <a:lnTo>
                    <a:pt x="692" y="6184"/>
                  </a:lnTo>
                  <a:lnTo>
                    <a:pt x="399" y="7353"/>
                  </a:lnTo>
                  <a:lnTo>
                    <a:pt x="399" y="7353"/>
                  </a:lnTo>
                  <a:lnTo>
                    <a:pt x="399" y="7353"/>
                  </a:lnTo>
                  <a:lnTo>
                    <a:pt x="345" y="7331"/>
                  </a:lnTo>
                  <a:lnTo>
                    <a:pt x="293" y="7308"/>
                  </a:lnTo>
                  <a:lnTo>
                    <a:pt x="293" y="7308"/>
                  </a:lnTo>
                  <a:lnTo>
                    <a:pt x="239" y="7282"/>
                  </a:lnTo>
                  <a:lnTo>
                    <a:pt x="186" y="7256"/>
                  </a:lnTo>
                  <a:lnTo>
                    <a:pt x="138" y="7230"/>
                  </a:lnTo>
                  <a:lnTo>
                    <a:pt x="95" y="7206"/>
                  </a:lnTo>
                  <a:lnTo>
                    <a:pt x="28" y="7168"/>
                  </a:lnTo>
                  <a:lnTo>
                    <a:pt x="1" y="7153"/>
                  </a:lnTo>
                  <a:lnTo>
                    <a:pt x="0" y="7151"/>
                  </a:lnTo>
                  <a:lnTo>
                    <a:pt x="0" y="7151"/>
                  </a:lnTo>
                  <a:lnTo>
                    <a:pt x="377" y="6014"/>
                  </a:lnTo>
                  <a:lnTo>
                    <a:pt x="377" y="6014"/>
                  </a:lnTo>
                  <a:lnTo>
                    <a:pt x="412" y="6037"/>
                  </a:lnTo>
                  <a:lnTo>
                    <a:pt x="448" y="6060"/>
                  </a:lnTo>
                  <a:lnTo>
                    <a:pt x="486" y="6081"/>
                  </a:lnTo>
                  <a:lnTo>
                    <a:pt x="524" y="6102"/>
                  </a:lnTo>
                  <a:lnTo>
                    <a:pt x="565" y="6123"/>
                  </a:lnTo>
                  <a:lnTo>
                    <a:pt x="605" y="6144"/>
                  </a:lnTo>
                  <a:lnTo>
                    <a:pt x="648" y="6164"/>
                  </a:lnTo>
                  <a:lnTo>
                    <a:pt x="692" y="6184"/>
                  </a:lnTo>
                  <a:lnTo>
                    <a:pt x="692" y="6184"/>
                  </a:lnTo>
                  <a:close/>
                  <a:moveTo>
                    <a:pt x="3314" y="6454"/>
                  </a:moveTo>
                  <a:lnTo>
                    <a:pt x="3314" y="6454"/>
                  </a:lnTo>
                  <a:lnTo>
                    <a:pt x="3432" y="7662"/>
                  </a:lnTo>
                  <a:lnTo>
                    <a:pt x="3432" y="7662"/>
                  </a:lnTo>
                  <a:lnTo>
                    <a:pt x="3516" y="7650"/>
                  </a:lnTo>
                  <a:lnTo>
                    <a:pt x="3602" y="7636"/>
                  </a:lnTo>
                  <a:lnTo>
                    <a:pt x="3688" y="7620"/>
                  </a:lnTo>
                  <a:lnTo>
                    <a:pt x="3775" y="7604"/>
                  </a:lnTo>
                  <a:lnTo>
                    <a:pt x="3864" y="7584"/>
                  </a:lnTo>
                  <a:lnTo>
                    <a:pt x="3952" y="7563"/>
                  </a:lnTo>
                  <a:lnTo>
                    <a:pt x="4040" y="7540"/>
                  </a:lnTo>
                  <a:lnTo>
                    <a:pt x="4129" y="7515"/>
                  </a:lnTo>
                  <a:lnTo>
                    <a:pt x="4129" y="7515"/>
                  </a:lnTo>
                  <a:lnTo>
                    <a:pt x="4144" y="7511"/>
                  </a:lnTo>
                  <a:lnTo>
                    <a:pt x="4144" y="7511"/>
                  </a:lnTo>
                  <a:lnTo>
                    <a:pt x="4160" y="7506"/>
                  </a:lnTo>
                  <a:lnTo>
                    <a:pt x="4160" y="7506"/>
                  </a:lnTo>
                  <a:lnTo>
                    <a:pt x="4182" y="7500"/>
                  </a:lnTo>
                  <a:lnTo>
                    <a:pt x="4182" y="7500"/>
                  </a:lnTo>
                  <a:lnTo>
                    <a:pt x="4187" y="7498"/>
                  </a:lnTo>
                  <a:lnTo>
                    <a:pt x="4187" y="7498"/>
                  </a:lnTo>
                  <a:lnTo>
                    <a:pt x="4285" y="7466"/>
                  </a:lnTo>
                  <a:lnTo>
                    <a:pt x="4336" y="7449"/>
                  </a:lnTo>
                  <a:lnTo>
                    <a:pt x="4386" y="7431"/>
                  </a:lnTo>
                  <a:lnTo>
                    <a:pt x="4438" y="7412"/>
                  </a:lnTo>
                  <a:lnTo>
                    <a:pt x="4490" y="7392"/>
                  </a:lnTo>
                  <a:lnTo>
                    <a:pt x="4543" y="7371"/>
                  </a:lnTo>
                  <a:lnTo>
                    <a:pt x="4597" y="7348"/>
                  </a:lnTo>
                  <a:lnTo>
                    <a:pt x="4651" y="7325"/>
                  </a:lnTo>
                  <a:lnTo>
                    <a:pt x="4705" y="7302"/>
                  </a:lnTo>
                  <a:lnTo>
                    <a:pt x="4759" y="7277"/>
                  </a:lnTo>
                  <a:lnTo>
                    <a:pt x="4814" y="7249"/>
                  </a:lnTo>
                  <a:lnTo>
                    <a:pt x="4868" y="7222"/>
                  </a:lnTo>
                  <a:lnTo>
                    <a:pt x="4923" y="7194"/>
                  </a:lnTo>
                  <a:lnTo>
                    <a:pt x="4978" y="7164"/>
                  </a:lnTo>
                  <a:lnTo>
                    <a:pt x="5032" y="7133"/>
                  </a:lnTo>
                  <a:lnTo>
                    <a:pt x="5032" y="7133"/>
                  </a:lnTo>
                  <a:lnTo>
                    <a:pt x="5032" y="7133"/>
                  </a:lnTo>
                  <a:lnTo>
                    <a:pt x="4693" y="5968"/>
                  </a:lnTo>
                  <a:lnTo>
                    <a:pt x="4693" y="5968"/>
                  </a:lnTo>
                  <a:lnTo>
                    <a:pt x="4664" y="5990"/>
                  </a:lnTo>
                  <a:lnTo>
                    <a:pt x="4634" y="6010"/>
                  </a:lnTo>
                  <a:lnTo>
                    <a:pt x="4603" y="6030"/>
                  </a:lnTo>
                  <a:lnTo>
                    <a:pt x="4570" y="6050"/>
                  </a:lnTo>
                  <a:lnTo>
                    <a:pt x="4537" y="6070"/>
                  </a:lnTo>
                  <a:lnTo>
                    <a:pt x="4503" y="6090"/>
                  </a:lnTo>
                  <a:lnTo>
                    <a:pt x="4468" y="6109"/>
                  </a:lnTo>
                  <a:lnTo>
                    <a:pt x="4431" y="6127"/>
                  </a:lnTo>
                  <a:lnTo>
                    <a:pt x="4395" y="6146"/>
                  </a:lnTo>
                  <a:lnTo>
                    <a:pt x="4356" y="6164"/>
                  </a:lnTo>
                  <a:lnTo>
                    <a:pt x="4317" y="6181"/>
                  </a:lnTo>
                  <a:lnTo>
                    <a:pt x="4277" y="6199"/>
                  </a:lnTo>
                  <a:lnTo>
                    <a:pt x="4237" y="6216"/>
                  </a:lnTo>
                  <a:lnTo>
                    <a:pt x="4194" y="6232"/>
                  </a:lnTo>
                  <a:lnTo>
                    <a:pt x="4153" y="6248"/>
                  </a:lnTo>
                  <a:lnTo>
                    <a:pt x="4109" y="6264"/>
                  </a:lnTo>
                  <a:lnTo>
                    <a:pt x="4064" y="6279"/>
                  </a:lnTo>
                  <a:lnTo>
                    <a:pt x="4019" y="6294"/>
                  </a:lnTo>
                  <a:lnTo>
                    <a:pt x="3974" y="6309"/>
                  </a:lnTo>
                  <a:lnTo>
                    <a:pt x="3927" y="6323"/>
                  </a:lnTo>
                  <a:lnTo>
                    <a:pt x="3880" y="6337"/>
                  </a:lnTo>
                  <a:lnTo>
                    <a:pt x="3831" y="6349"/>
                  </a:lnTo>
                  <a:lnTo>
                    <a:pt x="3734" y="6374"/>
                  </a:lnTo>
                  <a:lnTo>
                    <a:pt x="3632" y="6397"/>
                  </a:lnTo>
                  <a:lnTo>
                    <a:pt x="3529" y="6418"/>
                  </a:lnTo>
                  <a:lnTo>
                    <a:pt x="3422" y="6438"/>
                  </a:lnTo>
                  <a:lnTo>
                    <a:pt x="3314" y="6454"/>
                  </a:lnTo>
                  <a:lnTo>
                    <a:pt x="3314" y="6454"/>
                  </a:lnTo>
                  <a:close/>
                  <a:moveTo>
                    <a:pt x="3079" y="4059"/>
                  </a:moveTo>
                  <a:lnTo>
                    <a:pt x="3079" y="4059"/>
                  </a:lnTo>
                  <a:lnTo>
                    <a:pt x="3153" y="4048"/>
                  </a:lnTo>
                  <a:lnTo>
                    <a:pt x="3226" y="4035"/>
                  </a:lnTo>
                  <a:lnTo>
                    <a:pt x="3298" y="4020"/>
                  </a:lnTo>
                  <a:lnTo>
                    <a:pt x="3369" y="4005"/>
                  </a:lnTo>
                  <a:lnTo>
                    <a:pt x="3436" y="3988"/>
                  </a:lnTo>
                  <a:lnTo>
                    <a:pt x="3503" y="3970"/>
                  </a:lnTo>
                  <a:lnTo>
                    <a:pt x="3567" y="3952"/>
                  </a:lnTo>
                  <a:lnTo>
                    <a:pt x="3629" y="3931"/>
                  </a:lnTo>
                  <a:lnTo>
                    <a:pt x="3689" y="3910"/>
                  </a:lnTo>
                  <a:lnTo>
                    <a:pt x="3747" y="3887"/>
                  </a:lnTo>
                  <a:lnTo>
                    <a:pt x="3802" y="3864"/>
                  </a:lnTo>
                  <a:lnTo>
                    <a:pt x="3855" y="3839"/>
                  </a:lnTo>
                  <a:lnTo>
                    <a:pt x="3906" y="3814"/>
                  </a:lnTo>
                  <a:lnTo>
                    <a:pt x="3954" y="3787"/>
                  </a:lnTo>
                  <a:lnTo>
                    <a:pt x="4000" y="3760"/>
                  </a:lnTo>
                  <a:lnTo>
                    <a:pt x="4042" y="3732"/>
                  </a:lnTo>
                  <a:lnTo>
                    <a:pt x="4042" y="3732"/>
                  </a:lnTo>
                  <a:lnTo>
                    <a:pt x="4376" y="4879"/>
                  </a:lnTo>
                  <a:lnTo>
                    <a:pt x="4376" y="4879"/>
                  </a:lnTo>
                  <a:lnTo>
                    <a:pt x="4351" y="4897"/>
                  </a:lnTo>
                  <a:lnTo>
                    <a:pt x="4325" y="4914"/>
                  </a:lnTo>
                  <a:lnTo>
                    <a:pt x="4299" y="4932"/>
                  </a:lnTo>
                  <a:lnTo>
                    <a:pt x="4271" y="4949"/>
                  </a:lnTo>
                  <a:lnTo>
                    <a:pt x="4243" y="4965"/>
                  </a:lnTo>
                  <a:lnTo>
                    <a:pt x="4213" y="4982"/>
                  </a:lnTo>
                  <a:lnTo>
                    <a:pt x="4183" y="4999"/>
                  </a:lnTo>
                  <a:lnTo>
                    <a:pt x="4153" y="5014"/>
                  </a:lnTo>
                  <a:lnTo>
                    <a:pt x="4088" y="5045"/>
                  </a:lnTo>
                  <a:lnTo>
                    <a:pt x="4020" y="5075"/>
                  </a:lnTo>
                  <a:lnTo>
                    <a:pt x="3950" y="5103"/>
                  </a:lnTo>
                  <a:lnTo>
                    <a:pt x="3876" y="5130"/>
                  </a:lnTo>
                  <a:lnTo>
                    <a:pt x="3800" y="5155"/>
                  </a:lnTo>
                  <a:lnTo>
                    <a:pt x="3721" y="5180"/>
                  </a:lnTo>
                  <a:lnTo>
                    <a:pt x="3640" y="5202"/>
                  </a:lnTo>
                  <a:lnTo>
                    <a:pt x="3557" y="5224"/>
                  </a:lnTo>
                  <a:lnTo>
                    <a:pt x="3471" y="5243"/>
                  </a:lnTo>
                  <a:lnTo>
                    <a:pt x="3382" y="5260"/>
                  </a:lnTo>
                  <a:lnTo>
                    <a:pt x="3292" y="5277"/>
                  </a:lnTo>
                  <a:lnTo>
                    <a:pt x="3199" y="5292"/>
                  </a:lnTo>
                  <a:lnTo>
                    <a:pt x="3199" y="5292"/>
                  </a:lnTo>
                  <a:lnTo>
                    <a:pt x="3079" y="4059"/>
                  </a:lnTo>
                  <a:lnTo>
                    <a:pt x="3079" y="4059"/>
                  </a:lnTo>
                  <a:close/>
                  <a:moveTo>
                    <a:pt x="2843" y="1657"/>
                  </a:moveTo>
                  <a:lnTo>
                    <a:pt x="2843" y="1657"/>
                  </a:lnTo>
                  <a:lnTo>
                    <a:pt x="2883" y="1652"/>
                  </a:lnTo>
                  <a:lnTo>
                    <a:pt x="2923" y="1646"/>
                  </a:lnTo>
                  <a:lnTo>
                    <a:pt x="2961" y="1640"/>
                  </a:lnTo>
                  <a:lnTo>
                    <a:pt x="3000" y="1632"/>
                  </a:lnTo>
                  <a:lnTo>
                    <a:pt x="3037" y="1625"/>
                  </a:lnTo>
                  <a:lnTo>
                    <a:pt x="3074" y="1617"/>
                  </a:lnTo>
                  <a:lnTo>
                    <a:pt x="3110" y="1608"/>
                  </a:lnTo>
                  <a:lnTo>
                    <a:pt x="3145" y="1599"/>
                  </a:lnTo>
                  <a:lnTo>
                    <a:pt x="3180" y="1590"/>
                  </a:lnTo>
                  <a:lnTo>
                    <a:pt x="3214" y="1579"/>
                  </a:lnTo>
                  <a:lnTo>
                    <a:pt x="3247" y="1569"/>
                  </a:lnTo>
                  <a:lnTo>
                    <a:pt x="3278" y="1558"/>
                  </a:lnTo>
                  <a:lnTo>
                    <a:pt x="3309" y="1547"/>
                  </a:lnTo>
                  <a:lnTo>
                    <a:pt x="3340" y="1534"/>
                  </a:lnTo>
                  <a:lnTo>
                    <a:pt x="3369" y="1522"/>
                  </a:lnTo>
                  <a:lnTo>
                    <a:pt x="3397" y="1509"/>
                  </a:lnTo>
                  <a:lnTo>
                    <a:pt x="3397" y="1509"/>
                  </a:lnTo>
                  <a:lnTo>
                    <a:pt x="3728" y="2650"/>
                  </a:lnTo>
                  <a:lnTo>
                    <a:pt x="3728" y="2650"/>
                  </a:lnTo>
                  <a:lnTo>
                    <a:pt x="3694" y="2672"/>
                  </a:lnTo>
                  <a:lnTo>
                    <a:pt x="3657" y="2693"/>
                  </a:lnTo>
                  <a:lnTo>
                    <a:pt x="3618" y="2713"/>
                  </a:lnTo>
                  <a:lnTo>
                    <a:pt x="3578" y="2733"/>
                  </a:lnTo>
                  <a:lnTo>
                    <a:pt x="3535" y="2751"/>
                  </a:lnTo>
                  <a:lnTo>
                    <a:pt x="3491" y="2770"/>
                  </a:lnTo>
                  <a:lnTo>
                    <a:pt x="3446" y="2787"/>
                  </a:lnTo>
                  <a:lnTo>
                    <a:pt x="3398" y="2803"/>
                  </a:lnTo>
                  <a:lnTo>
                    <a:pt x="3349" y="2819"/>
                  </a:lnTo>
                  <a:lnTo>
                    <a:pt x="3298" y="2834"/>
                  </a:lnTo>
                  <a:lnTo>
                    <a:pt x="3246" y="2847"/>
                  </a:lnTo>
                  <a:lnTo>
                    <a:pt x="3192" y="2861"/>
                  </a:lnTo>
                  <a:lnTo>
                    <a:pt x="3137" y="2872"/>
                  </a:lnTo>
                  <a:lnTo>
                    <a:pt x="3081" y="2883"/>
                  </a:lnTo>
                  <a:lnTo>
                    <a:pt x="3023" y="2893"/>
                  </a:lnTo>
                  <a:lnTo>
                    <a:pt x="2965" y="2902"/>
                  </a:lnTo>
                  <a:lnTo>
                    <a:pt x="2965" y="2902"/>
                  </a:lnTo>
                  <a:lnTo>
                    <a:pt x="2843" y="1657"/>
                  </a:lnTo>
                  <a:lnTo>
                    <a:pt x="2843" y="1657"/>
                  </a:lnTo>
                  <a:close/>
                  <a:moveTo>
                    <a:pt x="2775" y="9"/>
                  </a:moveTo>
                  <a:lnTo>
                    <a:pt x="2775" y="9"/>
                  </a:lnTo>
                  <a:lnTo>
                    <a:pt x="2795" y="4"/>
                  </a:lnTo>
                  <a:lnTo>
                    <a:pt x="2813" y="1"/>
                  </a:lnTo>
                  <a:lnTo>
                    <a:pt x="2832" y="0"/>
                  </a:lnTo>
                  <a:lnTo>
                    <a:pt x="2851" y="1"/>
                  </a:lnTo>
                  <a:lnTo>
                    <a:pt x="2869" y="4"/>
                  </a:lnTo>
                  <a:lnTo>
                    <a:pt x="2886" y="8"/>
                  </a:lnTo>
                  <a:lnTo>
                    <a:pt x="2903" y="15"/>
                  </a:lnTo>
                  <a:lnTo>
                    <a:pt x="2918" y="25"/>
                  </a:lnTo>
                  <a:lnTo>
                    <a:pt x="2934" y="35"/>
                  </a:lnTo>
                  <a:lnTo>
                    <a:pt x="2948" y="49"/>
                  </a:lnTo>
                  <a:lnTo>
                    <a:pt x="2961" y="64"/>
                  </a:lnTo>
                  <a:lnTo>
                    <a:pt x="2974" y="82"/>
                  </a:lnTo>
                  <a:lnTo>
                    <a:pt x="2985" y="102"/>
                  </a:lnTo>
                  <a:lnTo>
                    <a:pt x="2995" y="124"/>
                  </a:lnTo>
                  <a:lnTo>
                    <a:pt x="3004" y="148"/>
                  </a:lnTo>
                  <a:lnTo>
                    <a:pt x="3012" y="174"/>
                  </a:lnTo>
                  <a:lnTo>
                    <a:pt x="3012" y="174"/>
                  </a:lnTo>
                  <a:lnTo>
                    <a:pt x="3029" y="235"/>
                  </a:lnTo>
                  <a:lnTo>
                    <a:pt x="3068" y="373"/>
                  </a:lnTo>
                  <a:lnTo>
                    <a:pt x="3068" y="373"/>
                  </a:lnTo>
                  <a:lnTo>
                    <a:pt x="3034" y="389"/>
                  </a:lnTo>
                  <a:lnTo>
                    <a:pt x="2996" y="405"/>
                  </a:lnTo>
                  <a:lnTo>
                    <a:pt x="2957" y="418"/>
                  </a:lnTo>
                  <a:lnTo>
                    <a:pt x="2915" y="432"/>
                  </a:lnTo>
                  <a:lnTo>
                    <a:pt x="2872" y="444"/>
                  </a:lnTo>
                  <a:lnTo>
                    <a:pt x="2826" y="455"/>
                  </a:lnTo>
                  <a:lnTo>
                    <a:pt x="2777" y="463"/>
                  </a:lnTo>
                  <a:lnTo>
                    <a:pt x="2728" y="472"/>
                  </a:lnTo>
                  <a:lnTo>
                    <a:pt x="2728" y="472"/>
                  </a:lnTo>
                  <a:lnTo>
                    <a:pt x="2717" y="345"/>
                  </a:lnTo>
                  <a:lnTo>
                    <a:pt x="2717" y="345"/>
                  </a:lnTo>
                  <a:lnTo>
                    <a:pt x="2713" y="297"/>
                  </a:lnTo>
                  <a:lnTo>
                    <a:pt x="2707" y="244"/>
                  </a:lnTo>
                  <a:lnTo>
                    <a:pt x="2705" y="218"/>
                  </a:lnTo>
                  <a:lnTo>
                    <a:pt x="2704" y="192"/>
                  </a:lnTo>
                  <a:lnTo>
                    <a:pt x="2703" y="167"/>
                  </a:lnTo>
                  <a:lnTo>
                    <a:pt x="2704" y="142"/>
                  </a:lnTo>
                  <a:lnTo>
                    <a:pt x="2705" y="119"/>
                  </a:lnTo>
                  <a:lnTo>
                    <a:pt x="2710" y="96"/>
                  </a:lnTo>
                  <a:lnTo>
                    <a:pt x="2715" y="77"/>
                  </a:lnTo>
                  <a:lnTo>
                    <a:pt x="2718" y="67"/>
                  </a:lnTo>
                  <a:lnTo>
                    <a:pt x="2721" y="58"/>
                  </a:lnTo>
                  <a:lnTo>
                    <a:pt x="2726" y="50"/>
                  </a:lnTo>
                  <a:lnTo>
                    <a:pt x="2731" y="41"/>
                  </a:lnTo>
                  <a:lnTo>
                    <a:pt x="2737" y="34"/>
                  </a:lnTo>
                  <a:lnTo>
                    <a:pt x="2743" y="28"/>
                  </a:lnTo>
                  <a:lnTo>
                    <a:pt x="2750" y="22"/>
                  </a:lnTo>
                  <a:lnTo>
                    <a:pt x="2757" y="17"/>
                  </a:lnTo>
                  <a:lnTo>
                    <a:pt x="2766" y="13"/>
                  </a:lnTo>
                  <a:lnTo>
                    <a:pt x="2775" y="9"/>
                  </a:lnTo>
                  <a:lnTo>
                    <a:pt x="2775" y="9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6" name="Freeform 39"/>
            <p:cNvSpPr>
              <a:spLocks/>
            </p:cNvSpPr>
            <p:nvPr/>
          </p:nvSpPr>
          <p:spPr bwMode="auto">
            <a:xfrm flipH="1">
              <a:off x="5534256" y="2493275"/>
              <a:ext cx="123849" cy="183168"/>
            </a:xfrm>
            <a:custGeom>
              <a:avLst/>
              <a:gdLst>
                <a:gd name="T0" fmla="*/ 340 w 669"/>
                <a:gd name="T1" fmla="*/ 0 h 1284"/>
                <a:gd name="T2" fmla="*/ 340 w 669"/>
                <a:gd name="T3" fmla="*/ 0 h 1284"/>
                <a:gd name="T4" fmla="*/ 669 w 669"/>
                <a:gd name="T5" fmla="*/ 1136 h 1284"/>
                <a:gd name="T6" fmla="*/ 669 w 669"/>
                <a:gd name="T7" fmla="*/ 1136 h 1284"/>
                <a:gd name="T8" fmla="*/ 641 w 669"/>
                <a:gd name="T9" fmla="*/ 1149 h 1284"/>
                <a:gd name="T10" fmla="*/ 612 w 669"/>
                <a:gd name="T11" fmla="*/ 1161 h 1284"/>
                <a:gd name="T12" fmla="*/ 581 w 669"/>
                <a:gd name="T13" fmla="*/ 1174 h 1284"/>
                <a:gd name="T14" fmla="*/ 550 w 669"/>
                <a:gd name="T15" fmla="*/ 1185 h 1284"/>
                <a:gd name="T16" fmla="*/ 519 w 669"/>
                <a:gd name="T17" fmla="*/ 1196 h 1284"/>
                <a:gd name="T18" fmla="*/ 486 w 669"/>
                <a:gd name="T19" fmla="*/ 1206 h 1284"/>
                <a:gd name="T20" fmla="*/ 452 w 669"/>
                <a:gd name="T21" fmla="*/ 1217 h 1284"/>
                <a:gd name="T22" fmla="*/ 417 w 669"/>
                <a:gd name="T23" fmla="*/ 1226 h 1284"/>
                <a:gd name="T24" fmla="*/ 382 w 669"/>
                <a:gd name="T25" fmla="*/ 1235 h 1284"/>
                <a:gd name="T26" fmla="*/ 346 w 669"/>
                <a:gd name="T27" fmla="*/ 1244 h 1284"/>
                <a:gd name="T28" fmla="*/ 309 w 669"/>
                <a:gd name="T29" fmla="*/ 1252 h 1284"/>
                <a:gd name="T30" fmla="*/ 272 w 669"/>
                <a:gd name="T31" fmla="*/ 1259 h 1284"/>
                <a:gd name="T32" fmla="*/ 233 w 669"/>
                <a:gd name="T33" fmla="*/ 1267 h 1284"/>
                <a:gd name="T34" fmla="*/ 195 w 669"/>
                <a:gd name="T35" fmla="*/ 1273 h 1284"/>
                <a:gd name="T36" fmla="*/ 155 w 669"/>
                <a:gd name="T37" fmla="*/ 1279 h 1284"/>
                <a:gd name="T38" fmla="*/ 115 w 669"/>
                <a:gd name="T39" fmla="*/ 1284 h 1284"/>
                <a:gd name="T40" fmla="*/ 115 w 669"/>
                <a:gd name="T41" fmla="*/ 1284 h 1284"/>
                <a:gd name="T42" fmla="*/ 0 w 669"/>
                <a:gd name="T43" fmla="*/ 99 h 1284"/>
                <a:gd name="T44" fmla="*/ 0 w 669"/>
                <a:gd name="T45" fmla="*/ 99 h 1284"/>
                <a:gd name="T46" fmla="*/ 49 w 669"/>
                <a:gd name="T47" fmla="*/ 90 h 1284"/>
                <a:gd name="T48" fmla="*/ 98 w 669"/>
                <a:gd name="T49" fmla="*/ 82 h 1284"/>
                <a:gd name="T50" fmla="*/ 144 w 669"/>
                <a:gd name="T51" fmla="*/ 71 h 1284"/>
                <a:gd name="T52" fmla="*/ 187 w 669"/>
                <a:gd name="T53" fmla="*/ 59 h 1284"/>
                <a:gd name="T54" fmla="*/ 229 w 669"/>
                <a:gd name="T55" fmla="*/ 45 h 1284"/>
                <a:gd name="T56" fmla="*/ 268 w 669"/>
                <a:gd name="T57" fmla="*/ 32 h 1284"/>
                <a:gd name="T58" fmla="*/ 306 w 669"/>
                <a:gd name="T59" fmla="*/ 16 h 1284"/>
                <a:gd name="T60" fmla="*/ 340 w 669"/>
                <a:gd name="T61" fmla="*/ 0 h 1284"/>
                <a:gd name="T62" fmla="*/ 340 w 669"/>
                <a:gd name="T63" fmla="*/ 0 h 1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69" h="1284">
                  <a:moveTo>
                    <a:pt x="340" y="0"/>
                  </a:moveTo>
                  <a:lnTo>
                    <a:pt x="340" y="0"/>
                  </a:lnTo>
                  <a:lnTo>
                    <a:pt x="669" y="1136"/>
                  </a:lnTo>
                  <a:lnTo>
                    <a:pt x="669" y="1136"/>
                  </a:lnTo>
                  <a:lnTo>
                    <a:pt x="641" y="1149"/>
                  </a:lnTo>
                  <a:lnTo>
                    <a:pt x="612" y="1161"/>
                  </a:lnTo>
                  <a:lnTo>
                    <a:pt x="581" y="1174"/>
                  </a:lnTo>
                  <a:lnTo>
                    <a:pt x="550" y="1185"/>
                  </a:lnTo>
                  <a:lnTo>
                    <a:pt x="519" y="1196"/>
                  </a:lnTo>
                  <a:lnTo>
                    <a:pt x="486" y="1206"/>
                  </a:lnTo>
                  <a:lnTo>
                    <a:pt x="452" y="1217"/>
                  </a:lnTo>
                  <a:lnTo>
                    <a:pt x="417" y="1226"/>
                  </a:lnTo>
                  <a:lnTo>
                    <a:pt x="382" y="1235"/>
                  </a:lnTo>
                  <a:lnTo>
                    <a:pt x="346" y="1244"/>
                  </a:lnTo>
                  <a:lnTo>
                    <a:pt x="309" y="1252"/>
                  </a:lnTo>
                  <a:lnTo>
                    <a:pt x="272" y="1259"/>
                  </a:lnTo>
                  <a:lnTo>
                    <a:pt x="233" y="1267"/>
                  </a:lnTo>
                  <a:lnTo>
                    <a:pt x="195" y="1273"/>
                  </a:lnTo>
                  <a:lnTo>
                    <a:pt x="155" y="1279"/>
                  </a:lnTo>
                  <a:lnTo>
                    <a:pt x="115" y="1284"/>
                  </a:lnTo>
                  <a:lnTo>
                    <a:pt x="115" y="1284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49" y="90"/>
                  </a:lnTo>
                  <a:lnTo>
                    <a:pt x="98" y="82"/>
                  </a:lnTo>
                  <a:lnTo>
                    <a:pt x="144" y="71"/>
                  </a:lnTo>
                  <a:lnTo>
                    <a:pt x="187" y="59"/>
                  </a:lnTo>
                  <a:lnTo>
                    <a:pt x="229" y="45"/>
                  </a:lnTo>
                  <a:lnTo>
                    <a:pt x="268" y="32"/>
                  </a:lnTo>
                  <a:lnTo>
                    <a:pt x="306" y="16"/>
                  </a:lnTo>
                  <a:lnTo>
                    <a:pt x="340" y="0"/>
                  </a:lnTo>
                  <a:lnTo>
                    <a:pt x="34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7" name="Freeform 40"/>
            <p:cNvSpPr>
              <a:spLocks noEditPoints="1"/>
            </p:cNvSpPr>
            <p:nvPr/>
          </p:nvSpPr>
          <p:spPr bwMode="auto">
            <a:xfrm flipH="1">
              <a:off x="5295589" y="2493275"/>
              <a:ext cx="795986" cy="870694"/>
            </a:xfrm>
            <a:custGeom>
              <a:avLst/>
              <a:gdLst>
                <a:gd name="T0" fmla="*/ 807 w 4316"/>
                <a:gd name="T1" fmla="*/ 3478 h 6081"/>
                <a:gd name="T2" fmla="*/ 969 w 4316"/>
                <a:gd name="T3" fmla="*/ 3203 h 6081"/>
                <a:gd name="T4" fmla="*/ 1020 w 4316"/>
                <a:gd name="T5" fmla="*/ 3001 h 6081"/>
                <a:gd name="T6" fmla="*/ 1028 w 4316"/>
                <a:gd name="T7" fmla="*/ 2934 h 6081"/>
                <a:gd name="T8" fmla="*/ 1023 w 4316"/>
                <a:gd name="T9" fmla="*/ 2888 h 6081"/>
                <a:gd name="T10" fmla="*/ 1005 w 4316"/>
                <a:gd name="T11" fmla="*/ 2865 h 6081"/>
                <a:gd name="T12" fmla="*/ 980 w 4316"/>
                <a:gd name="T13" fmla="*/ 2862 h 6081"/>
                <a:gd name="T14" fmla="*/ 951 w 4316"/>
                <a:gd name="T15" fmla="*/ 2878 h 6081"/>
                <a:gd name="T16" fmla="*/ 920 w 4316"/>
                <a:gd name="T17" fmla="*/ 2914 h 6081"/>
                <a:gd name="T18" fmla="*/ 891 w 4316"/>
                <a:gd name="T19" fmla="*/ 2967 h 6081"/>
                <a:gd name="T20" fmla="*/ 828 w 4316"/>
                <a:gd name="T21" fmla="*/ 3143 h 6081"/>
                <a:gd name="T22" fmla="*/ 593 w 4316"/>
                <a:gd name="T23" fmla="*/ 4696 h 6081"/>
                <a:gd name="T24" fmla="*/ 228 w 4316"/>
                <a:gd name="T25" fmla="*/ 5771 h 6081"/>
                <a:gd name="T26" fmla="*/ 71 w 4316"/>
                <a:gd name="T27" fmla="*/ 5687 h 6081"/>
                <a:gd name="T28" fmla="*/ 353 w 4316"/>
                <a:gd name="T29" fmla="*/ 4574 h 6081"/>
                <a:gd name="T30" fmla="*/ 467 w 4316"/>
                <a:gd name="T31" fmla="*/ 4637 h 6081"/>
                <a:gd name="T32" fmla="*/ 2702 w 4316"/>
                <a:gd name="T33" fmla="*/ 3686 h 6081"/>
                <a:gd name="T34" fmla="*/ 2921 w 4316"/>
                <a:gd name="T35" fmla="*/ 3647 h 6081"/>
                <a:gd name="T36" fmla="*/ 3190 w 4316"/>
                <a:gd name="T37" fmla="*/ 3579 h 6081"/>
                <a:gd name="T38" fmla="*/ 3425 w 4316"/>
                <a:gd name="T39" fmla="*/ 3491 h 6081"/>
                <a:gd name="T40" fmla="*/ 3623 w 4316"/>
                <a:gd name="T41" fmla="*/ 3387 h 6081"/>
                <a:gd name="T42" fmla="*/ 3351 w 4316"/>
                <a:gd name="T43" fmla="*/ 2277 h 6081"/>
                <a:gd name="T44" fmla="*/ 3201 w 4316"/>
                <a:gd name="T45" fmla="*/ 2360 h 6081"/>
                <a:gd name="T46" fmla="*/ 3021 w 4316"/>
                <a:gd name="T47" fmla="*/ 2430 h 6081"/>
                <a:gd name="T48" fmla="*/ 2815 w 4316"/>
                <a:gd name="T49" fmla="*/ 2488 h 6081"/>
                <a:gd name="T50" fmla="*/ 2588 w 4316"/>
                <a:gd name="T51" fmla="*/ 2529 h 6081"/>
                <a:gd name="T52" fmla="*/ 3999 w 4316"/>
                <a:gd name="T53" fmla="*/ 4506 h 6081"/>
                <a:gd name="T54" fmla="*/ 4287 w 4316"/>
                <a:gd name="T55" fmla="*/ 5617 h 6081"/>
                <a:gd name="T56" fmla="*/ 4160 w 4316"/>
                <a:gd name="T57" fmla="*/ 5697 h 6081"/>
                <a:gd name="T58" fmla="*/ 4018 w 4316"/>
                <a:gd name="T59" fmla="*/ 5773 h 6081"/>
                <a:gd name="T60" fmla="*/ 3860 w 4316"/>
                <a:gd name="T61" fmla="*/ 5843 h 6081"/>
                <a:gd name="T62" fmla="*/ 3687 w 4316"/>
                <a:gd name="T63" fmla="*/ 5906 h 6081"/>
                <a:gd name="T64" fmla="*/ 3503 w 4316"/>
                <a:gd name="T65" fmla="*/ 5964 h 6081"/>
                <a:gd name="T66" fmla="*/ 3152 w 4316"/>
                <a:gd name="T67" fmla="*/ 6045 h 6081"/>
                <a:gd name="T68" fmla="*/ 2822 w 4316"/>
                <a:gd name="T69" fmla="*/ 4919 h 6081"/>
                <a:gd name="T70" fmla="*/ 3094 w 4316"/>
                <a:gd name="T71" fmla="*/ 4870 h 6081"/>
                <a:gd name="T72" fmla="*/ 3423 w 4316"/>
                <a:gd name="T73" fmla="*/ 4782 h 6081"/>
                <a:gd name="T74" fmla="*/ 3711 w 4316"/>
                <a:gd name="T75" fmla="*/ 4672 h 6081"/>
                <a:gd name="T76" fmla="*/ 3866 w 4316"/>
                <a:gd name="T77" fmla="*/ 4592 h 6081"/>
                <a:gd name="T78" fmla="*/ 3974 w 4316"/>
                <a:gd name="T79" fmla="*/ 4524 h 6081"/>
                <a:gd name="T80" fmla="*/ 2691 w 4316"/>
                <a:gd name="T81" fmla="*/ 0 h 6081"/>
                <a:gd name="T82" fmla="*/ 2963 w 4316"/>
                <a:gd name="T83" fmla="*/ 1161 h 6081"/>
                <a:gd name="T84" fmla="*/ 2837 w 4316"/>
                <a:gd name="T85" fmla="*/ 1206 h 6081"/>
                <a:gd name="T86" fmla="*/ 2697 w 4316"/>
                <a:gd name="T87" fmla="*/ 1244 h 6081"/>
                <a:gd name="T88" fmla="*/ 2546 w 4316"/>
                <a:gd name="T89" fmla="*/ 1273 h 6081"/>
                <a:gd name="T90" fmla="*/ 2351 w 4316"/>
                <a:gd name="T91" fmla="*/ 99 h 6081"/>
                <a:gd name="T92" fmla="*/ 2495 w 4316"/>
                <a:gd name="T93" fmla="*/ 71 h 6081"/>
                <a:gd name="T94" fmla="*/ 2657 w 4316"/>
                <a:gd name="T95" fmla="*/ 16 h 60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316" h="6081">
                  <a:moveTo>
                    <a:pt x="729" y="3439"/>
                  </a:moveTo>
                  <a:lnTo>
                    <a:pt x="729" y="3439"/>
                  </a:lnTo>
                  <a:lnTo>
                    <a:pt x="768" y="3459"/>
                  </a:lnTo>
                  <a:lnTo>
                    <a:pt x="807" y="3478"/>
                  </a:lnTo>
                  <a:lnTo>
                    <a:pt x="848" y="3496"/>
                  </a:lnTo>
                  <a:lnTo>
                    <a:pt x="891" y="3514"/>
                  </a:lnTo>
                  <a:lnTo>
                    <a:pt x="891" y="3514"/>
                  </a:lnTo>
                  <a:lnTo>
                    <a:pt x="969" y="3203"/>
                  </a:lnTo>
                  <a:lnTo>
                    <a:pt x="1010" y="3044"/>
                  </a:lnTo>
                  <a:lnTo>
                    <a:pt x="1010" y="3044"/>
                  </a:lnTo>
                  <a:lnTo>
                    <a:pt x="1015" y="3022"/>
                  </a:lnTo>
                  <a:lnTo>
                    <a:pt x="1020" y="3001"/>
                  </a:lnTo>
                  <a:lnTo>
                    <a:pt x="1024" y="2982"/>
                  </a:lnTo>
                  <a:lnTo>
                    <a:pt x="1026" y="2964"/>
                  </a:lnTo>
                  <a:lnTo>
                    <a:pt x="1028" y="2948"/>
                  </a:lnTo>
                  <a:lnTo>
                    <a:pt x="1028" y="2934"/>
                  </a:lnTo>
                  <a:lnTo>
                    <a:pt x="1028" y="2920"/>
                  </a:lnTo>
                  <a:lnTo>
                    <a:pt x="1027" y="2908"/>
                  </a:lnTo>
                  <a:lnTo>
                    <a:pt x="1025" y="2897"/>
                  </a:lnTo>
                  <a:lnTo>
                    <a:pt x="1023" y="2888"/>
                  </a:lnTo>
                  <a:lnTo>
                    <a:pt x="1018" y="2881"/>
                  </a:lnTo>
                  <a:lnTo>
                    <a:pt x="1015" y="2874"/>
                  </a:lnTo>
                  <a:lnTo>
                    <a:pt x="1010" y="2869"/>
                  </a:lnTo>
                  <a:lnTo>
                    <a:pt x="1005" y="2865"/>
                  </a:lnTo>
                  <a:lnTo>
                    <a:pt x="1000" y="2862"/>
                  </a:lnTo>
                  <a:lnTo>
                    <a:pt x="993" y="2861"/>
                  </a:lnTo>
                  <a:lnTo>
                    <a:pt x="987" y="2861"/>
                  </a:lnTo>
                  <a:lnTo>
                    <a:pt x="980" y="2862"/>
                  </a:lnTo>
                  <a:lnTo>
                    <a:pt x="974" y="2864"/>
                  </a:lnTo>
                  <a:lnTo>
                    <a:pt x="966" y="2868"/>
                  </a:lnTo>
                  <a:lnTo>
                    <a:pt x="958" y="2873"/>
                  </a:lnTo>
                  <a:lnTo>
                    <a:pt x="951" y="2878"/>
                  </a:lnTo>
                  <a:lnTo>
                    <a:pt x="944" y="2886"/>
                  </a:lnTo>
                  <a:lnTo>
                    <a:pt x="935" y="2894"/>
                  </a:lnTo>
                  <a:lnTo>
                    <a:pt x="928" y="2903"/>
                  </a:lnTo>
                  <a:lnTo>
                    <a:pt x="920" y="2914"/>
                  </a:lnTo>
                  <a:lnTo>
                    <a:pt x="912" y="2925"/>
                  </a:lnTo>
                  <a:lnTo>
                    <a:pt x="905" y="2938"/>
                  </a:lnTo>
                  <a:lnTo>
                    <a:pt x="898" y="2952"/>
                  </a:lnTo>
                  <a:lnTo>
                    <a:pt x="891" y="2967"/>
                  </a:lnTo>
                  <a:lnTo>
                    <a:pt x="883" y="2983"/>
                  </a:lnTo>
                  <a:lnTo>
                    <a:pt x="877" y="2999"/>
                  </a:lnTo>
                  <a:lnTo>
                    <a:pt x="877" y="2999"/>
                  </a:lnTo>
                  <a:lnTo>
                    <a:pt x="828" y="3143"/>
                  </a:lnTo>
                  <a:lnTo>
                    <a:pt x="729" y="3439"/>
                  </a:lnTo>
                  <a:lnTo>
                    <a:pt x="729" y="3439"/>
                  </a:lnTo>
                  <a:close/>
                  <a:moveTo>
                    <a:pt x="593" y="4696"/>
                  </a:moveTo>
                  <a:lnTo>
                    <a:pt x="593" y="4696"/>
                  </a:lnTo>
                  <a:lnTo>
                    <a:pt x="315" y="5811"/>
                  </a:lnTo>
                  <a:lnTo>
                    <a:pt x="315" y="5811"/>
                  </a:lnTo>
                  <a:lnTo>
                    <a:pt x="271" y="5791"/>
                  </a:lnTo>
                  <a:lnTo>
                    <a:pt x="228" y="5771"/>
                  </a:lnTo>
                  <a:lnTo>
                    <a:pt x="188" y="5750"/>
                  </a:lnTo>
                  <a:lnTo>
                    <a:pt x="147" y="5729"/>
                  </a:lnTo>
                  <a:lnTo>
                    <a:pt x="109" y="5708"/>
                  </a:lnTo>
                  <a:lnTo>
                    <a:pt x="71" y="5687"/>
                  </a:lnTo>
                  <a:lnTo>
                    <a:pt x="35" y="5664"/>
                  </a:lnTo>
                  <a:lnTo>
                    <a:pt x="0" y="5641"/>
                  </a:lnTo>
                  <a:lnTo>
                    <a:pt x="0" y="5641"/>
                  </a:lnTo>
                  <a:lnTo>
                    <a:pt x="353" y="4574"/>
                  </a:lnTo>
                  <a:lnTo>
                    <a:pt x="353" y="4574"/>
                  </a:lnTo>
                  <a:lnTo>
                    <a:pt x="380" y="4590"/>
                  </a:lnTo>
                  <a:lnTo>
                    <a:pt x="408" y="4606"/>
                  </a:lnTo>
                  <a:lnTo>
                    <a:pt x="467" y="4637"/>
                  </a:lnTo>
                  <a:lnTo>
                    <a:pt x="529" y="4668"/>
                  </a:lnTo>
                  <a:lnTo>
                    <a:pt x="593" y="4696"/>
                  </a:lnTo>
                  <a:lnTo>
                    <a:pt x="593" y="4696"/>
                  </a:lnTo>
                  <a:close/>
                  <a:moveTo>
                    <a:pt x="2702" y="3686"/>
                  </a:moveTo>
                  <a:lnTo>
                    <a:pt x="2702" y="3686"/>
                  </a:lnTo>
                  <a:lnTo>
                    <a:pt x="2776" y="3675"/>
                  </a:lnTo>
                  <a:lnTo>
                    <a:pt x="2849" y="3662"/>
                  </a:lnTo>
                  <a:lnTo>
                    <a:pt x="2921" y="3647"/>
                  </a:lnTo>
                  <a:lnTo>
                    <a:pt x="2992" y="3632"/>
                  </a:lnTo>
                  <a:lnTo>
                    <a:pt x="3059" y="3615"/>
                  </a:lnTo>
                  <a:lnTo>
                    <a:pt x="3126" y="3597"/>
                  </a:lnTo>
                  <a:lnTo>
                    <a:pt x="3190" y="3579"/>
                  </a:lnTo>
                  <a:lnTo>
                    <a:pt x="3252" y="3558"/>
                  </a:lnTo>
                  <a:lnTo>
                    <a:pt x="3312" y="3537"/>
                  </a:lnTo>
                  <a:lnTo>
                    <a:pt x="3370" y="3514"/>
                  </a:lnTo>
                  <a:lnTo>
                    <a:pt x="3425" y="3491"/>
                  </a:lnTo>
                  <a:lnTo>
                    <a:pt x="3478" y="3466"/>
                  </a:lnTo>
                  <a:lnTo>
                    <a:pt x="3529" y="3441"/>
                  </a:lnTo>
                  <a:lnTo>
                    <a:pt x="3577" y="3414"/>
                  </a:lnTo>
                  <a:lnTo>
                    <a:pt x="3623" y="3387"/>
                  </a:lnTo>
                  <a:lnTo>
                    <a:pt x="3665" y="3359"/>
                  </a:lnTo>
                  <a:lnTo>
                    <a:pt x="3665" y="3359"/>
                  </a:lnTo>
                  <a:lnTo>
                    <a:pt x="3351" y="2277"/>
                  </a:lnTo>
                  <a:lnTo>
                    <a:pt x="3351" y="2277"/>
                  </a:lnTo>
                  <a:lnTo>
                    <a:pt x="3317" y="2299"/>
                  </a:lnTo>
                  <a:lnTo>
                    <a:pt x="3280" y="2320"/>
                  </a:lnTo>
                  <a:lnTo>
                    <a:pt x="3241" y="2340"/>
                  </a:lnTo>
                  <a:lnTo>
                    <a:pt x="3201" y="2360"/>
                  </a:lnTo>
                  <a:lnTo>
                    <a:pt x="3158" y="2378"/>
                  </a:lnTo>
                  <a:lnTo>
                    <a:pt x="3114" y="2397"/>
                  </a:lnTo>
                  <a:lnTo>
                    <a:pt x="3069" y="2414"/>
                  </a:lnTo>
                  <a:lnTo>
                    <a:pt x="3021" y="2430"/>
                  </a:lnTo>
                  <a:lnTo>
                    <a:pt x="2972" y="2446"/>
                  </a:lnTo>
                  <a:lnTo>
                    <a:pt x="2921" y="2461"/>
                  </a:lnTo>
                  <a:lnTo>
                    <a:pt x="2869" y="2474"/>
                  </a:lnTo>
                  <a:lnTo>
                    <a:pt x="2815" y="2488"/>
                  </a:lnTo>
                  <a:lnTo>
                    <a:pt x="2760" y="2499"/>
                  </a:lnTo>
                  <a:lnTo>
                    <a:pt x="2704" y="2510"/>
                  </a:lnTo>
                  <a:lnTo>
                    <a:pt x="2646" y="2520"/>
                  </a:lnTo>
                  <a:lnTo>
                    <a:pt x="2588" y="2529"/>
                  </a:lnTo>
                  <a:lnTo>
                    <a:pt x="2588" y="2529"/>
                  </a:lnTo>
                  <a:lnTo>
                    <a:pt x="2702" y="3686"/>
                  </a:lnTo>
                  <a:lnTo>
                    <a:pt x="2702" y="3686"/>
                  </a:lnTo>
                  <a:close/>
                  <a:moveTo>
                    <a:pt x="3999" y="4506"/>
                  </a:moveTo>
                  <a:lnTo>
                    <a:pt x="3999" y="4506"/>
                  </a:lnTo>
                  <a:lnTo>
                    <a:pt x="4316" y="5595"/>
                  </a:lnTo>
                  <a:lnTo>
                    <a:pt x="4316" y="5595"/>
                  </a:lnTo>
                  <a:lnTo>
                    <a:pt x="4287" y="5617"/>
                  </a:lnTo>
                  <a:lnTo>
                    <a:pt x="4257" y="5637"/>
                  </a:lnTo>
                  <a:lnTo>
                    <a:pt x="4226" y="5657"/>
                  </a:lnTo>
                  <a:lnTo>
                    <a:pt x="4193" y="5677"/>
                  </a:lnTo>
                  <a:lnTo>
                    <a:pt x="4160" y="5697"/>
                  </a:lnTo>
                  <a:lnTo>
                    <a:pt x="4126" y="5717"/>
                  </a:lnTo>
                  <a:lnTo>
                    <a:pt x="4091" y="5736"/>
                  </a:lnTo>
                  <a:lnTo>
                    <a:pt x="4054" y="5754"/>
                  </a:lnTo>
                  <a:lnTo>
                    <a:pt x="4018" y="5773"/>
                  </a:lnTo>
                  <a:lnTo>
                    <a:pt x="3979" y="5791"/>
                  </a:lnTo>
                  <a:lnTo>
                    <a:pt x="3940" y="5808"/>
                  </a:lnTo>
                  <a:lnTo>
                    <a:pt x="3900" y="5826"/>
                  </a:lnTo>
                  <a:lnTo>
                    <a:pt x="3860" y="5843"/>
                  </a:lnTo>
                  <a:lnTo>
                    <a:pt x="3817" y="5859"/>
                  </a:lnTo>
                  <a:lnTo>
                    <a:pt x="3776" y="5875"/>
                  </a:lnTo>
                  <a:lnTo>
                    <a:pt x="3732" y="5891"/>
                  </a:lnTo>
                  <a:lnTo>
                    <a:pt x="3687" y="5906"/>
                  </a:lnTo>
                  <a:lnTo>
                    <a:pt x="3642" y="5921"/>
                  </a:lnTo>
                  <a:lnTo>
                    <a:pt x="3597" y="5936"/>
                  </a:lnTo>
                  <a:lnTo>
                    <a:pt x="3550" y="5950"/>
                  </a:lnTo>
                  <a:lnTo>
                    <a:pt x="3503" y="5964"/>
                  </a:lnTo>
                  <a:lnTo>
                    <a:pt x="3454" y="5976"/>
                  </a:lnTo>
                  <a:lnTo>
                    <a:pt x="3357" y="6001"/>
                  </a:lnTo>
                  <a:lnTo>
                    <a:pt x="3255" y="6024"/>
                  </a:lnTo>
                  <a:lnTo>
                    <a:pt x="3152" y="6045"/>
                  </a:lnTo>
                  <a:lnTo>
                    <a:pt x="3045" y="6065"/>
                  </a:lnTo>
                  <a:lnTo>
                    <a:pt x="2937" y="6081"/>
                  </a:lnTo>
                  <a:lnTo>
                    <a:pt x="2937" y="6081"/>
                  </a:lnTo>
                  <a:lnTo>
                    <a:pt x="2822" y="4919"/>
                  </a:lnTo>
                  <a:lnTo>
                    <a:pt x="2822" y="4919"/>
                  </a:lnTo>
                  <a:lnTo>
                    <a:pt x="2915" y="4904"/>
                  </a:lnTo>
                  <a:lnTo>
                    <a:pt x="3005" y="4887"/>
                  </a:lnTo>
                  <a:lnTo>
                    <a:pt x="3094" y="4870"/>
                  </a:lnTo>
                  <a:lnTo>
                    <a:pt x="3180" y="4851"/>
                  </a:lnTo>
                  <a:lnTo>
                    <a:pt x="3263" y="4829"/>
                  </a:lnTo>
                  <a:lnTo>
                    <a:pt x="3344" y="4807"/>
                  </a:lnTo>
                  <a:lnTo>
                    <a:pt x="3423" y="4782"/>
                  </a:lnTo>
                  <a:lnTo>
                    <a:pt x="3499" y="4757"/>
                  </a:lnTo>
                  <a:lnTo>
                    <a:pt x="3573" y="4730"/>
                  </a:lnTo>
                  <a:lnTo>
                    <a:pt x="3643" y="4702"/>
                  </a:lnTo>
                  <a:lnTo>
                    <a:pt x="3711" y="4672"/>
                  </a:lnTo>
                  <a:lnTo>
                    <a:pt x="3776" y="4641"/>
                  </a:lnTo>
                  <a:lnTo>
                    <a:pt x="3806" y="4626"/>
                  </a:lnTo>
                  <a:lnTo>
                    <a:pt x="3836" y="4609"/>
                  </a:lnTo>
                  <a:lnTo>
                    <a:pt x="3866" y="4592"/>
                  </a:lnTo>
                  <a:lnTo>
                    <a:pt x="3894" y="4576"/>
                  </a:lnTo>
                  <a:lnTo>
                    <a:pt x="3922" y="4559"/>
                  </a:lnTo>
                  <a:lnTo>
                    <a:pt x="3948" y="4541"/>
                  </a:lnTo>
                  <a:lnTo>
                    <a:pt x="3974" y="4524"/>
                  </a:lnTo>
                  <a:lnTo>
                    <a:pt x="3999" y="4506"/>
                  </a:lnTo>
                  <a:lnTo>
                    <a:pt x="3999" y="4506"/>
                  </a:lnTo>
                  <a:close/>
                  <a:moveTo>
                    <a:pt x="2691" y="0"/>
                  </a:moveTo>
                  <a:lnTo>
                    <a:pt x="2691" y="0"/>
                  </a:lnTo>
                  <a:lnTo>
                    <a:pt x="3020" y="1136"/>
                  </a:lnTo>
                  <a:lnTo>
                    <a:pt x="3020" y="1136"/>
                  </a:lnTo>
                  <a:lnTo>
                    <a:pt x="2992" y="1149"/>
                  </a:lnTo>
                  <a:lnTo>
                    <a:pt x="2963" y="1161"/>
                  </a:lnTo>
                  <a:lnTo>
                    <a:pt x="2932" y="1174"/>
                  </a:lnTo>
                  <a:lnTo>
                    <a:pt x="2901" y="1185"/>
                  </a:lnTo>
                  <a:lnTo>
                    <a:pt x="2870" y="1196"/>
                  </a:lnTo>
                  <a:lnTo>
                    <a:pt x="2837" y="1206"/>
                  </a:lnTo>
                  <a:lnTo>
                    <a:pt x="2803" y="1217"/>
                  </a:lnTo>
                  <a:lnTo>
                    <a:pt x="2768" y="1226"/>
                  </a:lnTo>
                  <a:lnTo>
                    <a:pt x="2733" y="1235"/>
                  </a:lnTo>
                  <a:lnTo>
                    <a:pt x="2697" y="1244"/>
                  </a:lnTo>
                  <a:lnTo>
                    <a:pt x="2660" y="1252"/>
                  </a:lnTo>
                  <a:lnTo>
                    <a:pt x="2623" y="1259"/>
                  </a:lnTo>
                  <a:lnTo>
                    <a:pt x="2584" y="1267"/>
                  </a:lnTo>
                  <a:lnTo>
                    <a:pt x="2546" y="1273"/>
                  </a:lnTo>
                  <a:lnTo>
                    <a:pt x="2506" y="1279"/>
                  </a:lnTo>
                  <a:lnTo>
                    <a:pt x="2466" y="1284"/>
                  </a:lnTo>
                  <a:lnTo>
                    <a:pt x="2466" y="1284"/>
                  </a:lnTo>
                  <a:lnTo>
                    <a:pt x="2351" y="99"/>
                  </a:lnTo>
                  <a:lnTo>
                    <a:pt x="2351" y="99"/>
                  </a:lnTo>
                  <a:lnTo>
                    <a:pt x="2400" y="90"/>
                  </a:lnTo>
                  <a:lnTo>
                    <a:pt x="2449" y="82"/>
                  </a:lnTo>
                  <a:lnTo>
                    <a:pt x="2495" y="71"/>
                  </a:lnTo>
                  <a:lnTo>
                    <a:pt x="2538" y="59"/>
                  </a:lnTo>
                  <a:lnTo>
                    <a:pt x="2580" y="45"/>
                  </a:lnTo>
                  <a:lnTo>
                    <a:pt x="2619" y="32"/>
                  </a:lnTo>
                  <a:lnTo>
                    <a:pt x="2657" y="16"/>
                  </a:lnTo>
                  <a:lnTo>
                    <a:pt x="2691" y="0"/>
                  </a:lnTo>
                  <a:lnTo>
                    <a:pt x="2691" y="0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8" name="Freeform 41"/>
            <p:cNvSpPr>
              <a:spLocks noEditPoints="1"/>
            </p:cNvSpPr>
            <p:nvPr/>
          </p:nvSpPr>
          <p:spPr bwMode="auto">
            <a:xfrm flipH="1">
              <a:off x="5233665" y="2391372"/>
              <a:ext cx="1331372" cy="1342804"/>
            </a:xfrm>
            <a:custGeom>
              <a:avLst/>
              <a:gdLst>
                <a:gd name="T0" fmla="*/ 4123 w 7222"/>
                <a:gd name="T1" fmla="*/ 8024 h 9367"/>
                <a:gd name="T2" fmla="*/ 3098 w 7222"/>
                <a:gd name="T3" fmla="*/ 7846 h 9367"/>
                <a:gd name="T4" fmla="*/ 2485 w 7222"/>
                <a:gd name="T5" fmla="*/ 7627 h 9367"/>
                <a:gd name="T6" fmla="*/ 1978 w 7222"/>
                <a:gd name="T7" fmla="*/ 7295 h 9367"/>
                <a:gd name="T8" fmla="*/ 1845 w 7222"/>
                <a:gd name="T9" fmla="*/ 7075 h 9367"/>
                <a:gd name="T10" fmla="*/ 1824 w 7222"/>
                <a:gd name="T11" fmla="*/ 6795 h 9367"/>
                <a:gd name="T12" fmla="*/ 82 w 7222"/>
                <a:gd name="T13" fmla="*/ 6993 h 9367"/>
                <a:gd name="T14" fmla="*/ 0 w 7222"/>
                <a:gd name="T15" fmla="*/ 7174 h 9367"/>
                <a:gd name="T16" fmla="*/ 66 w 7222"/>
                <a:gd name="T17" fmla="*/ 7319 h 9367"/>
                <a:gd name="T18" fmla="*/ 4304 w 7222"/>
                <a:gd name="T19" fmla="*/ 9317 h 9367"/>
                <a:gd name="T20" fmla="*/ 2921 w 7222"/>
                <a:gd name="T21" fmla="*/ 5280 h 9367"/>
                <a:gd name="T22" fmla="*/ 2268 w 7222"/>
                <a:gd name="T23" fmla="*/ 6068 h 9367"/>
                <a:gd name="T24" fmla="*/ 2176 w 7222"/>
                <a:gd name="T25" fmla="*/ 5867 h 9367"/>
                <a:gd name="T26" fmla="*/ 2535 w 7222"/>
                <a:gd name="T27" fmla="*/ 4846 h 9367"/>
                <a:gd name="T28" fmla="*/ 2666 w 7222"/>
                <a:gd name="T29" fmla="*/ 5077 h 9367"/>
                <a:gd name="T30" fmla="*/ 2883 w 7222"/>
                <a:gd name="T31" fmla="*/ 6517 h 9367"/>
                <a:gd name="T32" fmla="*/ 3363 w 7222"/>
                <a:gd name="T33" fmla="*/ 6682 h 9367"/>
                <a:gd name="T34" fmla="*/ 3990 w 7222"/>
                <a:gd name="T35" fmla="*/ 6802 h 9367"/>
                <a:gd name="T36" fmla="*/ 4694 w 7222"/>
                <a:gd name="T37" fmla="*/ 6845 h 9367"/>
                <a:gd name="T38" fmla="*/ 5390 w 7222"/>
                <a:gd name="T39" fmla="*/ 5625 h 9367"/>
                <a:gd name="T40" fmla="*/ 4581 w 7222"/>
                <a:gd name="T41" fmla="*/ 5673 h 9367"/>
                <a:gd name="T42" fmla="*/ 3482 w 7222"/>
                <a:gd name="T43" fmla="*/ 5515 h 9367"/>
                <a:gd name="T44" fmla="*/ 7222 w 7222"/>
                <a:gd name="T45" fmla="*/ 5794 h 9367"/>
                <a:gd name="T46" fmla="*/ 6754 w 7222"/>
                <a:gd name="T47" fmla="*/ 5035 h 9367"/>
                <a:gd name="T48" fmla="*/ 6922 w 7222"/>
                <a:gd name="T49" fmla="*/ 6273 h 9367"/>
                <a:gd name="T50" fmla="*/ 7192 w 7222"/>
                <a:gd name="T51" fmla="*/ 5930 h 9367"/>
                <a:gd name="T52" fmla="*/ 4876 w 7222"/>
                <a:gd name="T53" fmla="*/ 3261 h 9367"/>
                <a:gd name="T54" fmla="*/ 5063 w 7222"/>
                <a:gd name="T55" fmla="*/ 4416 h 9367"/>
                <a:gd name="T56" fmla="*/ 4263 w 7222"/>
                <a:gd name="T57" fmla="*/ 4409 h 9367"/>
                <a:gd name="T58" fmla="*/ 3459 w 7222"/>
                <a:gd name="T59" fmla="*/ 4220 h 9367"/>
                <a:gd name="T60" fmla="*/ 3596 w 7222"/>
                <a:gd name="T61" fmla="*/ 3626 h 9367"/>
                <a:gd name="T62" fmla="*/ 3548 w 7222"/>
                <a:gd name="T63" fmla="*/ 3568 h 9367"/>
                <a:gd name="T64" fmla="*/ 3466 w 7222"/>
                <a:gd name="T65" fmla="*/ 3658 h 9367"/>
                <a:gd name="T66" fmla="*/ 3145 w 7222"/>
                <a:gd name="T67" fmla="*/ 4051 h 9367"/>
                <a:gd name="T68" fmla="*/ 2915 w 7222"/>
                <a:gd name="T69" fmla="*/ 3779 h 9367"/>
                <a:gd name="T70" fmla="*/ 3275 w 7222"/>
                <a:gd name="T71" fmla="*/ 2779 h 9367"/>
                <a:gd name="T72" fmla="*/ 3517 w 7222"/>
                <a:gd name="T73" fmla="*/ 3007 h 9367"/>
                <a:gd name="T74" fmla="*/ 4054 w 7222"/>
                <a:gd name="T75" fmla="*/ 3202 h 9367"/>
                <a:gd name="T76" fmla="*/ 4699 w 7222"/>
                <a:gd name="T77" fmla="*/ 3267 h 9367"/>
                <a:gd name="T78" fmla="*/ 6070 w 7222"/>
                <a:gd name="T79" fmla="*/ 2855 h 9367"/>
                <a:gd name="T80" fmla="*/ 6233 w 7222"/>
                <a:gd name="T81" fmla="*/ 4065 h 9367"/>
                <a:gd name="T82" fmla="*/ 6435 w 7222"/>
                <a:gd name="T83" fmla="*/ 3872 h 9367"/>
                <a:gd name="T84" fmla="*/ 5776 w 7222"/>
                <a:gd name="T85" fmla="*/ 1726 h 9367"/>
                <a:gd name="T86" fmla="*/ 5259 w 7222"/>
                <a:gd name="T87" fmla="*/ 706 h 9367"/>
                <a:gd name="T88" fmla="*/ 3609 w 7222"/>
                <a:gd name="T89" fmla="*/ 1714 h 9367"/>
                <a:gd name="T90" fmla="*/ 3850 w 7222"/>
                <a:gd name="T91" fmla="*/ 1861 h 9367"/>
                <a:gd name="T92" fmla="*/ 4232 w 7222"/>
                <a:gd name="T93" fmla="*/ 1971 h 9367"/>
                <a:gd name="T94" fmla="*/ 4699 w 7222"/>
                <a:gd name="T95" fmla="*/ 2011 h 9367"/>
                <a:gd name="T96" fmla="*/ 4919 w 7222"/>
                <a:gd name="T97" fmla="*/ 805 h 9367"/>
                <a:gd name="T98" fmla="*/ 4413 w 7222"/>
                <a:gd name="T99" fmla="*/ 794 h 9367"/>
                <a:gd name="T100" fmla="*/ 4077 w 7222"/>
                <a:gd name="T101" fmla="*/ 668 h 9367"/>
                <a:gd name="T102" fmla="*/ 4301 w 7222"/>
                <a:gd name="T103" fmla="*/ 171 h 9367"/>
                <a:gd name="T104" fmla="*/ 4348 w 7222"/>
                <a:gd name="T105" fmla="*/ 252 h 9367"/>
                <a:gd name="T106" fmla="*/ 4658 w 7222"/>
                <a:gd name="T107" fmla="*/ 341 h 9367"/>
                <a:gd name="T108" fmla="*/ 5006 w 7222"/>
                <a:gd name="T109" fmla="*/ 279 h 9367"/>
                <a:gd name="T110" fmla="*/ 5095 w 7222"/>
                <a:gd name="T111" fmla="*/ 189 h 9367"/>
                <a:gd name="T112" fmla="*/ 5066 w 7222"/>
                <a:gd name="T113" fmla="*/ 104 h 9367"/>
                <a:gd name="T114" fmla="*/ 4817 w 7222"/>
                <a:gd name="T115" fmla="*/ 7 h 9367"/>
                <a:gd name="T116" fmla="*/ 4445 w 7222"/>
                <a:gd name="T117" fmla="*/ 39 h 9367"/>
                <a:gd name="T118" fmla="*/ 4309 w 7222"/>
                <a:gd name="T119" fmla="*/ 137 h 9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222" h="9367">
                  <a:moveTo>
                    <a:pt x="4694" y="9367"/>
                  </a:moveTo>
                  <a:lnTo>
                    <a:pt x="4694" y="8058"/>
                  </a:lnTo>
                  <a:lnTo>
                    <a:pt x="4694" y="8058"/>
                  </a:lnTo>
                  <a:lnTo>
                    <a:pt x="4671" y="8058"/>
                  </a:lnTo>
                  <a:lnTo>
                    <a:pt x="4607" y="8057"/>
                  </a:lnTo>
                  <a:lnTo>
                    <a:pt x="4506" y="8052"/>
                  </a:lnTo>
                  <a:lnTo>
                    <a:pt x="4443" y="8049"/>
                  </a:lnTo>
                  <a:lnTo>
                    <a:pt x="4373" y="8045"/>
                  </a:lnTo>
                  <a:lnTo>
                    <a:pt x="4296" y="8040"/>
                  </a:lnTo>
                  <a:lnTo>
                    <a:pt x="4212" y="8033"/>
                  </a:lnTo>
                  <a:lnTo>
                    <a:pt x="4123" y="8024"/>
                  </a:lnTo>
                  <a:lnTo>
                    <a:pt x="4029" y="8015"/>
                  </a:lnTo>
                  <a:lnTo>
                    <a:pt x="3929" y="8003"/>
                  </a:lnTo>
                  <a:lnTo>
                    <a:pt x="3827" y="7990"/>
                  </a:lnTo>
                  <a:lnTo>
                    <a:pt x="3721" y="7974"/>
                  </a:lnTo>
                  <a:lnTo>
                    <a:pt x="3610" y="7956"/>
                  </a:lnTo>
                  <a:lnTo>
                    <a:pt x="3499" y="7937"/>
                  </a:lnTo>
                  <a:lnTo>
                    <a:pt x="3386" y="7914"/>
                  </a:lnTo>
                  <a:lnTo>
                    <a:pt x="3271" y="7889"/>
                  </a:lnTo>
                  <a:lnTo>
                    <a:pt x="3213" y="7875"/>
                  </a:lnTo>
                  <a:lnTo>
                    <a:pt x="3156" y="7861"/>
                  </a:lnTo>
                  <a:lnTo>
                    <a:pt x="3098" y="7846"/>
                  </a:lnTo>
                  <a:lnTo>
                    <a:pt x="3041" y="7829"/>
                  </a:lnTo>
                  <a:lnTo>
                    <a:pt x="2983" y="7814"/>
                  </a:lnTo>
                  <a:lnTo>
                    <a:pt x="2926" y="7796"/>
                  </a:lnTo>
                  <a:lnTo>
                    <a:pt x="2869" y="7778"/>
                  </a:lnTo>
                  <a:lnTo>
                    <a:pt x="2813" y="7759"/>
                  </a:lnTo>
                  <a:lnTo>
                    <a:pt x="2757" y="7739"/>
                  </a:lnTo>
                  <a:lnTo>
                    <a:pt x="2701" y="7719"/>
                  </a:lnTo>
                  <a:lnTo>
                    <a:pt x="2647" y="7697"/>
                  </a:lnTo>
                  <a:lnTo>
                    <a:pt x="2591" y="7674"/>
                  </a:lnTo>
                  <a:lnTo>
                    <a:pt x="2538" y="7651"/>
                  </a:lnTo>
                  <a:lnTo>
                    <a:pt x="2485" y="7627"/>
                  </a:lnTo>
                  <a:lnTo>
                    <a:pt x="2433" y="7602"/>
                  </a:lnTo>
                  <a:lnTo>
                    <a:pt x="2383" y="7576"/>
                  </a:lnTo>
                  <a:lnTo>
                    <a:pt x="2333" y="7549"/>
                  </a:lnTo>
                  <a:lnTo>
                    <a:pt x="2284" y="7521"/>
                  </a:lnTo>
                  <a:lnTo>
                    <a:pt x="2236" y="7492"/>
                  </a:lnTo>
                  <a:lnTo>
                    <a:pt x="2189" y="7462"/>
                  </a:lnTo>
                  <a:lnTo>
                    <a:pt x="2144" y="7430"/>
                  </a:lnTo>
                  <a:lnTo>
                    <a:pt x="2101" y="7398"/>
                  </a:lnTo>
                  <a:lnTo>
                    <a:pt x="2058" y="7365"/>
                  </a:lnTo>
                  <a:lnTo>
                    <a:pt x="2018" y="7330"/>
                  </a:lnTo>
                  <a:lnTo>
                    <a:pt x="1978" y="7295"/>
                  </a:lnTo>
                  <a:lnTo>
                    <a:pt x="1941" y="7257"/>
                  </a:lnTo>
                  <a:lnTo>
                    <a:pt x="1941" y="7257"/>
                  </a:lnTo>
                  <a:lnTo>
                    <a:pt x="1931" y="7247"/>
                  </a:lnTo>
                  <a:lnTo>
                    <a:pt x="1922" y="7233"/>
                  </a:lnTo>
                  <a:lnTo>
                    <a:pt x="1909" y="7215"/>
                  </a:lnTo>
                  <a:lnTo>
                    <a:pt x="1896" y="7192"/>
                  </a:lnTo>
                  <a:lnTo>
                    <a:pt x="1881" y="7165"/>
                  </a:lnTo>
                  <a:lnTo>
                    <a:pt x="1866" y="7132"/>
                  </a:lnTo>
                  <a:lnTo>
                    <a:pt x="1860" y="7114"/>
                  </a:lnTo>
                  <a:lnTo>
                    <a:pt x="1852" y="7095"/>
                  </a:lnTo>
                  <a:lnTo>
                    <a:pt x="1845" y="7075"/>
                  </a:lnTo>
                  <a:lnTo>
                    <a:pt x="1839" y="7054"/>
                  </a:lnTo>
                  <a:lnTo>
                    <a:pt x="1834" y="7032"/>
                  </a:lnTo>
                  <a:lnTo>
                    <a:pt x="1828" y="7009"/>
                  </a:lnTo>
                  <a:lnTo>
                    <a:pt x="1824" y="6986"/>
                  </a:lnTo>
                  <a:lnTo>
                    <a:pt x="1821" y="6961"/>
                  </a:lnTo>
                  <a:lnTo>
                    <a:pt x="1819" y="6935"/>
                  </a:lnTo>
                  <a:lnTo>
                    <a:pt x="1817" y="6909"/>
                  </a:lnTo>
                  <a:lnTo>
                    <a:pt x="1817" y="6882"/>
                  </a:lnTo>
                  <a:lnTo>
                    <a:pt x="1818" y="6854"/>
                  </a:lnTo>
                  <a:lnTo>
                    <a:pt x="1821" y="6825"/>
                  </a:lnTo>
                  <a:lnTo>
                    <a:pt x="1824" y="6795"/>
                  </a:lnTo>
                  <a:lnTo>
                    <a:pt x="1829" y="6765"/>
                  </a:lnTo>
                  <a:lnTo>
                    <a:pt x="1837" y="6733"/>
                  </a:lnTo>
                  <a:lnTo>
                    <a:pt x="1846" y="6701"/>
                  </a:lnTo>
                  <a:lnTo>
                    <a:pt x="1856" y="6669"/>
                  </a:lnTo>
                  <a:lnTo>
                    <a:pt x="1856" y="6669"/>
                  </a:lnTo>
                  <a:lnTo>
                    <a:pt x="2018" y="6208"/>
                  </a:lnTo>
                  <a:lnTo>
                    <a:pt x="2087" y="6011"/>
                  </a:lnTo>
                  <a:lnTo>
                    <a:pt x="98" y="6976"/>
                  </a:lnTo>
                  <a:lnTo>
                    <a:pt x="98" y="6976"/>
                  </a:lnTo>
                  <a:lnTo>
                    <a:pt x="94" y="6980"/>
                  </a:lnTo>
                  <a:lnTo>
                    <a:pt x="82" y="6993"/>
                  </a:lnTo>
                  <a:lnTo>
                    <a:pt x="64" y="7011"/>
                  </a:lnTo>
                  <a:lnTo>
                    <a:pt x="55" y="7024"/>
                  </a:lnTo>
                  <a:lnTo>
                    <a:pt x="45" y="7037"/>
                  </a:lnTo>
                  <a:lnTo>
                    <a:pt x="36" y="7052"/>
                  </a:lnTo>
                  <a:lnTo>
                    <a:pt x="27" y="7068"/>
                  </a:lnTo>
                  <a:lnTo>
                    <a:pt x="18" y="7085"/>
                  </a:lnTo>
                  <a:lnTo>
                    <a:pt x="11" y="7103"/>
                  </a:lnTo>
                  <a:lnTo>
                    <a:pt x="5" y="7123"/>
                  </a:lnTo>
                  <a:lnTo>
                    <a:pt x="1" y="7143"/>
                  </a:lnTo>
                  <a:lnTo>
                    <a:pt x="0" y="7164"/>
                  </a:lnTo>
                  <a:lnTo>
                    <a:pt x="0" y="7174"/>
                  </a:lnTo>
                  <a:lnTo>
                    <a:pt x="0" y="7184"/>
                  </a:lnTo>
                  <a:lnTo>
                    <a:pt x="0" y="7184"/>
                  </a:lnTo>
                  <a:lnTo>
                    <a:pt x="3" y="7205"/>
                  </a:lnTo>
                  <a:lnTo>
                    <a:pt x="8" y="7225"/>
                  </a:lnTo>
                  <a:lnTo>
                    <a:pt x="14" y="7243"/>
                  </a:lnTo>
                  <a:lnTo>
                    <a:pt x="21" y="7258"/>
                  </a:lnTo>
                  <a:lnTo>
                    <a:pt x="30" y="7274"/>
                  </a:lnTo>
                  <a:lnTo>
                    <a:pt x="38" y="7288"/>
                  </a:lnTo>
                  <a:lnTo>
                    <a:pt x="47" y="7299"/>
                  </a:lnTo>
                  <a:lnTo>
                    <a:pt x="57" y="7309"/>
                  </a:lnTo>
                  <a:lnTo>
                    <a:pt x="66" y="7319"/>
                  </a:lnTo>
                  <a:lnTo>
                    <a:pt x="75" y="7327"/>
                  </a:lnTo>
                  <a:lnTo>
                    <a:pt x="90" y="7339"/>
                  </a:lnTo>
                  <a:lnTo>
                    <a:pt x="102" y="7346"/>
                  </a:lnTo>
                  <a:lnTo>
                    <a:pt x="106" y="7348"/>
                  </a:lnTo>
                  <a:lnTo>
                    <a:pt x="4161" y="9269"/>
                  </a:lnTo>
                  <a:lnTo>
                    <a:pt x="4161" y="9269"/>
                  </a:lnTo>
                  <a:lnTo>
                    <a:pt x="4171" y="9274"/>
                  </a:lnTo>
                  <a:lnTo>
                    <a:pt x="4199" y="9284"/>
                  </a:lnTo>
                  <a:lnTo>
                    <a:pt x="4243" y="9300"/>
                  </a:lnTo>
                  <a:lnTo>
                    <a:pt x="4272" y="9308"/>
                  </a:lnTo>
                  <a:lnTo>
                    <a:pt x="4304" y="9317"/>
                  </a:lnTo>
                  <a:lnTo>
                    <a:pt x="4340" y="9327"/>
                  </a:lnTo>
                  <a:lnTo>
                    <a:pt x="4381" y="9335"/>
                  </a:lnTo>
                  <a:lnTo>
                    <a:pt x="4424" y="9343"/>
                  </a:lnTo>
                  <a:lnTo>
                    <a:pt x="4471" y="9351"/>
                  </a:lnTo>
                  <a:lnTo>
                    <a:pt x="4522" y="9357"/>
                  </a:lnTo>
                  <a:lnTo>
                    <a:pt x="4576" y="9362"/>
                  </a:lnTo>
                  <a:lnTo>
                    <a:pt x="4633" y="9366"/>
                  </a:lnTo>
                  <a:lnTo>
                    <a:pt x="4694" y="9367"/>
                  </a:lnTo>
                  <a:lnTo>
                    <a:pt x="4694" y="9367"/>
                  </a:lnTo>
                  <a:close/>
                  <a:moveTo>
                    <a:pt x="2921" y="5280"/>
                  </a:moveTo>
                  <a:lnTo>
                    <a:pt x="2921" y="5280"/>
                  </a:lnTo>
                  <a:lnTo>
                    <a:pt x="2568" y="6347"/>
                  </a:lnTo>
                  <a:lnTo>
                    <a:pt x="2568" y="6347"/>
                  </a:lnTo>
                  <a:lnTo>
                    <a:pt x="2523" y="6316"/>
                  </a:lnTo>
                  <a:lnTo>
                    <a:pt x="2481" y="6285"/>
                  </a:lnTo>
                  <a:lnTo>
                    <a:pt x="2442" y="6254"/>
                  </a:lnTo>
                  <a:lnTo>
                    <a:pt x="2404" y="6222"/>
                  </a:lnTo>
                  <a:lnTo>
                    <a:pt x="2370" y="6188"/>
                  </a:lnTo>
                  <a:lnTo>
                    <a:pt x="2338" y="6155"/>
                  </a:lnTo>
                  <a:lnTo>
                    <a:pt x="2308" y="6121"/>
                  </a:lnTo>
                  <a:lnTo>
                    <a:pt x="2281" y="6086"/>
                  </a:lnTo>
                  <a:lnTo>
                    <a:pt x="2268" y="6068"/>
                  </a:lnTo>
                  <a:lnTo>
                    <a:pt x="2257" y="6051"/>
                  </a:lnTo>
                  <a:lnTo>
                    <a:pt x="2245" y="6033"/>
                  </a:lnTo>
                  <a:lnTo>
                    <a:pt x="2235" y="6015"/>
                  </a:lnTo>
                  <a:lnTo>
                    <a:pt x="2224" y="5997"/>
                  </a:lnTo>
                  <a:lnTo>
                    <a:pt x="2216" y="5979"/>
                  </a:lnTo>
                  <a:lnTo>
                    <a:pt x="2207" y="5960"/>
                  </a:lnTo>
                  <a:lnTo>
                    <a:pt x="2200" y="5942"/>
                  </a:lnTo>
                  <a:lnTo>
                    <a:pt x="2192" y="5924"/>
                  </a:lnTo>
                  <a:lnTo>
                    <a:pt x="2186" y="5905"/>
                  </a:lnTo>
                  <a:lnTo>
                    <a:pt x="2181" y="5886"/>
                  </a:lnTo>
                  <a:lnTo>
                    <a:pt x="2176" y="5867"/>
                  </a:lnTo>
                  <a:lnTo>
                    <a:pt x="2172" y="5849"/>
                  </a:lnTo>
                  <a:lnTo>
                    <a:pt x="2168" y="5830"/>
                  </a:lnTo>
                  <a:lnTo>
                    <a:pt x="2166" y="5811"/>
                  </a:lnTo>
                  <a:lnTo>
                    <a:pt x="2164" y="5791"/>
                  </a:lnTo>
                  <a:lnTo>
                    <a:pt x="2164" y="5791"/>
                  </a:lnTo>
                  <a:lnTo>
                    <a:pt x="2523" y="4778"/>
                  </a:lnTo>
                  <a:lnTo>
                    <a:pt x="2523" y="4778"/>
                  </a:lnTo>
                  <a:lnTo>
                    <a:pt x="2525" y="4794"/>
                  </a:lnTo>
                  <a:lnTo>
                    <a:pt x="2528" y="4812"/>
                  </a:lnTo>
                  <a:lnTo>
                    <a:pt x="2531" y="4830"/>
                  </a:lnTo>
                  <a:lnTo>
                    <a:pt x="2535" y="4846"/>
                  </a:lnTo>
                  <a:lnTo>
                    <a:pt x="2541" y="4864"/>
                  </a:lnTo>
                  <a:lnTo>
                    <a:pt x="2546" y="4881"/>
                  </a:lnTo>
                  <a:lnTo>
                    <a:pt x="2552" y="4897"/>
                  </a:lnTo>
                  <a:lnTo>
                    <a:pt x="2559" y="4914"/>
                  </a:lnTo>
                  <a:lnTo>
                    <a:pt x="2567" y="4931"/>
                  </a:lnTo>
                  <a:lnTo>
                    <a:pt x="2575" y="4947"/>
                  </a:lnTo>
                  <a:lnTo>
                    <a:pt x="2584" y="4964"/>
                  </a:lnTo>
                  <a:lnTo>
                    <a:pt x="2595" y="4981"/>
                  </a:lnTo>
                  <a:lnTo>
                    <a:pt x="2615" y="5013"/>
                  </a:lnTo>
                  <a:lnTo>
                    <a:pt x="2639" y="5045"/>
                  </a:lnTo>
                  <a:lnTo>
                    <a:pt x="2666" y="5077"/>
                  </a:lnTo>
                  <a:lnTo>
                    <a:pt x="2695" y="5107"/>
                  </a:lnTo>
                  <a:lnTo>
                    <a:pt x="2728" y="5138"/>
                  </a:lnTo>
                  <a:lnTo>
                    <a:pt x="2762" y="5167"/>
                  </a:lnTo>
                  <a:lnTo>
                    <a:pt x="2798" y="5196"/>
                  </a:lnTo>
                  <a:lnTo>
                    <a:pt x="2837" y="5225"/>
                  </a:lnTo>
                  <a:lnTo>
                    <a:pt x="2877" y="5253"/>
                  </a:lnTo>
                  <a:lnTo>
                    <a:pt x="2921" y="5280"/>
                  </a:lnTo>
                  <a:lnTo>
                    <a:pt x="2921" y="5280"/>
                  </a:lnTo>
                  <a:close/>
                  <a:moveTo>
                    <a:pt x="3161" y="5402"/>
                  </a:moveTo>
                  <a:lnTo>
                    <a:pt x="3161" y="5402"/>
                  </a:lnTo>
                  <a:lnTo>
                    <a:pt x="2883" y="6517"/>
                  </a:lnTo>
                  <a:lnTo>
                    <a:pt x="2883" y="6517"/>
                  </a:lnTo>
                  <a:lnTo>
                    <a:pt x="2926" y="6535"/>
                  </a:lnTo>
                  <a:lnTo>
                    <a:pt x="2971" y="6554"/>
                  </a:lnTo>
                  <a:lnTo>
                    <a:pt x="3017" y="6572"/>
                  </a:lnTo>
                  <a:lnTo>
                    <a:pt x="3063" y="6588"/>
                  </a:lnTo>
                  <a:lnTo>
                    <a:pt x="3111" y="6606"/>
                  </a:lnTo>
                  <a:lnTo>
                    <a:pt x="3159" y="6622"/>
                  </a:lnTo>
                  <a:lnTo>
                    <a:pt x="3209" y="6637"/>
                  </a:lnTo>
                  <a:lnTo>
                    <a:pt x="3260" y="6653"/>
                  </a:lnTo>
                  <a:lnTo>
                    <a:pt x="3311" y="6668"/>
                  </a:lnTo>
                  <a:lnTo>
                    <a:pt x="3363" y="6682"/>
                  </a:lnTo>
                  <a:lnTo>
                    <a:pt x="3416" y="6696"/>
                  </a:lnTo>
                  <a:lnTo>
                    <a:pt x="3470" y="6709"/>
                  </a:lnTo>
                  <a:lnTo>
                    <a:pt x="3525" y="6722"/>
                  </a:lnTo>
                  <a:lnTo>
                    <a:pt x="3580" y="6734"/>
                  </a:lnTo>
                  <a:lnTo>
                    <a:pt x="3637" y="6746"/>
                  </a:lnTo>
                  <a:lnTo>
                    <a:pt x="3695" y="6756"/>
                  </a:lnTo>
                  <a:lnTo>
                    <a:pt x="3752" y="6767"/>
                  </a:lnTo>
                  <a:lnTo>
                    <a:pt x="3810" y="6777"/>
                  </a:lnTo>
                  <a:lnTo>
                    <a:pt x="3869" y="6785"/>
                  </a:lnTo>
                  <a:lnTo>
                    <a:pt x="3929" y="6794"/>
                  </a:lnTo>
                  <a:lnTo>
                    <a:pt x="3990" y="6802"/>
                  </a:lnTo>
                  <a:lnTo>
                    <a:pt x="4051" y="6809"/>
                  </a:lnTo>
                  <a:lnTo>
                    <a:pt x="4114" y="6816"/>
                  </a:lnTo>
                  <a:lnTo>
                    <a:pt x="4176" y="6822"/>
                  </a:lnTo>
                  <a:lnTo>
                    <a:pt x="4238" y="6827"/>
                  </a:lnTo>
                  <a:lnTo>
                    <a:pt x="4302" y="6831"/>
                  </a:lnTo>
                  <a:lnTo>
                    <a:pt x="4366" y="6835"/>
                  </a:lnTo>
                  <a:lnTo>
                    <a:pt x="4431" y="6838"/>
                  </a:lnTo>
                  <a:lnTo>
                    <a:pt x="4495" y="6842"/>
                  </a:lnTo>
                  <a:lnTo>
                    <a:pt x="4561" y="6843"/>
                  </a:lnTo>
                  <a:lnTo>
                    <a:pt x="4627" y="6844"/>
                  </a:lnTo>
                  <a:lnTo>
                    <a:pt x="4694" y="6845"/>
                  </a:lnTo>
                  <a:lnTo>
                    <a:pt x="4694" y="6845"/>
                  </a:lnTo>
                  <a:lnTo>
                    <a:pt x="4799" y="6844"/>
                  </a:lnTo>
                  <a:lnTo>
                    <a:pt x="4904" y="6841"/>
                  </a:lnTo>
                  <a:lnTo>
                    <a:pt x="5008" y="6836"/>
                  </a:lnTo>
                  <a:lnTo>
                    <a:pt x="5109" y="6830"/>
                  </a:lnTo>
                  <a:lnTo>
                    <a:pt x="5210" y="6822"/>
                  </a:lnTo>
                  <a:lnTo>
                    <a:pt x="5310" y="6812"/>
                  </a:lnTo>
                  <a:lnTo>
                    <a:pt x="5408" y="6801"/>
                  </a:lnTo>
                  <a:lnTo>
                    <a:pt x="5505" y="6787"/>
                  </a:lnTo>
                  <a:lnTo>
                    <a:pt x="5505" y="6787"/>
                  </a:lnTo>
                  <a:lnTo>
                    <a:pt x="5390" y="5625"/>
                  </a:lnTo>
                  <a:lnTo>
                    <a:pt x="5390" y="5625"/>
                  </a:lnTo>
                  <a:lnTo>
                    <a:pt x="5307" y="5636"/>
                  </a:lnTo>
                  <a:lnTo>
                    <a:pt x="5223" y="5645"/>
                  </a:lnTo>
                  <a:lnTo>
                    <a:pt x="5138" y="5654"/>
                  </a:lnTo>
                  <a:lnTo>
                    <a:pt x="5051" y="5661"/>
                  </a:lnTo>
                  <a:lnTo>
                    <a:pt x="4963" y="5666"/>
                  </a:lnTo>
                  <a:lnTo>
                    <a:pt x="4875" y="5670"/>
                  </a:lnTo>
                  <a:lnTo>
                    <a:pt x="4784" y="5673"/>
                  </a:lnTo>
                  <a:lnTo>
                    <a:pt x="4694" y="5674"/>
                  </a:lnTo>
                  <a:lnTo>
                    <a:pt x="4694" y="5674"/>
                  </a:lnTo>
                  <a:lnTo>
                    <a:pt x="4581" y="5673"/>
                  </a:lnTo>
                  <a:lnTo>
                    <a:pt x="4472" y="5668"/>
                  </a:lnTo>
                  <a:lnTo>
                    <a:pt x="4364" y="5663"/>
                  </a:lnTo>
                  <a:lnTo>
                    <a:pt x="4257" y="5655"/>
                  </a:lnTo>
                  <a:lnTo>
                    <a:pt x="4152" y="5644"/>
                  </a:lnTo>
                  <a:lnTo>
                    <a:pt x="4049" y="5632"/>
                  </a:lnTo>
                  <a:lnTo>
                    <a:pt x="3949" y="5617"/>
                  </a:lnTo>
                  <a:lnTo>
                    <a:pt x="3850" y="5601"/>
                  </a:lnTo>
                  <a:lnTo>
                    <a:pt x="3755" y="5582"/>
                  </a:lnTo>
                  <a:lnTo>
                    <a:pt x="3661" y="5562"/>
                  </a:lnTo>
                  <a:lnTo>
                    <a:pt x="3571" y="5539"/>
                  </a:lnTo>
                  <a:lnTo>
                    <a:pt x="3482" y="5515"/>
                  </a:lnTo>
                  <a:lnTo>
                    <a:pt x="3440" y="5503"/>
                  </a:lnTo>
                  <a:lnTo>
                    <a:pt x="3397" y="5489"/>
                  </a:lnTo>
                  <a:lnTo>
                    <a:pt x="3356" y="5476"/>
                  </a:lnTo>
                  <a:lnTo>
                    <a:pt x="3315" y="5462"/>
                  </a:lnTo>
                  <a:lnTo>
                    <a:pt x="3276" y="5447"/>
                  </a:lnTo>
                  <a:lnTo>
                    <a:pt x="3237" y="5433"/>
                  </a:lnTo>
                  <a:lnTo>
                    <a:pt x="3199" y="5417"/>
                  </a:lnTo>
                  <a:lnTo>
                    <a:pt x="3161" y="5402"/>
                  </a:lnTo>
                  <a:lnTo>
                    <a:pt x="3161" y="5402"/>
                  </a:lnTo>
                  <a:close/>
                  <a:moveTo>
                    <a:pt x="7222" y="5794"/>
                  </a:moveTo>
                  <a:lnTo>
                    <a:pt x="7222" y="5794"/>
                  </a:lnTo>
                  <a:lnTo>
                    <a:pt x="6863" y="4782"/>
                  </a:lnTo>
                  <a:lnTo>
                    <a:pt x="6863" y="4782"/>
                  </a:lnTo>
                  <a:lnTo>
                    <a:pt x="6859" y="4811"/>
                  </a:lnTo>
                  <a:lnTo>
                    <a:pt x="6853" y="4840"/>
                  </a:lnTo>
                  <a:lnTo>
                    <a:pt x="6845" y="4869"/>
                  </a:lnTo>
                  <a:lnTo>
                    <a:pt x="6834" y="4897"/>
                  </a:lnTo>
                  <a:lnTo>
                    <a:pt x="6822" y="4925"/>
                  </a:lnTo>
                  <a:lnTo>
                    <a:pt x="6808" y="4954"/>
                  </a:lnTo>
                  <a:lnTo>
                    <a:pt x="6792" y="4981"/>
                  </a:lnTo>
                  <a:lnTo>
                    <a:pt x="6774" y="5008"/>
                  </a:lnTo>
                  <a:lnTo>
                    <a:pt x="6754" y="5035"/>
                  </a:lnTo>
                  <a:lnTo>
                    <a:pt x="6733" y="5061"/>
                  </a:lnTo>
                  <a:lnTo>
                    <a:pt x="6709" y="5087"/>
                  </a:lnTo>
                  <a:lnTo>
                    <a:pt x="6685" y="5113"/>
                  </a:lnTo>
                  <a:lnTo>
                    <a:pt x="6657" y="5138"/>
                  </a:lnTo>
                  <a:lnTo>
                    <a:pt x="6629" y="5163"/>
                  </a:lnTo>
                  <a:lnTo>
                    <a:pt x="6599" y="5188"/>
                  </a:lnTo>
                  <a:lnTo>
                    <a:pt x="6567" y="5212"/>
                  </a:lnTo>
                  <a:lnTo>
                    <a:pt x="6567" y="5212"/>
                  </a:lnTo>
                  <a:lnTo>
                    <a:pt x="6884" y="6301"/>
                  </a:lnTo>
                  <a:lnTo>
                    <a:pt x="6884" y="6301"/>
                  </a:lnTo>
                  <a:lnTo>
                    <a:pt x="6922" y="6273"/>
                  </a:lnTo>
                  <a:lnTo>
                    <a:pt x="6956" y="6244"/>
                  </a:lnTo>
                  <a:lnTo>
                    <a:pt x="6989" y="6214"/>
                  </a:lnTo>
                  <a:lnTo>
                    <a:pt x="7020" y="6184"/>
                  </a:lnTo>
                  <a:lnTo>
                    <a:pt x="7049" y="6154"/>
                  </a:lnTo>
                  <a:lnTo>
                    <a:pt x="7076" y="6124"/>
                  </a:lnTo>
                  <a:lnTo>
                    <a:pt x="7101" y="6092"/>
                  </a:lnTo>
                  <a:lnTo>
                    <a:pt x="7123" y="6060"/>
                  </a:lnTo>
                  <a:lnTo>
                    <a:pt x="7144" y="6029"/>
                  </a:lnTo>
                  <a:lnTo>
                    <a:pt x="7162" y="5996"/>
                  </a:lnTo>
                  <a:lnTo>
                    <a:pt x="7178" y="5963"/>
                  </a:lnTo>
                  <a:lnTo>
                    <a:pt x="7192" y="5930"/>
                  </a:lnTo>
                  <a:lnTo>
                    <a:pt x="7202" y="5897"/>
                  </a:lnTo>
                  <a:lnTo>
                    <a:pt x="7212" y="5862"/>
                  </a:lnTo>
                  <a:lnTo>
                    <a:pt x="7218" y="5829"/>
                  </a:lnTo>
                  <a:lnTo>
                    <a:pt x="7220" y="5811"/>
                  </a:lnTo>
                  <a:lnTo>
                    <a:pt x="7222" y="5794"/>
                  </a:lnTo>
                  <a:lnTo>
                    <a:pt x="7222" y="5794"/>
                  </a:lnTo>
                  <a:close/>
                  <a:moveTo>
                    <a:pt x="4699" y="3267"/>
                  </a:moveTo>
                  <a:lnTo>
                    <a:pt x="4699" y="3267"/>
                  </a:lnTo>
                  <a:lnTo>
                    <a:pt x="4758" y="3266"/>
                  </a:lnTo>
                  <a:lnTo>
                    <a:pt x="4817" y="3265"/>
                  </a:lnTo>
                  <a:lnTo>
                    <a:pt x="4876" y="3261"/>
                  </a:lnTo>
                  <a:lnTo>
                    <a:pt x="4933" y="3258"/>
                  </a:lnTo>
                  <a:lnTo>
                    <a:pt x="4990" y="3254"/>
                  </a:lnTo>
                  <a:lnTo>
                    <a:pt x="5046" y="3248"/>
                  </a:lnTo>
                  <a:lnTo>
                    <a:pt x="5101" y="3242"/>
                  </a:lnTo>
                  <a:lnTo>
                    <a:pt x="5156" y="3235"/>
                  </a:lnTo>
                  <a:lnTo>
                    <a:pt x="5156" y="3235"/>
                  </a:lnTo>
                  <a:lnTo>
                    <a:pt x="5270" y="4392"/>
                  </a:lnTo>
                  <a:lnTo>
                    <a:pt x="5270" y="4392"/>
                  </a:lnTo>
                  <a:lnTo>
                    <a:pt x="5201" y="4401"/>
                  </a:lnTo>
                  <a:lnTo>
                    <a:pt x="5132" y="4410"/>
                  </a:lnTo>
                  <a:lnTo>
                    <a:pt x="5063" y="4416"/>
                  </a:lnTo>
                  <a:lnTo>
                    <a:pt x="4992" y="4421"/>
                  </a:lnTo>
                  <a:lnTo>
                    <a:pt x="4919" y="4426"/>
                  </a:lnTo>
                  <a:lnTo>
                    <a:pt x="4846" y="4430"/>
                  </a:lnTo>
                  <a:lnTo>
                    <a:pt x="4773" y="4432"/>
                  </a:lnTo>
                  <a:lnTo>
                    <a:pt x="4699" y="4432"/>
                  </a:lnTo>
                  <a:lnTo>
                    <a:pt x="4699" y="4432"/>
                  </a:lnTo>
                  <a:lnTo>
                    <a:pt x="4609" y="4431"/>
                  </a:lnTo>
                  <a:lnTo>
                    <a:pt x="4521" y="4428"/>
                  </a:lnTo>
                  <a:lnTo>
                    <a:pt x="4434" y="4423"/>
                  </a:lnTo>
                  <a:lnTo>
                    <a:pt x="4347" y="4417"/>
                  </a:lnTo>
                  <a:lnTo>
                    <a:pt x="4263" y="4409"/>
                  </a:lnTo>
                  <a:lnTo>
                    <a:pt x="4180" y="4399"/>
                  </a:lnTo>
                  <a:lnTo>
                    <a:pt x="4099" y="4388"/>
                  </a:lnTo>
                  <a:lnTo>
                    <a:pt x="4020" y="4375"/>
                  </a:lnTo>
                  <a:lnTo>
                    <a:pt x="3942" y="4361"/>
                  </a:lnTo>
                  <a:lnTo>
                    <a:pt x="3866" y="4345"/>
                  </a:lnTo>
                  <a:lnTo>
                    <a:pt x="3792" y="4327"/>
                  </a:lnTo>
                  <a:lnTo>
                    <a:pt x="3722" y="4309"/>
                  </a:lnTo>
                  <a:lnTo>
                    <a:pt x="3652" y="4288"/>
                  </a:lnTo>
                  <a:lnTo>
                    <a:pt x="3584" y="4267"/>
                  </a:lnTo>
                  <a:lnTo>
                    <a:pt x="3520" y="4244"/>
                  </a:lnTo>
                  <a:lnTo>
                    <a:pt x="3459" y="4220"/>
                  </a:lnTo>
                  <a:lnTo>
                    <a:pt x="3459" y="4220"/>
                  </a:lnTo>
                  <a:lnTo>
                    <a:pt x="3537" y="3909"/>
                  </a:lnTo>
                  <a:lnTo>
                    <a:pt x="3578" y="3750"/>
                  </a:lnTo>
                  <a:lnTo>
                    <a:pt x="3578" y="3750"/>
                  </a:lnTo>
                  <a:lnTo>
                    <a:pt x="3583" y="3728"/>
                  </a:lnTo>
                  <a:lnTo>
                    <a:pt x="3588" y="3707"/>
                  </a:lnTo>
                  <a:lnTo>
                    <a:pt x="3592" y="3688"/>
                  </a:lnTo>
                  <a:lnTo>
                    <a:pt x="3594" y="3670"/>
                  </a:lnTo>
                  <a:lnTo>
                    <a:pt x="3596" y="3654"/>
                  </a:lnTo>
                  <a:lnTo>
                    <a:pt x="3596" y="3640"/>
                  </a:lnTo>
                  <a:lnTo>
                    <a:pt x="3596" y="3626"/>
                  </a:lnTo>
                  <a:lnTo>
                    <a:pt x="3595" y="3614"/>
                  </a:lnTo>
                  <a:lnTo>
                    <a:pt x="3593" y="3603"/>
                  </a:lnTo>
                  <a:lnTo>
                    <a:pt x="3591" y="3594"/>
                  </a:lnTo>
                  <a:lnTo>
                    <a:pt x="3586" y="3587"/>
                  </a:lnTo>
                  <a:lnTo>
                    <a:pt x="3583" y="3580"/>
                  </a:lnTo>
                  <a:lnTo>
                    <a:pt x="3578" y="3575"/>
                  </a:lnTo>
                  <a:lnTo>
                    <a:pt x="3573" y="3571"/>
                  </a:lnTo>
                  <a:lnTo>
                    <a:pt x="3568" y="3568"/>
                  </a:lnTo>
                  <a:lnTo>
                    <a:pt x="3561" y="3567"/>
                  </a:lnTo>
                  <a:lnTo>
                    <a:pt x="3555" y="3567"/>
                  </a:lnTo>
                  <a:lnTo>
                    <a:pt x="3548" y="3568"/>
                  </a:lnTo>
                  <a:lnTo>
                    <a:pt x="3542" y="3570"/>
                  </a:lnTo>
                  <a:lnTo>
                    <a:pt x="3534" y="3574"/>
                  </a:lnTo>
                  <a:lnTo>
                    <a:pt x="3526" y="3579"/>
                  </a:lnTo>
                  <a:lnTo>
                    <a:pt x="3519" y="3584"/>
                  </a:lnTo>
                  <a:lnTo>
                    <a:pt x="3512" y="3592"/>
                  </a:lnTo>
                  <a:lnTo>
                    <a:pt x="3503" y="3600"/>
                  </a:lnTo>
                  <a:lnTo>
                    <a:pt x="3496" y="3609"/>
                  </a:lnTo>
                  <a:lnTo>
                    <a:pt x="3488" y="3620"/>
                  </a:lnTo>
                  <a:lnTo>
                    <a:pt x="3480" y="3631"/>
                  </a:lnTo>
                  <a:lnTo>
                    <a:pt x="3473" y="3644"/>
                  </a:lnTo>
                  <a:lnTo>
                    <a:pt x="3466" y="3658"/>
                  </a:lnTo>
                  <a:lnTo>
                    <a:pt x="3459" y="3673"/>
                  </a:lnTo>
                  <a:lnTo>
                    <a:pt x="3451" y="3689"/>
                  </a:lnTo>
                  <a:lnTo>
                    <a:pt x="3445" y="3705"/>
                  </a:lnTo>
                  <a:lnTo>
                    <a:pt x="3445" y="3705"/>
                  </a:lnTo>
                  <a:lnTo>
                    <a:pt x="3396" y="3849"/>
                  </a:lnTo>
                  <a:lnTo>
                    <a:pt x="3297" y="4145"/>
                  </a:lnTo>
                  <a:lnTo>
                    <a:pt x="3297" y="4145"/>
                  </a:lnTo>
                  <a:lnTo>
                    <a:pt x="3256" y="4123"/>
                  </a:lnTo>
                  <a:lnTo>
                    <a:pt x="3217" y="4100"/>
                  </a:lnTo>
                  <a:lnTo>
                    <a:pt x="3180" y="4076"/>
                  </a:lnTo>
                  <a:lnTo>
                    <a:pt x="3145" y="4051"/>
                  </a:lnTo>
                  <a:lnTo>
                    <a:pt x="3111" y="4027"/>
                  </a:lnTo>
                  <a:lnTo>
                    <a:pt x="3080" y="4001"/>
                  </a:lnTo>
                  <a:lnTo>
                    <a:pt x="3052" y="3975"/>
                  </a:lnTo>
                  <a:lnTo>
                    <a:pt x="3025" y="3948"/>
                  </a:lnTo>
                  <a:lnTo>
                    <a:pt x="3000" y="3921"/>
                  </a:lnTo>
                  <a:lnTo>
                    <a:pt x="2978" y="3894"/>
                  </a:lnTo>
                  <a:lnTo>
                    <a:pt x="2958" y="3866"/>
                  </a:lnTo>
                  <a:lnTo>
                    <a:pt x="2942" y="3838"/>
                  </a:lnTo>
                  <a:lnTo>
                    <a:pt x="2926" y="3809"/>
                  </a:lnTo>
                  <a:lnTo>
                    <a:pt x="2920" y="3794"/>
                  </a:lnTo>
                  <a:lnTo>
                    <a:pt x="2915" y="3779"/>
                  </a:lnTo>
                  <a:lnTo>
                    <a:pt x="2910" y="3765"/>
                  </a:lnTo>
                  <a:lnTo>
                    <a:pt x="2904" y="3749"/>
                  </a:lnTo>
                  <a:lnTo>
                    <a:pt x="2900" y="3735"/>
                  </a:lnTo>
                  <a:lnTo>
                    <a:pt x="2897" y="3720"/>
                  </a:lnTo>
                  <a:lnTo>
                    <a:pt x="2897" y="3720"/>
                  </a:lnTo>
                  <a:lnTo>
                    <a:pt x="3251" y="2722"/>
                  </a:lnTo>
                  <a:lnTo>
                    <a:pt x="3251" y="2722"/>
                  </a:lnTo>
                  <a:lnTo>
                    <a:pt x="3256" y="2736"/>
                  </a:lnTo>
                  <a:lnTo>
                    <a:pt x="3261" y="2751"/>
                  </a:lnTo>
                  <a:lnTo>
                    <a:pt x="3267" y="2764"/>
                  </a:lnTo>
                  <a:lnTo>
                    <a:pt x="3275" y="2779"/>
                  </a:lnTo>
                  <a:lnTo>
                    <a:pt x="3283" y="2793"/>
                  </a:lnTo>
                  <a:lnTo>
                    <a:pt x="3291" y="2806"/>
                  </a:lnTo>
                  <a:lnTo>
                    <a:pt x="3301" y="2821"/>
                  </a:lnTo>
                  <a:lnTo>
                    <a:pt x="3310" y="2834"/>
                  </a:lnTo>
                  <a:lnTo>
                    <a:pt x="3332" y="2860"/>
                  </a:lnTo>
                  <a:lnTo>
                    <a:pt x="3357" y="2886"/>
                  </a:lnTo>
                  <a:lnTo>
                    <a:pt x="3384" y="2912"/>
                  </a:lnTo>
                  <a:lnTo>
                    <a:pt x="3413" y="2936"/>
                  </a:lnTo>
                  <a:lnTo>
                    <a:pt x="3445" y="2961"/>
                  </a:lnTo>
                  <a:lnTo>
                    <a:pt x="3479" y="2984"/>
                  </a:lnTo>
                  <a:lnTo>
                    <a:pt x="3517" y="3007"/>
                  </a:lnTo>
                  <a:lnTo>
                    <a:pt x="3555" y="3029"/>
                  </a:lnTo>
                  <a:lnTo>
                    <a:pt x="3597" y="3051"/>
                  </a:lnTo>
                  <a:lnTo>
                    <a:pt x="3640" y="3071"/>
                  </a:lnTo>
                  <a:lnTo>
                    <a:pt x="3685" y="3091"/>
                  </a:lnTo>
                  <a:lnTo>
                    <a:pt x="3733" y="3109"/>
                  </a:lnTo>
                  <a:lnTo>
                    <a:pt x="3782" y="3127"/>
                  </a:lnTo>
                  <a:lnTo>
                    <a:pt x="3833" y="3144"/>
                  </a:lnTo>
                  <a:lnTo>
                    <a:pt x="3886" y="3160"/>
                  </a:lnTo>
                  <a:lnTo>
                    <a:pt x="3940" y="3175"/>
                  </a:lnTo>
                  <a:lnTo>
                    <a:pt x="3996" y="3190"/>
                  </a:lnTo>
                  <a:lnTo>
                    <a:pt x="4054" y="3202"/>
                  </a:lnTo>
                  <a:lnTo>
                    <a:pt x="4112" y="3214"/>
                  </a:lnTo>
                  <a:lnTo>
                    <a:pt x="4174" y="3225"/>
                  </a:lnTo>
                  <a:lnTo>
                    <a:pt x="4235" y="3234"/>
                  </a:lnTo>
                  <a:lnTo>
                    <a:pt x="4299" y="3243"/>
                  </a:lnTo>
                  <a:lnTo>
                    <a:pt x="4362" y="3250"/>
                  </a:lnTo>
                  <a:lnTo>
                    <a:pt x="4427" y="3255"/>
                  </a:lnTo>
                  <a:lnTo>
                    <a:pt x="4494" y="3260"/>
                  </a:lnTo>
                  <a:lnTo>
                    <a:pt x="4562" y="3264"/>
                  </a:lnTo>
                  <a:lnTo>
                    <a:pt x="4629" y="3266"/>
                  </a:lnTo>
                  <a:lnTo>
                    <a:pt x="4699" y="3267"/>
                  </a:lnTo>
                  <a:lnTo>
                    <a:pt x="4699" y="3267"/>
                  </a:lnTo>
                  <a:close/>
                  <a:moveTo>
                    <a:pt x="6494" y="3744"/>
                  </a:moveTo>
                  <a:lnTo>
                    <a:pt x="6494" y="3744"/>
                  </a:lnTo>
                  <a:lnTo>
                    <a:pt x="6139" y="2744"/>
                  </a:lnTo>
                  <a:lnTo>
                    <a:pt x="6139" y="2744"/>
                  </a:lnTo>
                  <a:lnTo>
                    <a:pt x="6131" y="2760"/>
                  </a:lnTo>
                  <a:lnTo>
                    <a:pt x="6124" y="2776"/>
                  </a:lnTo>
                  <a:lnTo>
                    <a:pt x="6115" y="2793"/>
                  </a:lnTo>
                  <a:lnTo>
                    <a:pt x="6105" y="2808"/>
                  </a:lnTo>
                  <a:lnTo>
                    <a:pt x="6095" y="2824"/>
                  </a:lnTo>
                  <a:lnTo>
                    <a:pt x="6083" y="2839"/>
                  </a:lnTo>
                  <a:lnTo>
                    <a:pt x="6070" y="2855"/>
                  </a:lnTo>
                  <a:lnTo>
                    <a:pt x="6057" y="2870"/>
                  </a:lnTo>
                  <a:lnTo>
                    <a:pt x="6043" y="2884"/>
                  </a:lnTo>
                  <a:lnTo>
                    <a:pt x="6027" y="2900"/>
                  </a:lnTo>
                  <a:lnTo>
                    <a:pt x="6012" y="2913"/>
                  </a:lnTo>
                  <a:lnTo>
                    <a:pt x="5995" y="2928"/>
                  </a:lnTo>
                  <a:lnTo>
                    <a:pt x="5978" y="2943"/>
                  </a:lnTo>
                  <a:lnTo>
                    <a:pt x="5959" y="2956"/>
                  </a:lnTo>
                  <a:lnTo>
                    <a:pt x="5939" y="2970"/>
                  </a:lnTo>
                  <a:lnTo>
                    <a:pt x="5919" y="2983"/>
                  </a:lnTo>
                  <a:lnTo>
                    <a:pt x="5919" y="2983"/>
                  </a:lnTo>
                  <a:lnTo>
                    <a:pt x="6233" y="4065"/>
                  </a:lnTo>
                  <a:lnTo>
                    <a:pt x="6233" y="4065"/>
                  </a:lnTo>
                  <a:lnTo>
                    <a:pt x="6259" y="4047"/>
                  </a:lnTo>
                  <a:lnTo>
                    <a:pt x="6283" y="4028"/>
                  </a:lnTo>
                  <a:lnTo>
                    <a:pt x="6306" y="4010"/>
                  </a:lnTo>
                  <a:lnTo>
                    <a:pt x="6328" y="3991"/>
                  </a:lnTo>
                  <a:lnTo>
                    <a:pt x="6349" y="3972"/>
                  </a:lnTo>
                  <a:lnTo>
                    <a:pt x="6368" y="3952"/>
                  </a:lnTo>
                  <a:lnTo>
                    <a:pt x="6387" y="3932"/>
                  </a:lnTo>
                  <a:lnTo>
                    <a:pt x="6404" y="3913"/>
                  </a:lnTo>
                  <a:lnTo>
                    <a:pt x="6420" y="3893"/>
                  </a:lnTo>
                  <a:lnTo>
                    <a:pt x="6435" y="3872"/>
                  </a:lnTo>
                  <a:lnTo>
                    <a:pt x="6447" y="3851"/>
                  </a:lnTo>
                  <a:lnTo>
                    <a:pt x="6460" y="3830"/>
                  </a:lnTo>
                  <a:lnTo>
                    <a:pt x="6470" y="3809"/>
                  </a:lnTo>
                  <a:lnTo>
                    <a:pt x="6480" y="3788"/>
                  </a:lnTo>
                  <a:lnTo>
                    <a:pt x="6488" y="3766"/>
                  </a:lnTo>
                  <a:lnTo>
                    <a:pt x="6494" y="3744"/>
                  </a:lnTo>
                  <a:lnTo>
                    <a:pt x="6494" y="3744"/>
                  </a:lnTo>
                  <a:close/>
                  <a:moveTo>
                    <a:pt x="5379" y="616"/>
                  </a:moveTo>
                  <a:lnTo>
                    <a:pt x="5379" y="616"/>
                  </a:lnTo>
                  <a:lnTo>
                    <a:pt x="5551" y="1095"/>
                  </a:lnTo>
                  <a:lnTo>
                    <a:pt x="5776" y="1726"/>
                  </a:lnTo>
                  <a:lnTo>
                    <a:pt x="5776" y="1726"/>
                  </a:lnTo>
                  <a:lnTo>
                    <a:pt x="5756" y="1741"/>
                  </a:lnTo>
                  <a:lnTo>
                    <a:pt x="5736" y="1757"/>
                  </a:lnTo>
                  <a:lnTo>
                    <a:pt x="5715" y="1771"/>
                  </a:lnTo>
                  <a:lnTo>
                    <a:pt x="5691" y="1787"/>
                  </a:lnTo>
                  <a:lnTo>
                    <a:pt x="5667" y="1801"/>
                  </a:lnTo>
                  <a:lnTo>
                    <a:pt x="5642" y="1815"/>
                  </a:lnTo>
                  <a:lnTo>
                    <a:pt x="5616" y="1829"/>
                  </a:lnTo>
                  <a:lnTo>
                    <a:pt x="5588" y="1842"/>
                  </a:lnTo>
                  <a:lnTo>
                    <a:pt x="5588" y="1842"/>
                  </a:lnTo>
                  <a:lnTo>
                    <a:pt x="5259" y="706"/>
                  </a:lnTo>
                  <a:lnTo>
                    <a:pt x="5259" y="706"/>
                  </a:lnTo>
                  <a:lnTo>
                    <a:pt x="5278" y="695"/>
                  </a:lnTo>
                  <a:lnTo>
                    <a:pt x="5296" y="685"/>
                  </a:lnTo>
                  <a:lnTo>
                    <a:pt x="5312" y="674"/>
                  </a:lnTo>
                  <a:lnTo>
                    <a:pt x="5327" y="663"/>
                  </a:lnTo>
                  <a:lnTo>
                    <a:pt x="5341" y="651"/>
                  </a:lnTo>
                  <a:lnTo>
                    <a:pt x="5355" y="640"/>
                  </a:lnTo>
                  <a:lnTo>
                    <a:pt x="5367" y="628"/>
                  </a:lnTo>
                  <a:lnTo>
                    <a:pt x="5379" y="616"/>
                  </a:lnTo>
                  <a:lnTo>
                    <a:pt x="5379" y="616"/>
                  </a:lnTo>
                  <a:close/>
                  <a:moveTo>
                    <a:pt x="3609" y="1714"/>
                  </a:moveTo>
                  <a:lnTo>
                    <a:pt x="3609" y="1714"/>
                  </a:lnTo>
                  <a:lnTo>
                    <a:pt x="3628" y="1731"/>
                  </a:lnTo>
                  <a:lnTo>
                    <a:pt x="3648" y="1746"/>
                  </a:lnTo>
                  <a:lnTo>
                    <a:pt x="3669" y="1762"/>
                  </a:lnTo>
                  <a:lnTo>
                    <a:pt x="3691" y="1778"/>
                  </a:lnTo>
                  <a:lnTo>
                    <a:pt x="3715" y="1792"/>
                  </a:lnTo>
                  <a:lnTo>
                    <a:pt x="3740" y="1807"/>
                  </a:lnTo>
                  <a:lnTo>
                    <a:pt x="3766" y="1820"/>
                  </a:lnTo>
                  <a:lnTo>
                    <a:pt x="3793" y="1834"/>
                  </a:lnTo>
                  <a:lnTo>
                    <a:pt x="3821" y="1848"/>
                  </a:lnTo>
                  <a:lnTo>
                    <a:pt x="3850" y="1861"/>
                  </a:lnTo>
                  <a:lnTo>
                    <a:pt x="3881" y="1874"/>
                  </a:lnTo>
                  <a:lnTo>
                    <a:pt x="3912" y="1885"/>
                  </a:lnTo>
                  <a:lnTo>
                    <a:pt x="3944" y="1897"/>
                  </a:lnTo>
                  <a:lnTo>
                    <a:pt x="3977" y="1908"/>
                  </a:lnTo>
                  <a:lnTo>
                    <a:pt x="4011" y="1918"/>
                  </a:lnTo>
                  <a:lnTo>
                    <a:pt x="4046" y="1928"/>
                  </a:lnTo>
                  <a:lnTo>
                    <a:pt x="4081" y="1938"/>
                  </a:lnTo>
                  <a:lnTo>
                    <a:pt x="4118" y="1947"/>
                  </a:lnTo>
                  <a:lnTo>
                    <a:pt x="4155" y="1955"/>
                  </a:lnTo>
                  <a:lnTo>
                    <a:pt x="4194" y="1963"/>
                  </a:lnTo>
                  <a:lnTo>
                    <a:pt x="4232" y="1971"/>
                  </a:lnTo>
                  <a:lnTo>
                    <a:pt x="4272" y="1978"/>
                  </a:lnTo>
                  <a:lnTo>
                    <a:pt x="4312" y="1983"/>
                  </a:lnTo>
                  <a:lnTo>
                    <a:pt x="4353" y="1989"/>
                  </a:lnTo>
                  <a:lnTo>
                    <a:pt x="4394" y="1994"/>
                  </a:lnTo>
                  <a:lnTo>
                    <a:pt x="4436" y="1999"/>
                  </a:lnTo>
                  <a:lnTo>
                    <a:pt x="4478" y="2002"/>
                  </a:lnTo>
                  <a:lnTo>
                    <a:pt x="4522" y="2005"/>
                  </a:lnTo>
                  <a:lnTo>
                    <a:pt x="4565" y="2008"/>
                  </a:lnTo>
                  <a:lnTo>
                    <a:pt x="4609" y="2009"/>
                  </a:lnTo>
                  <a:lnTo>
                    <a:pt x="4654" y="2010"/>
                  </a:lnTo>
                  <a:lnTo>
                    <a:pt x="4699" y="2011"/>
                  </a:lnTo>
                  <a:lnTo>
                    <a:pt x="4699" y="2011"/>
                  </a:lnTo>
                  <a:lnTo>
                    <a:pt x="4742" y="2010"/>
                  </a:lnTo>
                  <a:lnTo>
                    <a:pt x="4785" y="2009"/>
                  </a:lnTo>
                  <a:lnTo>
                    <a:pt x="4828" y="2008"/>
                  </a:lnTo>
                  <a:lnTo>
                    <a:pt x="4870" y="2006"/>
                  </a:lnTo>
                  <a:lnTo>
                    <a:pt x="4912" y="2003"/>
                  </a:lnTo>
                  <a:lnTo>
                    <a:pt x="4954" y="1999"/>
                  </a:lnTo>
                  <a:lnTo>
                    <a:pt x="4994" y="1994"/>
                  </a:lnTo>
                  <a:lnTo>
                    <a:pt x="5034" y="1990"/>
                  </a:lnTo>
                  <a:lnTo>
                    <a:pt x="5034" y="1990"/>
                  </a:lnTo>
                  <a:lnTo>
                    <a:pt x="4919" y="805"/>
                  </a:lnTo>
                  <a:lnTo>
                    <a:pt x="4919" y="805"/>
                  </a:lnTo>
                  <a:lnTo>
                    <a:pt x="4866" y="811"/>
                  </a:lnTo>
                  <a:lnTo>
                    <a:pt x="4811" y="815"/>
                  </a:lnTo>
                  <a:lnTo>
                    <a:pt x="4756" y="818"/>
                  </a:lnTo>
                  <a:lnTo>
                    <a:pt x="4699" y="819"/>
                  </a:lnTo>
                  <a:lnTo>
                    <a:pt x="4699" y="819"/>
                  </a:lnTo>
                  <a:lnTo>
                    <a:pt x="4639" y="818"/>
                  </a:lnTo>
                  <a:lnTo>
                    <a:pt x="4579" y="815"/>
                  </a:lnTo>
                  <a:lnTo>
                    <a:pt x="4522" y="810"/>
                  </a:lnTo>
                  <a:lnTo>
                    <a:pt x="4467" y="802"/>
                  </a:lnTo>
                  <a:lnTo>
                    <a:pt x="4413" y="794"/>
                  </a:lnTo>
                  <a:lnTo>
                    <a:pt x="4362" y="784"/>
                  </a:lnTo>
                  <a:lnTo>
                    <a:pt x="4312" y="771"/>
                  </a:lnTo>
                  <a:lnTo>
                    <a:pt x="4265" y="758"/>
                  </a:lnTo>
                  <a:lnTo>
                    <a:pt x="4222" y="742"/>
                  </a:lnTo>
                  <a:lnTo>
                    <a:pt x="4181" y="725"/>
                  </a:lnTo>
                  <a:lnTo>
                    <a:pt x="4161" y="717"/>
                  </a:lnTo>
                  <a:lnTo>
                    <a:pt x="4143" y="708"/>
                  </a:lnTo>
                  <a:lnTo>
                    <a:pt x="4125" y="698"/>
                  </a:lnTo>
                  <a:lnTo>
                    <a:pt x="4108" y="689"/>
                  </a:lnTo>
                  <a:lnTo>
                    <a:pt x="4093" y="678"/>
                  </a:lnTo>
                  <a:lnTo>
                    <a:pt x="4077" y="668"/>
                  </a:lnTo>
                  <a:lnTo>
                    <a:pt x="4063" y="658"/>
                  </a:lnTo>
                  <a:lnTo>
                    <a:pt x="4050" y="647"/>
                  </a:lnTo>
                  <a:lnTo>
                    <a:pt x="4038" y="636"/>
                  </a:lnTo>
                  <a:lnTo>
                    <a:pt x="4026" y="624"/>
                  </a:lnTo>
                  <a:lnTo>
                    <a:pt x="4016" y="613"/>
                  </a:lnTo>
                  <a:lnTo>
                    <a:pt x="4006" y="601"/>
                  </a:lnTo>
                  <a:lnTo>
                    <a:pt x="4006" y="601"/>
                  </a:lnTo>
                  <a:lnTo>
                    <a:pt x="3837" y="1073"/>
                  </a:lnTo>
                  <a:lnTo>
                    <a:pt x="3609" y="1714"/>
                  </a:lnTo>
                  <a:lnTo>
                    <a:pt x="3609" y="1714"/>
                  </a:lnTo>
                  <a:close/>
                  <a:moveTo>
                    <a:pt x="4301" y="171"/>
                  </a:moveTo>
                  <a:lnTo>
                    <a:pt x="4301" y="171"/>
                  </a:lnTo>
                  <a:lnTo>
                    <a:pt x="4302" y="180"/>
                  </a:lnTo>
                  <a:lnTo>
                    <a:pt x="4303" y="189"/>
                  </a:lnTo>
                  <a:lnTo>
                    <a:pt x="4305" y="197"/>
                  </a:lnTo>
                  <a:lnTo>
                    <a:pt x="4309" y="205"/>
                  </a:lnTo>
                  <a:lnTo>
                    <a:pt x="4313" y="214"/>
                  </a:lnTo>
                  <a:lnTo>
                    <a:pt x="4318" y="222"/>
                  </a:lnTo>
                  <a:lnTo>
                    <a:pt x="4325" y="230"/>
                  </a:lnTo>
                  <a:lnTo>
                    <a:pt x="4332" y="238"/>
                  </a:lnTo>
                  <a:lnTo>
                    <a:pt x="4340" y="245"/>
                  </a:lnTo>
                  <a:lnTo>
                    <a:pt x="4348" y="252"/>
                  </a:lnTo>
                  <a:lnTo>
                    <a:pt x="4358" y="260"/>
                  </a:lnTo>
                  <a:lnTo>
                    <a:pt x="4368" y="267"/>
                  </a:lnTo>
                  <a:lnTo>
                    <a:pt x="4391" y="279"/>
                  </a:lnTo>
                  <a:lnTo>
                    <a:pt x="4417" y="292"/>
                  </a:lnTo>
                  <a:lnTo>
                    <a:pt x="4445" y="303"/>
                  </a:lnTo>
                  <a:lnTo>
                    <a:pt x="4476" y="313"/>
                  </a:lnTo>
                  <a:lnTo>
                    <a:pt x="4509" y="321"/>
                  </a:lnTo>
                  <a:lnTo>
                    <a:pt x="4544" y="328"/>
                  </a:lnTo>
                  <a:lnTo>
                    <a:pt x="4580" y="335"/>
                  </a:lnTo>
                  <a:lnTo>
                    <a:pt x="4619" y="339"/>
                  </a:lnTo>
                  <a:lnTo>
                    <a:pt x="4658" y="341"/>
                  </a:lnTo>
                  <a:lnTo>
                    <a:pt x="4699" y="342"/>
                  </a:lnTo>
                  <a:lnTo>
                    <a:pt x="4699" y="342"/>
                  </a:lnTo>
                  <a:lnTo>
                    <a:pt x="4739" y="341"/>
                  </a:lnTo>
                  <a:lnTo>
                    <a:pt x="4779" y="339"/>
                  </a:lnTo>
                  <a:lnTo>
                    <a:pt x="4817" y="335"/>
                  </a:lnTo>
                  <a:lnTo>
                    <a:pt x="4854" y="328"/>
                  </a:lnTo>
                  <a:lnTo>
                    <a:pt x="4888" y="321"/>
                  </a:lnTo>
                  <a:lnTo>
                    <a:pt x="4921" y="313"/>
                  </a:lnTo>
                  <a:lnTo>
                    <a:pt x="4951" y="303"/>
                  </a:lnTo>
                  <a:lnTo>
                    <a:pt x="4980" y="292"/>
                  </a:lnTo>
                  <a:lnTo>
                    <a:pt x="5006" y="279"/>
                  </a:lnTo>
                  <a:lnTo>
                    <a:pt x="5028" y="267"/>
                  </a:lnTo>
                  <a:lnTo>
                    <a:pt x="5039" y="260"/>
                  </a:lnTo>
                  <a:lnTo>
                    <a:pt x="5048" y="252"/>
                  </a:lnTo>
                  <a:lnTo>
                    <a:pt x="5057" y="245"/>
                  </a:lnTo>
                  <a:lnTo>
                    <a:pt x="5066" y="238"/>
                  </a:lnTo>
                  <a:lnTo>
                    <a:pt x="5072" y="230"/>
                  </a:lnTo>
                  <a:lnTo>
                    <a:pt x="5078" y="222"/>
                  </a:lnTo>
                  <a:lnTo>
                    <a:pt x="5085" y="214"/>
                  </a:lnTo>
                  <a:lnTo>
                    <a:pt x="5089" y="205"/>
                  </a:lnTo>
                  <a:lnTo>
                    <a:pt x="5092" y="197"/>
                  </a:lnTo>
                  <a:lnTo>
                    <a:pt x="5095" y="189"/>
                  </a:lnTo>
                  <a:lnTo>
                    <a:pt x="5096" y="180"/>
                  </a:lnTo>
                  <a:lnTo>
                    <a:pt x="5097" y="171"/>
                  </a:lnTo>
                  <a:lnTo>
                    <a:pt x="5097" y="171"/>
                  </a:lnTo>
                  <a:lnTo>
                    <a:pt x="5096" y="163"/>
                  </a:lnTo>
                  <a:lnTo>
                    <a:pt x="5095" y="153"/>
                  </a:lnTo>
                  <a:lnTo>
                    <a:pt x="5092" y="145"/>
                  </a:lnTo>
                  <a:lnTo>
                    <a:pt x="5089" y="137"/>
                  </a:lnTo>
                  <a:lnTo>
                    <a:pt x="5085" y="128"/>
                  </a:lnTo>
                  <a:lnTo>
                    <a:pt x="5078" y="120"/>
                  </a:lnTo>
                  <a:lnTo>
                    <a:pt x="5072" y="113"/>
                  </a:lnTo>
                  <a:lnTo>
                    <a:pt x="5066" y="104"/>
                  </a:lnTo>
                  <a:lnTo>
                    <a:pt x="5057" y="97"/>
                  </a:lnTo>
                  <a:lnTo>
                    <a:pt x="5048" y="90"/>
                  </a:lnTo>
                  <a:lnTo>
                    <a:pt x="5039" y="83"/>
                  </a:lnTo>
                  <a:lnTo>
                    <a:pt x="5028" y="75"/>
                  </a:lnTo>
                  <a:lnTo>
                    <a:pt x="5006" y="63"/>
                  </a:lnTo>
                  <a:lnTo>
                    <a:pt x="4980" y="50"/>
                  </a:lnTo>
                  <a:lnTo>
                    <a:pt x="4951" y="39"/>
                  </a:lnTo>
                  <a:lnTo>
                    <a:pt x="4921" y="29"/>
                  </a:lnTo>
                  <a:lnTo>
                    <a:pt x="4888" y="21"/>
                  </a:lnTo>
                  <a:lnTo>
                    <a:pt x="4854" y="14"/>
                  </a:lnTo>
                  <a:lnTo>
                    <a:pt x="4817" y="7"/>
                  </a:lnTo>
                  <a:lnTo>
                    <a:pt x="4779" y="3"/>
                  </a:lnTo>
                  <a:lnTo>
                    <a:pt x="4739" y="1"/>
                  </a:lnTo>
                  <a:lnTo>
                    <a:pt x="4699" y="0"/>
                  </a:lnTo>
                  <a:lnTo>
                    <a:pt x="4699" y="0"/>
                  </a:lnTo>
                  <a:lnTo>
                    <a:pt x="4658" y="1"/>
                  </a:lnTo>
                  <a:lnTo>
                    <a:pt x="4619" y="3"/>
                  </a:lnTo>
                  <a:lnTo>
                    <a:pt x="4580" y="7"/>
                  </a:lnTo>
                  <a:lnTo>
                    <a:pt x="4544" y="14"/>
                  </a:lnTo>
                  <a:lnTo>
                    <a:pt x="4509" y="21"/>
                  </a:lnTo>
                  <a:lnTo>
                    <a:pt x="4476" y="29"/>
                  </a:lnTo>
                  <a:lnTo>
                    <a:pt x="4445" y="39"/>
                  </a:lnTo>
                  <a:lnTo>
                    <a:pt x="4417" y="50"/>
                  </a:lnTo>
                  <a:lnTo>
                    <a:pt x="4391" y="63"/>
                  </a:lnTo>
                  <a:lnTo>
                    <a:pt x="4368" y="75"/>
                  </a:lnTo>
                  <a:lnTo>
                    <a:pt x="4358" y="83"/>
                  </a:lnTo>
                  <a:lnTo>
                    <a:pt x="4348" y="90"/>
                  </a:lnTo>
                  <a:lnTo>
                    <a:pt x="4340" y="97"/>
                  </a:lnTo>
                  <a:lnTo>
                    <a:pt x="4332" y="104"/>
                  </a:lnTo>
                  <a:lnTo>
                    <a:pt x="4325" y="113"/>
                  </a:lnTo>
                  <a:lnTo>
                    <a:pt x="4318" y="120"/>
                  </a:lnTo>
                  <a:lnTo>
                    <a:pt x="4313" y="128"/>
                  </a:lnTo>
                  <a:lnTo>
                    <a:pt x="4309" y="137"/>
                  </a:lnTo>
                  <a:lnTo>
                    <a:pt x="4305" y="145"/>
                  </a:lnTo>
                  <a:lnTo>
                    <a:pt x="4303" y="153"/>
                  </a:lnTo>
                  <a:lnTo>
                    <a:pt x="4302" y="163"/>
                  </a:lnTo>
                  <a:lnTo>
                    <a:pt x="4301" y="171"/>
                  </a:lnTo>
                  <a:lnTo>
                    <a:pt x="4301" y="171"/>
                  </a:lnTo>
                  <a:close/>
                </a:path>
              </a:pathLst>
            </a:custGeom>
            <a:solidFill>
              <a:srgbClr val="F15A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49" name="Freeform 44"/>
            <p:cNvSpPr>
              <a:spLocks/>
            </p:cNvSpPr>
            <p:nvPr/>
          </p:nvSpPr>
          <p:spPr bwMode="auto">
            <a:xfrm flipH="1">
              <a:off x="4833737" y="3416855"/>
              <a:ext cx="1731300" cy="327639"/>
            </a:xfrm>
            <a:custGeom>
              <a:avLst/>
              <a:gdLst>
                <a:gd name="T0" fmla="*/ 1 w 9393"/>
                <a:gd name="T1" fmla="*/ 18 h 2287"/>
                <a:gd name="T2" fmla="*/ 11 w 9393"/>
                <a:gd name="T3" fmla="*/ 67 h 2287"/>
                <a:gd name="T4" fmla="*/ 30 w 9393"/>
                <a:gd name="T5" fmla="*/ 111 h 2287"/>
                <a:gd name="T6" fmla="*/ 61 w 9393"/>
                <a:gd name="T7" fmla="*/ 155 h 2287"/>
                <a:gd name="T8" fmla="*/ 108 w 9393"/>
                <a:gd name="T9" fmla="*/ 196 h 2287"/>
                <a:gd name="T10" fmla="*/ 196 w 9393"/>
                <a:gd name="T11" fmla="*/ 241 h 2287"/>
                <a:gd name="T12" fmla="*/ 1465 w 9393"/>
                <a:gd name="T13" fmla="*/ 844 h 2287"/>
                <a:gd name="T14" fmla="*/ 4164 w 9393"/>
                <a:gd name="T15" fmla="*/ 2117 h 2287"/>
                <a:gd name="T16" fmla="*/ 4206 w 9393"/>
                <a:gd name="T17" fmla="*/ 2132 h 2287"/>
                <a:gd name="T18" fmla="*/ 4319 w 9393"/>
                <a:gd name="T19" fmla="*/ 2166 h 2287"/>
                <a:gd name="T20" fmla="*/ 4442 w 9393"/>
                <a:gd name="T21" fmla="*/ 2192 h 2287"/>
                <a:gd name="T22" fmla="*/ 4588 w 9393"/>
                <a:gd name="T23" fmla="*/ 2211 h 2287"/>
                <a:gd name="T24" fmla="*/ 4697 w 9393"/>
                <a:gd name="T25" fmla="*/ 2215 h 2287"/>
                <a:gd name="T26" fmla="*/ 4855 w 9393"/>
                <a:gd name="T27" fmla="*/ 2207 h 2287"/>
                <a:gd name="T28" fmla="*/ 4994 w 9393"/>
                <a:gd name="T29" fmla="*/ 2184 h 2287"/>
                <a:gd name="T30" fmla="*/ 5107 w 9393"/>
                <a:gd name="T31" fmla="*/ 2157 h 2287"/>
                <a:gd name="T32" fmla="*/ 5217 w 9393"/>
                <a:gd name="T33" fmla="*/ 2122 h 2287"/>
                <a:gd name="T34" fmla="*/ 5839 w 9393"/>
                <a:gd name="T35" fmla="*/ 1829 h 2287"/>
                <a:gd name="T36" fmla="*/ 8576 w 9393"/>
                <a:gd name="T37" fmla="*/ 537 h 2287"/>
                <a:gd name="T38" fmla="*/ 9265 w 9393"/>
                <a:gd name="T39" fmla="*/ 207 h 2287"/>
                <a:gd name="T40" fmla="*/ 9302 w 9393"/>
                <a:gd name="T41" fmla="*/ 182 h 2287"/>
                <a:gd name="T42" fmla="*/ 9344 w 9393"/>
                <a:gd name="T43" fmla="*/ 141 h 2287"/>
                <a:gd name="T44" fmla="*/ 9371 w 9393"/>
                <a:gd name="T45" fmla="*/ 96 h 2287"/>
                <a:gd name="T46" fmla="*/ 9385 w 9393"/>
                <a:gd name="T47" fmla="*/ 53 h 2287"/>
                <a:gd name="T48" fmla="*/ 9393 w 9393"/>
                <a:gd name="T49" fmla="*/ 0 h 2287"/>
                <a:gd name="T50" fmla="*/ 9393 w 9393"/>
                <a:gd name="T51" fmla="*/ 57 h 2287"/>
                <a:gd name="T52" fmla="*/ 9391 w 9393"/>
                <a:gd name="T53" fmla="*/ 94 h 2287"/>
                <a:gd name="T54" fmla="*/ 9380 w 9393"/>
                <a:gd name="T55" fmla="*/ 140 h 2287"/>
                <a:gd name="T56" fmla="*/ 9355 w 9393"/>
                <a:gd name="T57" fmla="*/ 195 h 2287"/>
                <a:gd name="T58" fmla="*/ 9319 w 9393"/>
                <a:gd name="T59" fmla="*/ 240 h 2287"/>
                <a:gd name="T60" fmla="*/ 9289 w 9393"/>
                <a:gd name="T61" fmla="*/ 265 h 2287"/>
                <a:gd name="T62" fmla="*/ 9265 w 9393"/>
                <a:gd name="T63" fmla="*/ 279 h 2287"/>
                <a:gd name="T64" fmla="*/ 8576 w 9393"/>
                <a:gd name="T65" fmla="*/ 609 h 2287"/>
                <a:gd name="T66" fmla="*/ 5839 w 9393"/>
                <a:gd name="T67" fmla="*/ 1901 h 2287"/>
                <a:gd name="T68" fmla="*/ 5217 w 9393"/>
                <a:gd name="T69" fmla="*/ 2192 h 2287"/>
                <a:gd name="T70" fmla="*/ 5107 w 9393"/>
                <a:gd name="T71" fmla="*/ 2229 h 2287"/>
                <a:gd name="T72" fmla="*/ 4994 w 9393"/>
                <a:gd name="T73" fmla="*/ 2256 h 2287"/>
                <a:gd name="T74" fmla="*/ 4855 w 9393"/>
                <a:gd name="T75" fmla="*/ 2278 h 2287"/>
                <a:gd name="T76" fmla="*/ 4697 w 9393"/>
                <a:gd name="T77" fmla="*/ 2287 h 2287"/>
                <a:gd name="T78" fmla="*/ 4588 w 9393"/>
                <a:gd name="T79" fmla="*/ 2283 h 2287"/>
                <a:gd name="T80" fmla="*/ 4442 w 9393"/>
                <a:gd name="T81" fmla="*/ 2264 h 2287"/>
                <a:gd name="T82" fmla="*/ 4319 w 9393"/>
                <a:gd name="T83" fmla="*/ 2238 h 2287"/>
                <a:gd name="T84" fmla="*/ 4206 w 9393"/>
                <a:gd name="T85" fmla="*/ 2204 h 2287"/>
                <a:gd name="T86" fmla="*/ 4164 w 9393"/>
                <a:gd name="T87" fmla="*/ 2188 h 2287"/>
                <a:gd name="T88" fmla="*/ 1465 w 9393"/>
                <a:gd name="T89" fmla="*/ 916 h 2287"/>
                <a:gd name="T90" fmla="*/ 196 w 9393"/>
                <a:gd name="T91" fmla="*/ 313 h 2287"/>
                <a:gd name="T92" fmla="*/ 115 w 9393"/>
                <a:gd name="T93" fmla="*/ 272 h 2287"/>
                <a:gd name="T94" fmla="*/ 83 w 9393"/>
                <a:gd name="T95" fmla="*/ 248 h 2287"/>
                <a:gd name="T96" fmla="*/ 49 w 9393"/>
                <a:gd name="T97" fmla="*/ 213 h 2287"/>
                <a:gd name="T98" fmla="*/ 18 w 9393"/>
                <a:gd name="T99" fmla="*/ 158 h 2287"/>
                <a:gd name="T100" fmla="*/ 4 w 9393"/>
                <a:gd name="T101" fmla="*/ 107 h 2287"/>
                <a:gd name="T102" fmla="*/ 0 w 9393"/>
                <a:gd name="T103" fmla="*/ 64 h 2287"/>
                <a:gd name="T104" fmla="*/ 0 w 9393"/>
                <a:gd name="T105" fmla="*/ 0 h 2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393" h="2287">
                  <a:moveTo>
                    <a:pt x="0" y="0"/>
                  </a:moveTo>
                  <a:lnTo>
                    <a:pt x="0" y="0"/>
                  </a:lnTo>
                  <a:lnTo>
                    <a:pt x="1" y="18"/>
                  </a:lnTo>
                  <a:lnTo>
                    <a:pt x="5" y="40"/>
                  </a:lnTo>
                  <a:lnTo>
                    <a:pt x="8" y="53"/>
                  </a:lnTo>
                  <a:lnTo>
                    <a:pt x="11" y="67"/>
                  </a:lnTo>
                  <a:lnTo>
                    <a:pt x="16" y="81"/>
                  </a:lnTo>
                  <a:lnTo>
                    <a:pt x="22" y="96"/>
                  </a:lnTo>
                  <a:lnTo>
                    <a:pt x="30" y="111"/>
                  </a:lnTo>
                  <a:lnTo>
                    <a:pt x="38" y="125"/>
                  </a:lnTo>
                  <a:lnTo>
                    <a:pt x="48" y="141"/>
                  </a:lnTo>
                  <a:lnTo>
                    <a:pt x="61" y="155"/>
                  </a:lnTo>
                  <a:lnTo>
                    <a:pt x="74" y="169"/>
                  </a:lnTo>
                  <a:lnTo>
                    <a:pt x="90" y="182"/>
                  </a:lnTo>
                  <a:lnTo>
                    <a:pt x="108" y="196"/>
                  </a:lnTo>
                  <a:lnTo>
                    <a:pt x="127" y="207"/>
                  </a:lnTo>
                  <a:lnTo>
                    <a:pt x="127" y="207"/>
                  </a:lnTo>
                  <a:lnTo>
                    <a:pt x="196" y="241"/>
                  </a:lnTo>
                  <a:lnTo>
                    <a:pt x="341" y="311"/>
                  </a:lnTo>
                  <a:lnTo>
                    <a:pt x="817" y="537"/>
                  </a:lnTo>
                  <a:lnTo>
                    <a:pt x="1465" y="844"/>
                  </a:lnTo>
                  <a:lnTo>
                    <a:pt x="2197" y="1190"/>
                  </a:lnTo>
                  <a:lnTo>
                    <a:pt x="3553" y="1829"/>
                  </a:lnTo>
                  <a:lnTo>
                    <a:pt x="4164" y="2117"/>
                  </a:lnTo>
                  <a:lnTo>
                    <a:pt x="4164" y="2117"/>
                  </a:lnTo>
                  <a:lnTo>
                    <a:pt x="4176" y="2122"/>
                  </a:lnTo>
                  <a:lnTo>
                    <a:pt x="4206" y="2132"/>
                  </a:lnTo>
                  <a:lnTo>
                    <a:pt x="4255" y="2149"/>
                  </a:lnTo>
                  <a:lnTo>
                    <a:pt x="4285" y="2157"/>
                  </a:lnTo>
                  <a:lnTo>
                    <a:pt x="4319" y="2166"/>
                  </a:lnTo>
                  <a:lnTo>
                    <a:pt x="4358" y="2176"/>
                  </a:lnTo>
                  <a:lnTo>
                    <a:pt x="4398" y="2184"/>
                  </a:lnTo>
                  <a:lnTo>
                    <a:pt x="4442" y="2192"/>
                  </a:lnTo>
                  <a:lnTo>
                    <a:pt x="4489" y="2201"/>
                  </a:lnTo>
                  <a:lnTo>
                    <a:pt x="4538" y="2207"/>
                  </a:lnTo>
                  <a:lnTo>
                    <a:pt x="4588" y="2211"/>
                  </a:lnTo>
                  <a:lnTo>
                    <a:pt x="4642" y="2214"/>
                  </a:lnTo>
                  <a:lnTo>
                    <a:pt x="4697" y="2215"/>
                  </a:lnTo>
                  <a:lnTo>
                    <a:pt x="4697" y="2215"/>
                  </a:lnTo>
                  <a:lnTo>
                    <a:pt x="4751" y="2214"/>
                  </a:lnTo>
                  <a:lnTo>
                    <a:pt x="4804" y="2211"/>
                  </a:lnTo>
                  <a:lnTo>
                    <a:pt x="4855" y="2207"/>
                  </a:lnTo>
                  <a:lnTo>
                    <a:pt x="4904" y="2201"/>
                  </a:lnTo>
                  <a:lnTo>
                    <a:pt x="4950" y="2192"/>
                  </a:lnTo>
                  <a:lnTo>
                    <a:pt x="4994" y="2184"/>
                  </a:lnTo>
                  <a:lnTo>
                    <a:pt x="5036" y="2176"/>
                  </a:lnTo>
                  <a:lnTo>
                    <a:pt x="5073" y="2166"/>
                  </a:lnTo>
                  <a:lnTo>
                    <a:pt x="5107" y="2157"/>
                  </a:lnTo>
                  <a:lnTo>
                    <a:pt x="5137" y="2149"/>
                  </a:lnTo>
                  <a:lnTo>
                    <a:pt x="5186" y="2132"/>
                  </a:lnTo>
                  <a:lnTo>
                    <a:pt x="5217" y="2122"/>
                  </a:lnTo>
                  <a:lnTo>
                    <a:pt x="5228" y="2117"/>
                  </a:lnTo>
                  <a:lnTo>
                    <a:pt x="5228" y="2117"/>
                  </a:lnTo>
                  <a:lnTo>
                    <a:pt x="5839" y="1829"/>
                  </a:lnTo>
                  <a:lnTo>
                    <a:pt x="7195" y="1190"/>
                  </a:lnTo>
                  <a:lnTo>
                    <a:pt x="7927" y="844"/>
                  </a:lnTo>
                  <a:lnTo>
                    <a:pt x="8576" y="537"/>
                  </a:lnTo>
                  <a:lnTo>
                    <a:pt x="9052" y="311"/>
                  </a:lnTo>
                  <a:lnTo>
                    <a:pt x="9197" y="241"/>
                  </a:lnTo>
                  <a:lnTo>
                    <a:pt x="9265" y="207"/>
                  </a:lnTo>
                  <a:lnTo>
                    <a:pt x="9265" y="207"/>
                  </a:lnTo>
                  <a:lnTo>
                    <a:pt x="9285" y="196"/>
                  </a:lnTo>
                  <a:lnTo>
                    <a:pt x="9302" y="182"/>
                  </a:lnTo>
                  <a:lnTo>
                    <a:pt x="9318" y="169"/>
                  </a:lnTo>
                  <a:lnTo>
                    <a:pt x="9332" y="155"/>
                  </a:lnTo>
                  <a:lnTo>
                    <a:pt x="9344" y="141"/>
                  </a:lnTo>
                  <a:lnTo>
                    <a:pt x="9354" y="125"/>
                  </a:lnTo>
                  <a:lnTo>
                    <a:pt x="9363" y="111"/>
                  </a:lnTo>
                  <a:lnTo>
                    <a:pt x="9371" y="96"/>
                  </a:lnTo>
                  <a:lnTo>
                    <a:pt x="9376" y="81"/>
                  </a:lnTo>
                  <a:lnTo>
                    <a:pt x="9381" y="67"/>
                  </a:lnTo>
                  <a:lnTo>
                    <a:pt x="9385" y="53"/>
                  </a:lnTo>
                  <a:lnTo>
                    <a:pt x="9389" y="40"/>
                  </a:lnTo>
                  <a:lnTo>
                    <a:pt x="9392" y="17"/>
                  </a:lnTo>
                  <a:lnTo>
                    <a:pt x="9393" y="0"/>
                  </a:lnTo>
                  <a:lnTo>
                    <a:pt x="9393" y="0"/>
                  </a:lnTo>
                  <a:lnTo>
                    <a:pt x="9393" y="57"/>
                  </a:lnTo>
                  <a:lnTo>
                    <a:pt x="9393" y="57"/>
                  </a:lnTo>
                  <a:lnTo>
                    <a:pt x="9393" y="64"/>
                  </a:lnTo>
                  <a:lnTo>
                    <a:pt x="9393" y="81"/>
                  </a:lnTo>
                  <a:lnTo>
                    <a:pt x="9391" y="94"/>
                  </a:lnTo>
                  <a:lnTo>
                    <a:pt x="9389" y="107"/>
                  </a:lnTo>
                  <a:lnTo>
                    <a:pt x="9385" y="123"/>
                  </a:lnTo>
                  <a:lnTo>
                    <a:pt x="9380" y="140"/>
                  </a:lnTo>
                  <a:lnTo>
                    <a:pt x="9374" y="158"/>
                  </a:lnTo>
                  <a:lnTo>
                    <a:pt x="9366" y="176"/>
                  </a:lnTo>
                  <a:lnTo>
                    <a:pt x="9355" y="195"/>
                  </a:lnTo>
                  <a:lnTo>
                    <a:pt x="9343" y="213"/>
                  </a:lnTo>
                  <a:lnTo>
                    <a:pt x="9328" y="231"/>
                  </a:lnTo>
                  <a:lnTo>
                    <a:pt x="9319" y="240"/>
                  </a:lnTo>
                  <a:lnTo>
                    <a:pt x="9309" y="248"/>
                  </a:lnTo>
                  <a:lnTo>
                    <a:pt x="9300" y="256"/>
                  </a:lnTo>
                  <a:lnTo>
                    <a:pt x="9289" y="265"/>
                  </a:lnTo>
                  <a:lnTo>
                    <a:pt x="9277" y="272"/>
                  </a:lnTo>
                  <a:lnTo>
                    <a:pt x="9265" y="279"/>
                  </a:lnTo>
                  <a:lnTo>
                    <a:pt x="9265" y="279"/>
                  </a:lnTo>
                  <a:lnTo>
                    <a:pt x="9197" y="313"/>
                  </a:lnTo>
                  <a:lnTo>
                    <a:pt x="9052" y="383"/>
                  </a:lnTo>
                  <a:lnTo>
                    <a:pt x="8576" y="609"/>
                  </a:lnTo>
                  <a:lnTo>
                    <a:pt x="7927" y="916"/>
                  </a:lnTo>
                  <a:lnTo>
                    <a:pt x="7195" y="1262"/>
                  </a:lnTo>
                  <a:lnTo>
                    <a:pt x="5839" y="1901"/>
                  </a:lnTo>
                  <a:lnTo>
                    <a:pt x="5228" y="2188"/>
                  </a:lnTo>
                  <a:lnTo>
                    <a:pt x="5228" y="2188"/>
                  </a:lnTo>
                  <a:lnTo>
                    <a:pt x="5217" y="2192"/>
                  </a:lnTo>
                  <a:lnTo>
                    <a:pt x="5186" y="2204"/>
                  </a:lnTo>
                  <a:lnTo>
                    <a:pt x="5137" y="2219"/>
                  </a:lnTo>
                  <a:lnTo>
                    <a:pt x="5107" y="2229"/>
                  </a:lnTo>
                  <a:lnTo>
                    <a:pt x="5073" y="2238"/>
                  </a:lnTo>
                  <a:lnTo>
                    <a:pt x="5036" y="2248"/>
                  </a:lnTo>
                  <a:lnTo>
                    <a:pt x="4994" y="2256"/>
                  </a:lnTo>
                  <a:lnTo>
                    <a:pt x="4950" y="2264"/>
                  </a:lnTo>
                  <a:lnTo>
                    <a:pt x="4904" y="2272"/>
                  </a:lnTo>
                  <a:lnTo>
                    <a:pt x="4855" y="2278"/>
                  </a:lnTo>
                  <a:lnTo>
                    <a:pt x="4804" y="2283"/>
                  </a:lnTo>
                  <a:lnTo>
                    <a:pt x="4751" y="2286"/>
                  </a:lnTo>
                  <a:lnTo>
                    <a:pt x="4697" y="2287"/>
                  </a:lnTo>
                  <a:lnTo>
                    <a:pt x="4697" y="2287"/>
                  </a:lnTo>
                  <a:lnTo>
                    <a:pt x="4642" y="2286"/>
                  </a:lnTo>
                  <a:lnTo>
                    <a:pt x="4588" y="2283"/>
                  </a:lnTo>
                  <a:lnTo>
                    <a:pt x="4538" y="2278"/>
                  </a:lnTo>
                  <a:lnTo>
                    <a:pt x="4489" y="2272"/>
                  </a:lnTo>
                  <a:lnTo>
                    <a:pt x="4442" y="2264"/>
                  </a:lnTo>
                  <a:lnTo>
                    <a:pt x="4398" y="2256"/>
                  </a:lnTo>
                  <a:lnTo>
                    <a:pt x="4358" y="2248"/>
                  </a:lnTo>
                  <a:lnTo>
                    <a:pt x="4319" y="2238"/>
                  </a:lnTo>
                  <a:lnTo>
                    <a:pt x="4285" y="2229"/>
                  </a:lnTo>
                  <a:lnTo>
                    <a:pt x="4255" y="2219"/>
                  </a:lnTo>
                  <a:lnTo>
                    <a:pt x="4206" y="2204"/>
                  </a:lnTo>
                  <a:lnTo>
                    <a:pt x="4176" y="2192"/>
                  </a:lnTo>
                  <a:lnTo>
                    <a:pt x="4164" y="2188"/>
                  </a:lnTo>
                  <a:lnTo>
                    <a:pt x="4164" y="2188"/>
                  </a:lnTo>
                  <a:lnTo>
                    <a:pt x="3553" y="1901"/>
                  </a:lnTo>
                  <a:lnTo>
                    <a:pt x="2197" y="1262"/>
                  </a:lnTo>
                  <a:lnTo>
                    <a:pt x="1465" y="916"/>
                  </a:lnTo>
                  <a:lnTo>
                    <a:pt x="817" y="609"/>
                  </a:lnTo>
                  <a:lnTo>
                    <a:pt x="341" y="383"/>
                  </a:lnTo>
                  <a:lnTo>
                    <a:pt x="196" y="313"/>
                  </a:lnTo>
                  <a:lnTo>
                    <a:pt x="127" y="279"/>
                  </a:lnTo>
                  <a:lnTo>
                    <a:pt x="127" y="279"/>
                  </a:lnTo>
                  <a:lnTo>
                    <a:pt x="115" y="272"/>
                  </a:lnTo>
                  <a:lnTo>
                    <a:pt x="104" y="265"/>
                  </a:lnTo>
                  <a:lnTo>
                    <a:pt x="92" y="256"/>
                  </a:lnTo>
                  <a:lnTo>
                    <a:pt x="83" y="248"/>
                  </a:lnTo>
                  <a:lnTo>
                    <a:pt x="73" y="240"/>
                  </a:lnTo>
                  <a:lnTo>
                    <a:pt x="65" y="231"/>
                  </a:lnTo>
                  <a:lnTo>
                    <a:pt x="49" y="213"/>
                  </a:lnTo>
                  <a:lnTo>
                    <a:pt x="37" y="195"/>
                  </a:lnTo>
                  <a:lnTo>
                    <a:pt x="27" y="176"/>
                  </a:lnTo>
                  <a:lnTo>
                    <a:pt x="18" y="158"/>
                  </a:lnTo>
                  <a:lnTo>
                    <a:pt x="12" y="140"/>
                  </a:lnTo>
                  <a:lnTo>
                    <a:pt x="7" y="123"/>
                  </a:lnTo>
                  <a:lnTo>
                    <a:pt x="4" y="107"/>
                  </a:lnTo>
                  <a:lnTo>
                    <a:pt x="2" y="94"/>
                  </a:lnTo>
                  <a:lnTo>
                    <a:pt x="1" y="81"/>
                  </a:lnTo>
                  <a:lnTo>
                    <a:pt x="0" y="64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350" name="Groupe 231"/>
          <p:cNvGrpSpPr/>
          <p:nvPr/>
        </p:nvGrpSpPr>
        <p:grpSpPr>
          <a:xfrm>
            <a:off x="6552829" y="1933792"/>
            <a:ext cx="422264" cy="305440"/>
            <a:chOff x="6474731" y="2021165"/>
            <a:chExt cx="1381686" cy="1127387"/>
          </a:xfrm>
        </p:grpSpPr>
        <p:sp>
          <p:nvSpPr>
            <p:cNvPr id="351" name="Freeform 45"/>
            <p:cNvSpPr>
              <a:spLocks/>
            </p:cNvSpPr>
            <p:nvPr/>
          </p:nvSpPr>
          <p:spPr bwMode="auto">
            <a:xfrm flipH="1">
              <a:off x="6474731" y="2717720"/>
              <a:ext cx="1381686" cy="430832"/>
            </a:xfrm>
            <a:custGeom>
              <a:avLst/>
              <a:gdLst>
                <a:gd name="T0" fmla="*/ 0 w 7498"/>
                <a:gd name="T1" fmla="*/ 1225 h 3005"/>
                <a:gd name="T2" fmla="*/ 0 w 7498"/>
                <a:gd name="T3" fmla="*/ 945 h 3005"/>
                <a:gd name="T4" fmla="*/ 5 w 7498"/>
                <a:gd name="T5" fmla="*/ 901 h 3005"/>
                <a:gd name="T6" fmla="*/ 15 w 7498"/>
                <a:gd name="T7" fmla="*/ 863 h 3005"/>
                <a:gd name="T8" fmla="*/ 31 w 7498"/>
                <a:gd name="T9" fmla="*/ 831 h 3005"/>
                <a:gd name="T10" fmla="*/ 47 w 7498"/>
                <a:gd name="T11" fmla="*/ 805 h 3005"/>
                <a:gd name="T12" fmla="*/ 65 w 7498"/>
                <a:gd name="T13" fmla="*/ 785 h 3005"/>
                <a:gd name="T14" fmla="*/ 91 w 7498"/>
                <a:gd name="T15" fmla="*/ 762 h 3005"/>
                <a:gd name="T16" fmla="*/ 1669 w 7498"/>
                <a:gd name="T17" fmla="*/ 0 h 3005"/>
                <a:gd name="T18" fmla="*/ 5830 w 7498"/>
                <a:gd name="T19" fmla="*/ 0 h 3005"/>
                <a:gd name="T20" fmla="*/ 7404 w 7498"/>
                <a:gd name="T21" fmla="*/ 760 h 3005"/>
                <a:gd name="T22" fmla="*/ 7419 w 7498"/>
                <a:gd name="T23" fmla="*/ 771 h 3005"/>
                <a:gd name="T24" fmla="*/ 7442 w 7498"/>
                <a:gd name="T25" fmla="*/ 795 h 3005"/>
                <a:gd name="T26" fmla="*/ 7460 w 7498"/>
                <a:gd name="T27" fmla="*/ 818 h 3005"/>
                <a:gd name="T28" fmla="*/ 7476 w 7498"/>
                <a:gd name="T29" fmla="*/ 847 h 3005"/>
                <a:gd name="T30" fmla="*/ 7490 w 7498"/>
                <a:gd name="T31" fmla="*/ 881 h 3005"/>
                <a:gd name="T32" fmla="*/ 7497 w 7498"/>
                <a:gd name="T33" fmla="*/ 922 h 3005"/>
                <a:gd name="T34" fmla="*/ 7498 w 7498"/>
                <a:gd name="T35" fmla="*/ 945 h 3005"/>
                <a:gd name="T36" fmla="*/ 7498 w 7498"/>
                <a:gd name="T37" fmla="*/ 1225 h 3005"/>
                <a:gd name="T38" fmla="*/ 7498 w 7498"/>
                <a:gd name="T39" fmla="*/ 1244 h 3005"/>
                <a:gd name="T40" fmla="*/ 7492 w 7498"/>
                <a:gd name="T41" fmla="*/ 1278 h 3005"/>
                <a:gd name="T42" fmla="*/ 7484 w 7498"/>
                <a:gd name="T43" fmla="*/ 1305 h 3005"/>
                <a:gd name="T44" fmla="*/ 7469 w 7498"/>
                <a:gd name="T45" fmla="*/ 1334 h 3005"/>
                <a:gd name="T46" fmla="*/ 7446 w 7498"/>
                <a:gd name="T47" fmla="*/ 1364 h 3005"/>
                <a:gd name="T48" fmla="*/ 7415 w 7498"/>
                <a:gd name="T49" fmla="*/ 1391 h 3005"/>
                <a:gd name="T50" fmla="*/ 7396 w 7498"/>
                <a:gd name="T51" fmla="*/ 1402 h 3005"/>
                <a:gd name="T52" fmla="*/ 7342 w 7498"/>
                <a:gd name="T53" fmla="*/ 1429 h 3005"/>
                <a:gd name="T54" fmla="*/ 6846 w 7498"/>
                <a:gd name="T55" fmla="*/ 1665 h 3005"/>
                <a:gd name="T56" fmla="*/ 4173 w 7498"/>
                <a:gd name="T57" fmla="*/ 2927 h 3005"/>
                <a:gd name="T58" fmla="*/ 4165 w 7498"/>
                <a:gd name="T59" fmla="*/ 2930 h 3005"/>
                <a:gd name="T60" fmla="*/ 4102 w 7498"/>
                <a:gd name="T61" fmla="*/ 2952 h 3005"/>
                <a:gd name="T62" fmla="*/ 4050 w 7498"/>
                <a:gd name="T63" fmla="*/ 2966 h 3005"/>
                <a:gd name="T64" fmla="*/ 3987 w 7498"/>
                <a:gd name="T65" fmla="*/ 2980 h 3005"/>
                <a:gd name="T66" fmla="*/ 3915 w 7498"/>
                <a:gd name="T67" fmla="*/ 2993 h 3005"/>
                <a:gd name="T68" fmla="*/ 3836 w 7498"/>
                <a:gd name="T69" fmla="*/ 3002 h 3005"/>
                <a:gd name="T70" fmla="*/ 3749 w 7498"/>
                <a:gd name="T71" fmla="*/ 3005 h 3005"/>
                <a:gd name="T72" fmla="*/ 3706 w 7498"/>
                <a:gd name="T73" fmla="*/ 3005 h 3005"/>
                <a:gd name="T74" fmla="*/ 3622 w 7498"/>
                <a:gd name="T75" fmla="*/ 2997 h 3005"/>
                <a:gd name="T76" fmla="*/ 3547 w 7498"/>
                <a:gd name="T77" fmla="*/ 2987 h 3005"/>
                <a:gd name="T78" fmla="*/ 3479 w 7498"/>
                <a:gd name="T79" fmla="*/ 2973 h 3005"/>
                <a:gd name="T80" fmla="*/ 3422 w 7498"/>
                <a:gd name="T81" fmla="*/ 2959 h 3005"/>
                <a:gd name="T82" fmla="*/ 3358 w 7498"/>
                <a:gd name="T83" fmla="*/ 2939 h 3005"/>
                <a:gd name="T84" fmla="*/ 3325 w 7498"/>
                <a:gd name="T85" fmla="*/ 2927 h 3005"/>
                <a:gd name="T86" fmla="*/ 1755 w 7498"/>
                <a:gd name="T87" fmla="*/ 2187 h 3005"/>
                <a:gd name="T88" fmla="*/ 273 w 7498"/>
                <a:gd name="T89" fmla="*/ 1484 h 3005"/>
                <a:gd name="T90" fmla="*/ 102 w 7498"/>
                <a:gd name="T91" fmla="*/ 1402 h 3005"/>
                <a:gd name="T92" fmla="*/ 93 w 7498"/>
                <a:gd name="T93" fmla="*/ 1396 h 3005"/>
                <a:gd name="T94" fmla="*/ 67 w 7498"/>
                <a:gd name="T95" fmla="*/ 1377 h 3005"/>
                <a:gd name="T96" fmla="*/ 40 w 7498"/>
                <a:gd name="T97" fmla="*/ 1349 h 3005"/>
                <a:gd name="T98" fmla="*/ 21 w 7498"/>
                <a:gd name="T99" fmla="*/ 1320 h 3005"/>
                <a:gd name="T100" fmla="*/ 10 w 7498"/>
                <a:gd name="T101" fmla="*/ 1292 h 3005"/>
                <a:gd name="T102" fmla="*/ 3 w 7498"/>
                <a:gd name="T103" fmla="*/ 1266 h 3005"/>
                <a:gd name="T104" fmla="*/ 0 w 7498"/>
                <a:gd name="T105" fmla="*/ 1230 h 3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98" h="3005">
                  <a:moveTo>
                    <a:pt x="0" y="1225"/>
                  </a:moveTo>
                  <a:lnTo>
                    <a:pt x="0" y="1225"/>
                  </a:lnTo>
                  <a:lnTo>
                    <a:pt x="0" y="945"/>
                  </a:lnTo>
                  <a:lnTo>
                    <a:pt x="0" y="945"/>
                  </a:lnTo>
                  <a:lnTo>
                    <a:pt x="1" y="922"/>
                  </a:lnTo>
                  <a:lnTo>
                    <a:pt x="5" y="901"/>
                  </a:lnTo>
                  <a:lnTo>
                    <a:pt x="9" y="881"/>
                  </a:lnTo>
                  <a:lnTo>
                    <a:pt x="15" y="863"/>
                  </a:lnTo>
                  <a:lnTo>
                    <a:pt x="22" y="847"/>
                  </a:lnTo>
                  <a:lnTo>
                    <a:pt x="31" y="831"/>
                  </a:lnTo>
                  <a:lnTo>
                    <a:pt x="39" y="818"/>
                  </a:lnTo>
                  <a:lnTo>
                    <a:pt x="47" y="805"/>
                  </a:lnTo>
                  <a:lnTo>
                    <a:pt x="57" y="795"/>
                  </a:lnTo>
                  <a:lnTo>
                    <a:pt x="65" y="785"/>
                  </a:lnTo>
                  <a:lnTo>
                    <a:pt x="79" y="771"/>
                  </a:lnTo>
                  <a:lnTo>
                    <a:pt x="91" y="762"/>
                  </a:lnTo>
                  <a:lnTo>
                    <a:pt x="95" y="760"/>
                  </a:lnTo>
                  <a:lnTo>
                    <a:pt x="1669" y="0"/>
                  </a:lnTo>
                  <a:lnTo>
                    <a:pt x="3749" y="1280"/>
                  </a:lnTo>
                  <a:lnTo>
                    <a:pt x="5830" y="0"/>
                  </a:lnTo>
                  <a:lnTo>
                    <a:pt x="7404" y="760"/>
                  </a:lnTo>
                  <a:lnTo>
                    <a:pt x="7404" y="760"/>
                  </a:lnTo>
                  <a:lnTo>
                    <a:pt x="7408" y="762"/>
                  </a:lnTo>
                  <a:lnTo>
                    <a:pt x="7419" y="771"/>
                  </a:lnTo>
                  <a:lnTo>
                    <a:pt x="7434" y="785"/>
                  </a:lnTo>
                  <a:lnTo>
                    <a:pt x="7442" y="795"/>
                  </a:lnTo>
                  <a:lnTo>
                    <a:pt x="7451" y="805"/>
                  </a:lnTo>
                  <a:lnTo>
                    <a:pt x="7460" y="818"/>
                  </a:lnTo>
                  <a:lnTo>
                    <a:pt x="7468" y="831"/>
                  </a:lnTo>
                  <a:lnTo>
                    <a:pt x="7476" y="847"/>
                  </a:lnTo>
                  <a:lnTo>
                    <a:pt x="7484" y="863"/>
                  </a:lnTo>
                  <a:lnTo>
                    <a:pt x="7490" y="881"/>
                  </a:lnTo>
                  <a:lnTo>
                    <a:pt x="7494" y="901"/>
                  </a:lnTo>
                  <a:lnTo>
                    <a:pt x="7497" y="922"/>
                  </a:lnTo>
                  <a:lnTo>
                    <a:pt x="7498" y="945"/>
                  </a:lnTo>
                  <a:lnTo>
                    <a:pt x="7498" y="945"/>
                  </a:lnTo>
                  <a:lnTo>
                    <a:pt x="7498" y="1225"/>
                  </a:lnTo>
                  <a:lnTo>
                    <a:pt x="7498" y="1225"/>
                  </a:lnTo>
                  <a:lnTo>
                    <a:pt x="7498" y="1230"/>
                  </a:lnTo>
                  <a:lnTo>
                    <a:pt x="7498" y="1244"/>
                  </a:lnTo>
                  <a:lnTo>
                    <a:pt x="7495" y="1266"/>
                  </a:lnTo>
                  <a:lnTo>
                    <a:pt x="7492" y="1278"/>
                  </a:lnTo>
                  <a:lnTo>
                    <a:pt x="7489" y="1292"/>
                  </a:lnTo>
                  <a:lnTo>
                    <a:pt x="7484" y="1305"/>
                  </a:lnTo>
                  <a:lnTo>
                    <a:pt x="7476" y="1320"/>
                  </a:lnTo>
                  <a:lnTo>
                    <a:pt x="7469" y="1334"/>
                  </a:lnTo>
                  <a:lnTo>
                    <a:pt x="7459" y="1349"/>
                  </a:lnTo>
                  <a:lnTo>
                    <a:pt x="7446" y="1364"/>
                  </a:lnTo>
                  <a:lnTo>
                    <a:pt x="7432" y="1377"/>
                  </a:lnTo>
                  <a:lnTo>
                    <a:pt x="7415" y="1391"/>
                  </a:lnTo>
                  <a:lnTo>
                    <a:pt x="7406" y="1396"/>
                  </a:lnTo>
                  <a:lnTo>
                    <a:pt x="7396" y="1402"/>
                  </a:lnTo>
                  <a:lnTo>
                    <a:pt x="7396" y="1402"/>
                  </a:lnTo>
                  <a:lnTo>
                    <a:pt x="7342" y="1429"/>
                  </a:lnTo>
                  <a:lnTo>
                    <a:pt x="7226" y="1484"/>
                  </a:lnTo>
                  <a:lnTo>
                    <a:pt x="6846" y="1665"/>
                  </a:lnTo>
                  <a:lnTo>
                    <a:pt x="5743" y="2187"/>
                  </a:lnTo>
                  <a:lnTo>
                    <a:pt x="4173" y="2927"/>
                  </a:lnTo>
                  <a:lnTo>
                    <a:pt x="4173" y="2927"/>
                  </a:lnTo>
                  <a:lnTo>
                    <a:pt x="4165" y="2930"/>
                  </a:lnTo>
                  <a:lnTo>
                    <a:pt x="4140" y="2939"/>
                  </a:lnTo>
                  <a:lnTo>
                    <a:pt x="4102" y="2952"/>
                  </a:lnTo>
                  <a:lnTo>
                    <a:pt x="4077" y="2959"/>
                  </a:lnTo>
                  <a:lnTo>
                    <a:pt x="4050" y="2966"/>
                  </a:lnTo>
                  <a:lnTo>
                    <a:pt x="4020" y="2973"/>
                  </a:lnTo>
                  <a:lnTo>
                    <a:pt x="3987" y="2980"/>
                  </a:lnTo>
                  <a:lnTo>
                    <a:pt x="3952" y="2987"/>
                  </a:lnTo>
                  <a:lnTo>
                    <a:pt x="3915" y="2993"/>
                  </a:lnTo>
                  <a:lnTo>
                    <a:pt x="3876" y="2997"/>
                  </a:lnTo>
                  <a:lnTo>
                    <a:pt x="3836" y="3002"/>
                  </a:lnTo>
                  <a:lnTo>
                    <a:pt x="3793" y="3005"/>
                  </a:lnTo>
                  <a:lnTo>
                    <a:pt x="3749" y="3005"/>
                  </a:lnTo>
                  <a:lnTo>
                    <a:pt x="3749" y="3005"/>
                  </a:lnTo>
                  <a:lnTo>
                    <a:pt x="3706" y="3005"/>
                  </a:lnTo>
                  <a:lnTo>
                    <a:pt x="3663" y="3002"/>
                  </a:lnTo>
                  <a:lnTo>
                    <a:pt x="3622" y="2997"/>
                  </a:lnTo>
                  <a:lnTo>
                    <a:pt x="3584" y="2993"/>
                  </a:lnTo>
                  <a:lnTo>
                    <a:pt x="3547" y="2987"/>
                  </a:lnTo>
                  <a:lnTo>
                    <a:pt x="3511" y="2980"/>
                  </a:lnTo>
                  <a:lnTo>
                    <a:pt x="3479" y="2973"/>
                  </a:lnTo>
                  <a:lnTo>
                    <a:pt x="3449" y="2966"/>
                  </a:lnTo>
                  <a:lnTo>
                    <a:pt x="3422" y="2959"/>
                  </a:lnTo>
                  <a:lnTo>
                    <a:pt x="3397" y="2952"/>
                  </a:lnTo>
                  <a:lnTo>
                    <a:pt x="3358" y="2939"/>
                  </a:lnTo>
                  <a:lnTo>
                    <a:pt x="3333" y="2930"/>
                  </a:lnTo>
                  <a:lnTo>
                    <a:pt x="3325" y="2927"/>
                  </a:lnTo>
                  <a:lnTo>
                    <a:pt x="3325" y="2927"/>
                  </a:lnTo>
                  <a:lnTo>
                    <a:pt x="1755" y="2187"/>
                  </a:lnTo>
                  <a:lnTo>
                    <a:pt x="652" y="1665"/>
                  </a:lnTo>
                  <a:lnTo>
                    <a:pt x="273" y="1484"/>
                  </a:lnTo>
                  <a:lnTo>
                    <a:pt x="156" y="1429"/>
                  </a:lnTo>
                  <a:lnTo>
                    <a:pt x="102" y="1402"/>
                  </a:lnTo>
                  <a:lnTo>
                    <a:pt x="102" y="1402"/>
                  </a:lnTo>
                  <a:lnTo>
                    <a:pt x="93" y="1396"/>
                  </a:lnTo>
                  <a:lnTo>
                    <a:pt x="84" y="1391"/>
                  </a:lnTo>
                  <a:lnTo>
                    <a:pt x="67" y="1377"/>
                  </a:lnTo>
                  <a:lnTo>
                    <a:pt x="52" y="1364"/>
                  </a:lnTo>
                  <a:lnTo>
                    <a:pt x="40" y="1349"/>
                  </a:lnTo>
                  <a:lnTo>
                    <a:pt x="29" y="1334"/>
                  </a:lnTo>
                  <a:lnTo>
                    <a:pt x="21" y="1320"/>
                  </a:lnTo>
                  <a:lnTo>
                    <a:pt x="15" y="1305"/>
                  </a:lnTo>
                  <a:lnTo>
                    <a:pt x="10" y="1292"/>
                  </a:lnTo>
                  <a:lnTo>
                    <a:pt x="7" y="1278"/>
                  </a:lnTo>
                  <a:lnTo>
                    <a:pt x="3" y="1266"/>
                  </a:lnTo>
                  <a:lnTo>
                    <a:pt x="0" y="1244"/>
                  </a:lnTo>
                  <a:lnTo>
                    <a:pt x="0" y="1230"/>
                  </a:lnTo>
                  <a:lnTo>
                    <a:pt x="0" y="1225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2" name="Freeform 46"/>
            <p:cNvSpPr>
              <a:spLocks/>
            </p:cNvSpPr>
            <p:nvPr/>
          </p:nvSpPr>
          <p:spPr bwMode="auto">
            <a:xfrm flipH="1">
              <a:off x="6474731" y="2717720"/>
              <a:ext cx="1381686" cy="430832"/>
            </a:xfrm>
            <a:custGeom>
              <a:avLst/>
              <a:gdLst>
                <a:gd name="T0" fmla="*/ 0 w 7498"/>
                <a:gd name="T1" fmla="*/ 1225 h 3005"/>
                <a:gd name="T2" fmla="*/ 0 w 7498"/>
                <a:gd name="T3" fmla="*/ 945 h 3005"/>
                <a:gd name="T4" fmla="*/ 5 w 7498"/>
                <a:gd name="T5" fmla="*/ 901 h 3005"/>
                <a:gd name="T6" fmla="*/ 15 w 7498"/>
                <a:gd name="T7" fmla="*/ 863 h 3005"/>
                <a:gd name="T8" fmla="*/ 31 w 7498"/>
                <a:gd name="T9" fmla="*/ 831 h 3005"/>
                <a:gd name="T10" fmla="*/ 47 w 7498"/>
                <a:gd name="T11" fmla="*/ 805 h 3005"/>
                <a:gd name="T12" fmla="*/ 65 w 7498"/>
                <a:gd name="T13" fmla="*/ 785 h 3005"/>
                <a:gd name="T14" fmla="*/ 91 w 7498"/>
                <a:gd name="T15" fmla="*/ 762 h 3005"/>
                <a:gd name="T16" fmla="*/ 1669 w 7498"/>
                <a:gd name="T17" fmla="*/ 0 h 3005"/>
                <a:gd name="T18" fmla="*/ 5830 w 7498"/>
                <a:gd name="T19" fmla="*/ 0 h 3005"/>
                <a:gd name="T20" fmla="*/ 7404 w 7498"/>
                <a:gd name="T21" fmla="*/ 760 h 3005"/>
                <a:gd name="T22" fmla="*/ 7419 w 7498"/>
                <a:gd name="T23" fmla="*/ 771 h 3005"/>
                <a:gd name="T24" fmla="*/ 7442 w 7498"/>
                <a:gd name="T25" fmla="*/ 795 h 3005"/>
                <a:gd name="T26" fmla="*/ 7460 w 7498"/>
                <a:gd name="T27" fmla="*/ 818 h 3005"/>
                <a:gd name="T28" fmla="*/ 7476 w 7498"/>
                <a:gd name="T29" fmla="*/ 847 h 3005"/>
                <a:gd name="T30" fmla="*/ 7490 w 7498"/>
                <a:gd name="T31" fmla="*/ 881 h 3005"/>
                <a:gd name="T32" fmla="*/ 7497 w 7498"/>
                <a:gd name="T33" fmla="*/ 922 h 3005"/>
                <a:gd name="T34" fmla="*/ 7498 w 7498"/>
                <a:gd name="T35" fmla="*/ 945 h 3005"/>
                <a:gd name="T36" fmla="*/ 7498 w 7498"/>
                <a:gd name="T37" fmla="*/ 1225 h 3005"/>
                <a:gd name="T38" fmla="*/ 7498 w 7498"/>
                <a:gd name="T39" fmla="*/ 1244 h 3005"/>
                <a:gd name="T40" fmla="*/ 7492 w 7498"/>
                <a:gd name="T41" fmla="*/ 1278 h 3005"/>
                <a:gd name="T42" fmla="*/ 7484 w 7498"/>
                <a:gd name="T43" fmla="*/ 1305 h 3005"/>
                <a:gd name="T44" fmla="*/ 7469 w 7498"/>
                <a:gd name="T45" fmla="*/ 1334 h 3005"/>
                <a:gd name="T46" fmla="*/ 7446 w 7498"/>
                <a:gd name="T47" fmla="*/ 1364 h 3005"/>
                <a:gd name="T48" fmla="*/ 7415 w 7498"/>
                <a:gd name="T49" fmla="*/ 1391 h 3005"/>
                <a:gd name="T50" fmla="*/ 7396 w 7498"/>
                <a:gd name="T51" fmla="*/ 1402 h 3005"/>
                <a:gd name="T52" fmla="*/ 7342 w 7498"/>
                <a:gd name="T53" fmla="*/ 1429 h 3005"/>
                <a:gd name="T54" fmla="*/ 6846 w 7498"/>
                <a:gd name="T55" fmla="*/ 1665 h 3005"/>
                <a:gd name="T56" fmla="*/ 4173 w 7498"/>
                <a:gd name="T57" fmla="*/ 2927 h 3005"/>
                <a:gd name="T58" fmla="*/ 4165 w 7498"/>
                <a:gd name="T59" fmla="*/ 2930 h 3005"/>
                <a:gd name="T60" fmla="*/ 4102 w 7498"/>
                <a:gd name="T61" fmla="*/ 2952 h 3005"/>
                <a:gd name="T62" fmla="*/ 4050 w 7498"/>
                <a:gd name="T63" fmla="*/ 2966 h 3005"/>
                <a:gd name="T64" fmla="*/ 3987 w 7498"/>
                <a:gd name="T65" fmla="*/ 2980 h 3005"/>
                <a:gd name="T66" fmla="*/ 3915 w 7498"/>
                <a:gd name="T67" fmla="*/ 2993 h 3005"/>
                <a:gd name="T68" fmla="*/ 3836 w 7498"/>
                <a:gd name="T69" fmla="*/ 3002 h 3005"/>
                <a:gd name="T70" fmla="*/ 3749 w 7498"/>
                <a:gd name="T71" fmla="*/ 3005 h 3005"/>
                <a:gd name="T72" fmla="*/ 3706 w 7498"/>
                <a:gd name="T73" fmla="*/ 3005 h 3005"/>
                <a:gd name="T74" fmla="*/ 3622 w 7498"/>
                <a:gd name="T75" fmla="*/ 2997 h 3005"/>
                <a:gd name="T76" fmla="*/ 3547 w 7498"/>
                <a:gd name="T77" fmla="*/ 2987 h 3005"/>
                <a:gd name="T78" fmla="*/ 3479 w 7498"/>
                <a:gd name="T79" fmla="*/ 2973 h 3005"/>
                <a:gd name="T80" fmla="*/ 3422 w 7498"/>
                <a:gd name="T81" fmla="*/ 2959 h 3005"/>
                <a:gd name="T82" fmla="*/ 3358 w 7498"/>
                <a:gd name="T83" fmla="*/ 2939 h 3005"/>
                <a:gd name="T84" fmla="*/ 3325 w 7498"/>
                <a:gd name="T85" fmla="*/ 2927 h 3005"/>
                <a:gd name="T86" fmla="*/ 1755 w 7498"/>
                <a:gd name="T87" fmla="*/ 2187 h 3005"/>
                <a:gd name="T88" fmla="*/ 273 w 7498"/>
                <a:gd name="T89" fmla="*/ 1484 h 3005"/>
                <a:gd name="T90" fmla="*/ 102 w 7498"/>
                <a:gd name="T91" fmla="*/ 1402 h 3005"/>
                <a:gd name="T92" fmla="*/ 93 w 7498"/>
                <a:gd name="T93" fmla="*/ 1396 h 3005"/>
                <a:gd name="T94" fmla="*/ 67 w 7498"/>
                <a:gd name="T95" fmla="*/ 1377 h 3005"/>
                <a:gd name="T96" fmla="*/ 40 w 7498"/>
                <a:gd name="T97" fmla="*/ 1349 h 3005"/>
                <a:gd name="T98" fmla="*/ 21 w 7498"/>
                <a:gd name="T99" fmla="*/ 1320 h 3005"/>
                <a:gd name="T100" fmla="*/ 10 w 7498"/>
                <a:gd name="T101" fmla="*/ 1292 h 3005"/>
                <a:gd name="T102" fmla="*/ 3 w 7498"/>
                <a:gd name="T103" fmla="*/ 1266 h 3005"/>
                <a:gd name="T104" fmla="*/ 0 w 7498"/>
                <a:gd name="T105" fmla="*/ 1230 h 3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98" h="3005">
                  <a:moveTo>
                    <a:pt x="0" y="1225"/>
                  </a:moveTo>
                  <a:lnTo>
                    <a:pt x="0" y="1225"/>
                  </a:lnTo>
                  <a:lnTo>
                    <a:pt x="0" y="945"/>
                  </a:lnTo>
                  <a:lnTo>
                    <a:pt x="0" y="945"/>
                  </a:lnTo>
                  <a:lnTo>
                    <a:pt x="1" y="922"/>
                  </a:lnTo>
                  <a:lnTo>
                    <a:pt x="5" y="901"/>
                  </a:lnTo>
                  <a:lnTo>
                    <a:pt x="9" y="881"/>
                  </a:lnTo>
                  <a:lnTo>
                    <a:pt x="15" y="863"/>
                  </a:lnTo>
                  <a:lnTo>
                    <a:pt x="22" y="847"/>
                  </a:lnTo>
                  <a:lnTo>
                    <a:pt x="31" y="831"/>
                  </a:lnTo>
                  <a:lnTo>
                    <a:pt x="39" y="818"/>
                  </a:lnTo>
                  <a:lnTo>
                    <a:pt x="47" y="805"/>
                  </a:lnTo>
                  <a:lnTo>
                    <a:pt x="57" y="795"/>
                  </a:lnTo>
                  <a:lnTo>
                    <a:pt x="65" y="785"/>
                  </a:lnTo>
                  <a:lnTo>
                    <a:pt x="79" y="771"/>
                  </a:lnTo>
                  <a:lnTo>
                    <a:pt x="91" y="762"/>
                  </a:lnTo>
                  <a:lnTo>
                    <a:pt x="95" y="760"/>
                  </a:lnTo>
                  <a:lnTo>
                    <a:pt x="1669" y="0"/>
                  </a:lnTo>
                  <a:lnTo>
                    <a:pt x="3749" y="1280"/>
                  </a:lnTo>
                  <a:lnTo>
                    <a:pt x="5830" y="0"/>
                  </a:lnTo>
                  <a:lnTo>
                    <a:pt x="7404" y="760"/>
                  </a:lnTo>
                  <a:lnTo>
                    <a:pt x="7404" y="760"/>
                  </a:lnTo>
                  <a:lnTo>
                    <a:pt x="7408" y="762"/>
                  </a:lnTo>
                  <a:lnTo>
                    <a:pt x="7419" y="771"/>
                  </a:lnTo>
                  <a:lnTo>
                    <a:pt x="7434" y="785"/>
                  </a:lnTo>
                  <a:lnTo>
                    <a:pt x="7442" y="795"/>
                  </a:lnTo>
                  <a:lnTo>
                    <a:pt x="7451" y="805"/>
                  </a:lnTo>
                  <a:lnTo>
                    <a:pt x="7460" y="818"/>
                  </a:lnTo>
                  <a:lnTo>
                    <a:pt x="7468" y="831"/>
                  </a:lnTo>
                  <a:lnTo>
                    <a:pt x="7476" y="847"/>
                  </a:lnTo>
                  <a:lnTo>
                    <a:pt x="7484" y="863"/>
                  </a:lnTo>
                  <a:lnTo>
                    <a:pt x="7490" y="881"/>
                  </a:lnTo>
                  <a:lnTo>
                    <a:pt x="7494" y="901"/>
                  </a:lnTo>
                  <a:lnTo>
                    <a:pt x="7497" y="922"/>
                  </a:lnTo>
                  <a:lnTo>
                    <a:pt x="7498" y="945"/>
                  </a:lnTo>
                  <a:lnTo>
                    <a:pt x="7498" y="945"/>
                  </a:lnTo>
                  <a:lnTo>
                    <a:pt x="7498" y="1225"/>
                  </a:lnTo>
                  <a:lnTo>
                    <a:pt x="7498" y="1225"/>
                  </a:lnTo>
                  <a:lnTo>
                    <a:pt x="7498" y="1230"/>
                  </a:lnTo>
                  <a:lnTo>
                    <a:pt x="7498" y="1244"/>
                  </a:lnTo>
                  <a:lnTo>
                    <a:pt x="7495" y="1266"/>
                  </a:lnTo>
                  <a:lnTo>
                    <a:pt x="7492" y="1278"/>
                  </a:lnTo>
                  <a:lnTo>
                    <a:pt x="7489" y="1292"/>
                  </a:lnTo>
                  <a:lnTo>
                    <a:pt x="7484" y="1305"/>
                  </a:lnTo>
                  <a:lnTo>
                    <a:pt x="7476" y="1320"/>
                  </a:lnTo>
                  <a:lnTo>
                    <a:pt x="7469" y="1334"/>
                  </a:lnTo>
                  <a:lnTo>
                    <a:pt x="7459" y="1349"/>
                  </a:lnTo>
                  <a:lnTo>
                    <a:pt x="7446" y="1364"/>
                  </a:lnTo>
                  <a:lnTo>
                    <a:pt x="7432" y="1377"/>
                  </a:lnTo>
                  <a:lnTo>
                    <a:pt x="7415" y="1391"/>
                  </a:lnTo>
                  <a:lnTo>
                    <a:pt x="7406" y="1396"/>
                  </a:lnTo>
                  <a:lnTo>
                    <a:pt x="7396" y="1402"/>
                  </a:lnTo>
                  <a:lnTo>
                    <a:pt x="7396" y="1402"/>
                  </a:lnTo>
                  <a:lnTo>
                    <a:pt x="7342" y="1429"/>
                  </a:lnTo>
                  <a:lnTo>
                    <a:pt x="7226" y="1484"/>
                  </a:lnTo>
                  <a:lnTo>
                    <a:pt x="6846" y="1665"/>
                  </a:lnTo>
                  <a:lnTo>
                    <a:pt x="5743" y="2187"/>
                  </a:lnTo>
                  <a:lnTo>
                    <a:pt x="4173" y="2927"/>
                  </a:lnTo>
                  <a:lnTo>
                    <a:pt x="4173" y="2927"/>
                  </a:lnTo>
                  <a:lnTo>
                    <a:pt x="4165" y="2930"/>
                  </a:lnTo>
                  <a:lnTo>
                    <a:pt x="4140" y="2939"/>
                  </a:lnTo>
                  <a:lnTo>
                    <a:pt x="4102" y="2952"/>
                  </a:lnTo>
                  <a:lnTo>
                    <a:pt x="4077" y="2959"/>
                  </a:lnTo>
                  <a:lnTo>
                    <a:pt x="4050" y="2966"/>
                  </a:lnTo>
                  <a:lnTo>
                    <a:pt x="4020" y="2973"/>
                  </a:lnTo>
                  <a:lnTo>
                    <a:pt x="3987" y="2980"/>
                  </a:lnTo>
                  <a:lnTo>
                    <a:pt x="3952" y="2987"/>
                  </a:lnTo>
                  <a:lnTo>
                    <a:pt x="3915" y="2993"/>
                  </a:lnTo>
                  <a:lnTo>
                    <a:pt x="3876" y="2997"/>
                  </a:lnTo>
                  <a:lnTo>
                    <a:pt x="3836" y="3002"/>
                  </a:lnTo>
                  <a:lnTo>
                    <a:pt x="3793" y="3005"/>
                  </a:lnTo>
                  <a:lnTo>
                    <a:pt x="3749" y="3005"/>
                  </a:lnTo>
                  <a:lnTo>
                    <a:pt x="3749" y="3005"/>
                  </a:lnTo>
                  <a:lnTo>
                    <a:pt x="3706" y="3005"/>
                  </a:lnTo>
                  <a:lnTo>
                    <a:pt x="3663" y="3002"/>
                  </a:lnTo>
                  <a:lnTo>
                    <a:pt x="3622" y="2997"/>
                  </a:lnTo>
                  <a:lnTo>
                    <a:pt x="3584" y="2993"/>
                  </a:lnTo>
                  <a:lnTo>
                    <a:pt x="3547" y="2987"/>
                  </a:lnTo>
                  <a:lnTo>
                    <a:pt x="3511" y="2980"/>
                  </a:lnTo>
                  <a:lnTo>
                    <a:pt x="3479" y="2973"/>
                  </a:lnTo>
                  <a:lnTo>
                    <a:pt x="3449" y="2966"/>
                  </a:lnTo>
                  <a:lnTo>
                    <a:pt x="3422" y="2959"/>
                  </a:lnTo>
                  <a:lnTo>
                    <a:pt x="3397" y="2952"/>
                  </a:lnTo>
                  <a:lnTo>
                    <a:pt x="3358" y="2939"/>
                  </a:lnTo>
                  <a:lnTo>
                    <a:pt x="3333" y="2930"/>
                  </a:lnTo>
                  <a:lnTo>
                    <a:pt x="3325" y="2927"/>
                  </a:lnTo>
                  <a:lnTo>
                    <a:pt x="3325" y="2927"/>
                  </a:lnTo>
                  <a:lnTo>
                    <a:pt x="1755" y="2187"/>
                  </a:lnTo>
                  <a:lnTo>
                    <a:pt x="652" y="1665"/>
                  </a:lnTo>
                  <a:lnTo>
                    <a:pt x="273" y="1484"/>
                  </a:lnTo>
                  <a:lnTo>
                    <a:pt x="156" y="1429"/>
                  </a:lnTo>
                  <a:lnTo>
                    <a:pt x="102" y="1402"/>
                  </a:lnTo>
                  <a:lnTo>
                    <a:pt x="102" y="1402"/>
                  </a:lnTo>
                  <a:lnTo>
                    <a:pt x="93" y="1396"/>
                  </a:lnTo>
                  <a:lnTo>
                    <a:pt x="84" y="1391"/>
                  </a:lnTo>
                  <a:lnTo>
                    <a:pt x="67" y="1377"/>
                  </a:lnTo>
                  <a:lnTo>
                    <a:pt x="52" y="1364"/>
                  </a:lnTo>
                  <a:lnTo>
                    <a:pt x="40" y="1349"/>
                  </a:lnTo>
                  <a:lnTo>
                    <a:pt x="29" y="1334"/>
                  </a:lnTo>
                  <a:lnTo>
                    <a:pt x="21" y="1320"/>
                  </a:lnTo>
                  <a:lnTo>
                    <a:pt x="15" y="1305"/>
                  </a:lnTo>
                  <a:lnTo>
                    <a:pt x="10" y="1292"/>
                  </a:lnTo>
                  <a:lnTo>
                    <a:pt x="7" y="1278"/>
                  </a:lnTo>
                  <a:lnTo>
                    <a:pt x="3" y="1266"/>
                  </a:lnTo>
                  <a:lnTo>
                    <a:pt x="0" y="1244"/>
                  </a:lnTo>
                  <a:lnTo>
                    <a:pt x="0" y="1230"/>
                  </a:lnTo>
                  <a:lnTo>
                    <a:pt x="0" y="12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3" name="Freeform 47"/>
            <p:cNvSpPr>
              <a:spLocks/>
            </p:cNvSpPr>
            <p:nvPr/>
          </p:nvSpPr>
          <p:spPr bwMode="auto">
            <a:xfrm flipH="1">
              <a:off x="6793383" y="2884120"/>
              <a:ext cx="123849" cy="41277"/>
            </a:xfrm>
            <a:custGeom>
              <a:avLst/>
              <a:gdLst>
                <a:gd name="T0" fmla="*/ 0 w 674"/>
                <a:gd name="T1" fmla="*/ 292 h 292"/>
                <a:gd name="T2" fmla="*/ 0 w 674"/>
                <a:gd name="T3" fmla="*/ 292 h 292"/>
                <a:gd name="T4" fmla="*/ 79 w 674"/>
                <a:gd name="T5" fmla="*/ 266 h 292"/>
                <a:gd name="T6" fmla="*/ 160 w 674"/>
                <a:gd name="T7" fmla="*/ 238 h 292"/>
                <a:gd name="T8" fmla="*/ 243 w 674"/>
                <a:gd name="T9" fmla="*/ 207 h 292"/>
                <a:gd name="T10" fmla="*/ 284 w 674"/>
                <a:gd name="T11" fmla="*/ 190 h 292"/>
                <a:gd name="T12" fmla="*/ 327 w 674"/>
                <a:gd name="T13" fmla="*/ 172 h 292"/>
                <a:gd name="T14" fmla="*/ 371 w 674"/>
                <a:gd name="T15" fmla="*/ 155 h 292"/>
                <a:gd name="T16" fmla="*/ 413 w 674"/>
                <a:gd name="T17" fmla="*/ 135 h 292"/>
                <a:gd name="T18" fmla="*/ 457 w 674"/>
                <a:gd name="T19" fmla="*/ 115 h 292"/>
                <a:gd name="T20" fmla="*/ 501 w 674"/>
                <a:gd name="T21" fmla="*/ 93 h 292"/>
                <a:gd name="T22" fmla="*/ 544 w 674"/>
                <a:gd name="T23" fmla="*/ 71 h 292"/>
                <a:gd name="T24" fmla="*/ 588 w 674"/>
                <a:gd name="T25" fmla="*/ 48 h 292"/>
                <a:gd name="T26" fmla="*/ 632 w 674"/>
                <a:gd name="T27" fmla="*/ 25 h 292"/>
                <a:gd name="T28" fmla="*/ 674 w 674"/>
                <a:gd name="T29" fmla="*/ 0 h 292"/>
                <a:gd name="T30" fmla="*/ 674 w 674"/>
                <a:gd name="T31" fmla="*/ 0 h 292"/>
                <a:gd name="T32" fmla="*/ 642 w 674"/>
                <a:gd name="T33" fmla="*/ 22 h 292"/>
                <a:gd name="T34" fmla="*/ 608 w 674"/>
                <a:gd name="T35" fmla="*/ 43 h 292"/>
                <a:gd name="T36" fmla="*/ 572 w 674"/>
                <a:gd name="T37" fmla="*/ 64 h 292"/>
                <a:gd name="T38" fmla="*/ 535 w 674"/>
                <a:gd name="T39" fmla="*/ 84 h 292"/>
                <a:gd name="T40" fmla="*/ 497 w 674"/>
                <a:gd name="T41" fmla="*/ 104 h 292"/>
                <a:gd name="T42" fmla="*/ 457 w 674"/>
                <a:gd name="T43" fmla="*/ 122 h 292"/>
                <a:gd name="T44" fmla="*/ 415 w 674"/>
                <a:gd name="T45" fmla="*/ 141 h 292"/>
                <a:gd name="T46" fmla="*/ 373 w 674"/>
                <a:gd name="T47" fmla="*/ 160 h 292"/>
                <a:gd name="T48" fmla="*/ 330 w 674"/>
                <a:gd name="T49" fmla="*/ 178 h 292"/>
                <a:gd name="T50" fmla="*/ 285 w 674"/>
                <a:gd name="T51" fmla="*/ 194 h 292"/>
                <a:gd name="T52" fmla="*/ 240 w 674"/>
                <a:gd name="T53" fmla="*/ 211 h 292"/>
                <a:gd name="T54" fmla="*/ 194 w 674"/>
                <a:gd name="T55" fmla="*/ 228 h 292"/>
                <a:gd name="T56" fmla="*/ 98 w 674"/>
                <a:gd name="T57" fmla="*/ 261 h 292"/>
                <a:gd name="T58" fmla="*/ 0 w 674"/>
                <a:gd name="T59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74" h="292">
                  <a:moveTo>
                    <a:pt x="0" y="292"/>
                  </a:moveTo>
                  <a:lnTo>
                    <a:pt x="0" y="292"/>
                  </a:lnTo>
                  <a:lnTo>
                    <a:pt x="79" y="266"/>
                  </a:lnTo>
                  <a:lnTo>
                    <a:pt x="160" y="238"/>
                  </a:lnTo>
                  <a:lnTo>
                    <a:pt x="243" y="207"/>
                  </a:lnTo>
                  <a:lnTo>
                    <a:pt x="284" y="190"/>
                  </a:lnTo>
                  <a:lnTo>
                    <a:pt x="327" y="172"/>
                  </a:lnTo>
                  <a:lnTo>
                    <a:pt x="371" y="155"/>
                  </a:lnTo>
                  <a:lnTo>
                    <a:pt x="413" y="135"/>
                  </a:lnTo>
                  <a:lnTo>
                    <a:pt x="457" y="115"/>
                  </a:lnTo>
                  <a:lnTo>
                    <a:pt x="501" y="93"/>
                  </a:lnTo>
                  <a:lnTo>
                    <a:pt x="544" y="71"/>
                  </a:lnTo>
                  <a:lnTo>
                    <a:pt x="588" y="48"/>
                  </a:lnTo>
                  <a:lnTo>
                    <a:pt x="632" y="25"/>
                  </a:lnTo>
                  <a:lnTo>
                    <a:pt x="674" y="0"/>
                  </a:lnTo>
                  <a:lnTo>
                    <a:pt x="674" y="0"/>
                  </a:lnTo>
                  <a:lnTo>
                    <a:pt x="642" y="22"/>
                  </a:lnTo>
                  <a:lnTo>
                    <a:pt x="608" y="43"/>
                  </a:lnTo>
                  <a:lnTo>
                    <a:pt x="572" y="64"/>
                  </a:lnTo>
                  <a:lnTo>
                    <a:pt x="535" y="84"/>
                  </a:lnTo>
                  <a:lnTo>
                    <a:pt x="497" y="104"/>
                  </a:lnTo>
                  <a:lnTo>
                    <a:pt x="457" y="122"/>
                  </a:lnTo>
                  <a:lnTo>
                    <a:pt x="415" y="141"/>
                  </a:lnTo>
                  <a:lnTo>
                    <a:pt x="373" y="160"/>
                  </a:lnTo>
                  <a:lnTo>
                    <a:pt x="330" y="178"/>
                  </a:lnTo>
                  <a:lnTo>
                    <a:pt x="285" y="194"/>
                  </a:lnTo>
                  <a:lnTo>
                    <a:pt x="240" y="211"/>
                  </a:lnTo>
                  <a:lnTo>
                    <a:pt x="194" y="228"/>
                  </a:lnTo>
                  <a:lnTo>
                    <a:pt x="98" y="261"/>
                  </a:lnTo>
                  <a:lnTo>
                    <a:pt x="0" y="29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4" name="Freeform 48"/>
            <p:cNvSpPr>
              <a:spLocks/>
            </p:cNvSpPr>
            <p:nvPr/>
          </p:nvSpPr>
          <p:spPr bwMode="auto">
            <a:xfrm flipH="1">
              <a:off x="6793383" y="2884120"/>
              <a:ext cx="123849" cy="41277"/>
            </a:xfrm>
            <a:custGeom>
              <a:avLst/>
              <a:gdLst>
                <a:gd name="T0" fmla="*/ 0 w 674"/>
                <a:gd name="T1" fmla="*/ 292 h 292"/>
                <a:gd name="T2" fmla="*/ 0 w 674"/>
                <a:gd name="T3" fmla="*/ 292 h 292"/>
                <a:gd name="T4" fmla="*/ 79 w 674"/>
                <a:gd name="T5" fmla="*/ 266 h 292"/>
                <a:gd name="T6" fmla="*/ 160 w 674"/>
                <a:gd name="T7" fmla="*/ 238 h 292"/>
                <a:gd name="T8" fmla="*/ 243 w 674"/>
                <a:gd name="T9" fmla="*/ 207 h 292"/>
                <a:gd name="T10" fmla="*/ 284 w 674"/>
                <a:gd name="T11" fmla="*/ 190 h 292"/>
                <a:gd name="T12" fmla="*/ 327 w 674"/>
                <a:gd name="T13" fmla="*/ 172 h 292"/>
                <a:gd name="T14" fmla="*/ 371 w 674"/>
                <a:gd name="T15" fmla="*/ 155 h 292"/>
                <a:gd name="T16" fmla="*/ 413 w 674"/>
                <a:gd name="T17" fmla="*/ 135 h 292"/>
                <a:gd name="T18" fmla="*/ 457 w 674"/>
                <a:gd name="T19" fmla="*/ 115 h 292"/>
                <a:gd name="T20" fmla="*/ 501 w 674"/>
                <a:gd name="T21" fmla="*/ 93 h 292"/>
                <a:gd name="T22" fmla="*/ 544 w 674"/>
                <a:gd name="T23" fmla="*/ 71 h 292"/>
                <a:gd name="T24" fmla="*/ 588 w 674"/>
                <a:gd name="T25" fmla="*/ 48 h 292"/>
                <a:gd name="T26" fmla="*/ 632 w 674"/>
                <a:gd name="T27" fmla="*/ 25 h 292"/>
                <a:gd name="T28" fmla="*/ 674 w 674"/>
                <a:gd name="T29" fmla="*/ 0 h 292"/>
                <a:gd name="T30" fmla="*/ 674 w 674"/>
                <a:gd name="T31" fmla="*/ 0 h 292"/>
                <a:gd name="T32" fmla="*/ 642 w 674"/>
                <a:gd name="T33" fmla="*/ 22 h 292"/>
                <a:gd name="T34" fmla="*/ 608 w 674"/>
                <a:gd name="T35" fmla="*/ 43 h 292"/>
                <a:gd name="T36" fmla="*/ 572 w 674"/>
                <a:gd name="T37" fmla="*/ 64 h 292"/>
                <a:gd name="T38" fmla="*/ 535 w 674"/>
                <a:gd name="T39" fmla="*/ 84 h 292"/>
                <a:gd name="T40" fmla="*/ 497 w 674"/>
                <a:gd name="T41" fmla="*/ 104 h 292"/>
                <a:gd name="T42" fmla="*/ 457 w 674"/>
                <a:gd name="T43" fmla="*/ 122 h 292"/>
                <a:gd name="T44" fmla="*/ 415 w 674"/>
                <a:gd name="T45" fmla="*/ 141 h 292"/>
                <a:gd name="T46" fmla="*/ 373 w 674"/>
                <a:gd name="T47" fmla="*/ 160 h 292"/>
                <a:gd name="T48" fmla="*/ 330 w 674"/>
                <a:gd name="T49" fmla="*/ 178 h 292"/>
                <a:gd name="T50" fmla="*/ 285 w 674"/>
                <a:gd name="T51" fmla="*/ 194 h 292"/>
                <a:gd name="T52" fmla="*/ 240 w 674"/>
                <a:gd name="T53" fmla="*/ 211 h 292"/>
                <a:gd name="T54" fmla="*/ 194 w 674"/>
                <a:gd name="T55" fmla="*/ 228 h 292"/>
                <a:gd name="T56" fmla="*/ 98 w 674"/>
                <a:gd name="T57" fmla="*/ 261 h 292"/>
                <a:gd name="T58" fmla="*/ 0 w 674"/>
                <a:gd name="T59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74" h="292">
                  <a:moveTo>
                    <a:pt x="0" y="292"/>
                  </a:moveTo>
                  <a:lnTo>
                    <a:pt x="0" y="292"/>
                  </a:lnTo>
                  <a:lnTo>
                    <a:pt x="79" y="266"/>
                  </a:lnTo>
                  <a:lnTo>
                    <a:pt x="160" y="238"/>
                  </a:lnTo>
                  <a:lnTo>
                    <a:pt x="243" y="207"/>
                  </a:lnTo>
                  <a:lnTo>
                    <a:pt x="284" y="190"/>
                  </a:lnTo>
                  <a:lnTo>
                    <a:pt x="327" y="172"/>
                  </a:lnTo>
                  <a:lnTo>
                    <a:pt x="371" y="155"/>
                  </a:lnTo>
                  <a:lnTo>
                    <a:pt x="413" y="135"/>
                  </a:lnTo>
                  <a:lnTo>
                    <a:pt x="457" y="115"/>
                  </a:lnTo>
                  <a:lnTo>
                    <a:pt x="501" y="93"/>
                  </a:lnTo>
                  <a:lnTo>
                    <a:pt x="544" y="71"/>
                  </a:lnTo>
                  <a:lnTo>
                    <a:pt x="588" y="48"/>
                  </a:lnTo>
                  <a:lnTo>
                    <a:pt x="632" y="25"/>
                  </a:lnTo>
                  <a:lnTo>
                    <a:pt x="674" y="0"/>
                  </a:lnTo>
                  <a:lnTo>
                    <a:pt x="674" y="0"/>
                  </a:lnTo>
                  <a:lnTo>
                    <a:pt x="642" y="22"/>
                  </a:lnTo>
                  <a:lnTo>
                    <a:pt x="608" y="43"/>
                  </a:lnTo>
                  <a:lnTo>
                    <a:pt x="572" y="64"/>
                  </a:lnTo>
                  <a:lnTo>
                    <a:pt x="535" y="84"/>
                  </a:lnTo>
                  <a:lnTo>
                    <a:pt x="497" y="104"/>
                  </a:lnTo>
                  <a:lnTo>
                    <a:pt x="457" y="122"/>
                  </a:lnTo>
                  <a:lnTo>
                    <a:pt x="415" y="141"/>
                  </a:lnTo>
                  <a:lnTo>
                    <a:pt x="373" y="160"/>
                  </a:lnTo>
                  <a:lnTo>
                    <a:pt x="330" y="178"/>
                  </a:lnTo>
                  <a:lnTo>
                    <a:pt x="285" y="194"/>
                  </a:lnTo>
                  <a:lnTo>
                    <a:pt x="240" y="211"/>
                  </a:lnTo>
                  <a:lnTo>
                    <a:pt x="194" y="228"/>
                  </a:lnTo>
                  <a:lnTo>
                    <a:pt x="98" y="261"/>
                  </a:lnTo>
                  <a:lnTo>
                    <a:pt x="0" y="29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5" name="Freeform 49"/>
            <p:cNvSpPr>
              <a:spLocks/>
            </p:cNvSpPr>
            <p:nvPr/>
          </p:nvSpPr>
          <p:spPr bwMode="auto">
            <a:xfrm flipH="1">
              <a:off x="6918521" y="2925397"/>
              <a:ext cx="2580" cy="1290"/>
            </a:xfrm>
            <a:custGeom>
              <a:avLst/>
              <a:gdLst>
                <a:gd name="T0" fmla="*/ 8 w 17"/>
                <a:gd name="T1" fmla="*/ 2 h 5"/>
                <a:gd name="T2" fmla="*/ 8 w 17"/>
                <a:gd name="T3" fmla="*/ 2 h 5"/>
                <a:gd name="T4" fmla="*/ 0 w 17"/>
                <a:gd name="T5" fmla="*/ 5 h 5"/>
                <a:gd name="T6" fmla="*/ 0 w 17"/>
                <a:gd name="T7" fmla="*/ 5 h 5"/>
                <a:gd name="T8" fmla="*/ 17 w 17"/>
                <a:gd name="T9" fmla="*/ 0 h 5"/>
                <a:gd name="T10" fmla="*/ 17 w 17"/>
                <a:gd name="T11" fmla="*/ 0 h 5"/>
                <a:gd name="T12" fmla="*/ 8 w 17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8" y="2"/>
                  </a:moveTo>
                  <a:lnTo>
                    <a:pt x="8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6" name="Freeform 50"/>
            <p:cNvSpPr>
              <a:spLocks/>
            </p:cNvSpPr>
            <p:nvPr/>
          </p:nvSpPr>
          <p:spPr bwMode="auto">
            <a:xfrm flipH="1">
              <a:off x="6918521" y="2925397"/>
              <a:ext cx="2580" cy="1290"/>
            </a:xfrm>
            <a:custGeom>
              <a:avLst/>
              <a:gdLst>
                <a:gd name="T0" fmla="*/ 8 w 17"/>
                <a:gd name="T1" fmla="*/ 2 h 5"/>
                <a:gd name="T2" fmla="*/ 8 w 17"/>
                <a:gd name="T3" fmla="*/ 2 h 5"/>
                <a:gd name="T4" fmla="*/ 0 w 17"/>
                <a:gd name="T5" fmla="*/ 5 h 5"/>
                <a:gd name="T6" fmla="*/ 0 w 17"/>
                <a:gd name="T7" fmla="*/ 5 h 5"/>
                <a:gd name="T8" fmla="*/ 17 w 17"/>
                <a:gd name="T9" fmla="*/ 0 h 5"/>
                <a:gd name="T10" fmla="*/ 17 w 17"/>
                <a:gd name="T11" fmla="*/ 0 h 5"/>
                <a:gd name="T12" fmla="*/ 8 w 17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8" y="2"/>
                  </a:moveTo>
                  <a:lnTo>
                    <a:pt x="8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7" name="Freeform 51"/>
            <p:cNvSpPr>
              <a:spLocks/>
            </p:cNvSpPr>
            <p:nvPr/>
          </p:nvSpPr>
          <p:spPr bwMode="auto">
            <a:xfrm flipH="1">
              <a:off x="7490032" y="2886700"/>
              <a:ext cx="43863" cy="16769"/>
            </a:xfrm>
            <a:custGeom>
              <a:avLst/>
              <a:gdLst>
                <a:gd name="T0" fmla="*/ 0 w 234"/>
                <a:gd name="T1" fmla="*/ 0 h 124"/>
                <a:gd name="T2" fmla="*/ 0 w 234"/>
                <a:gd name="T3" fmla="*/ 0 h 124"/>
                <a:gd name="T4" fmla="*/ 23 w 234"/>
                <a:gd name="T5" fmla="*/ 13 h 124"/>
                <a:gd name="T6" fmla="*/ 75 w 234"/>
                <a:gd name="T7" fmla="*/ 43 h 124"/>
                <a:gd name="T8" fmla="*/ 110 w 234"/>
                <a:gd name="T9" fmla="*/ 62 h 124"/>
                <a:gd name="T10" fmla="*/ 149 w 234"/>
                <a:gd name="T11" fmla="*/ 82 h 124"/>
                <a:gd name="T12" fmla="*/ 190 w 234"/>
                <a:gd name="T13" fmla="*/ 103 h 124"/>
                <a:gd name="T14" fmla="*/ 234 w 234"/>
                <a:gd name="T15" fmla="*/ 124 h 124"/>
                <a:gd name="T16" fmla="*/ 234 w 234"/>
                <a:gd name="T17" fmla="*/ 124 h 124"/>
                <a:gd name="T18" fmla="*/ 171 w 234"/>
                <a:gd name="T19" fmla="*/ 95 h 124"/>
                <a:gd name="T20" fmla="*/ 141 w 234"/>
                <a:gd name="T21" fmla="*/ 79 h 124"/>
                <a:gd name="T22" fmla="*/ 110 w 234"/>
                <a:gd name="T23" fmla="*/ 65 h 124"/>
                <a:gd name="T24" fmla="*/ 82 w 234"/>
                <a:gd name="T25" fmla="*/ 49 h 124"/>
                <a:gd name="T26" fmla="*/ 54 w 234"/>
                <a:gd name="T27" fmla="*/ 32 h 124"/>
                <a:gd name="T28" fmla="*/ 27 w 234"/>
                <a:gd name="T29" fmla="*/ 17 h 124"/>
                <a:gd name="T30" fmla="*/ 0 w 234"/>
                <a:gd name="T31" fmla="*/ 0 h 124"/>
                <a:gd name="T32" fmla="*/ 0 w 234"/>
                <a:gd name="T3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4" h="124">
                  <a:moveTo>
                    <a:pt x="0" y="0"/>
                  </a:moveTo>
                  <a:lnTo>
                    <a:pt x="0" y="0"/>
                  </a:lnTo>
                  <a:lnTo>
                    <a:pt x="23" y="13"/>
                  </a:lnTo>
                  <a:lnTo>
                    <a:pt x="75" y="43"/>
                  </a:lnTo>
                  <a:lnTo>
                    <a:pt x="110" y="62"/>
                  </a:lnTo>
                  <a:lnTo>
                    <a:pt x="149" y="82"/>
                  </a:lnTo>
                  <a:lnTo>
                    <a:pt x="190" y="103"/>
                  </a:lnTo>
                  <a:lnTo>
                    <a:pt x="234" y="124"/>
                  </a:lnTo>
                  <a:lnTo>
                    <a:pt x="234" y="124"/>
                  </a:lnTo>
                  <a:lnTo>
                    <a:pt x="171" y="95"/>
                  </a:lnTo>
                  <a:lnTo>
                    <a:pt x="141" y="79"/>
                  </a:lnTo>
                  <a:lnTo>
                    <a:pt x="110" y="65"/>
                  </a:lnTo>
                  <a:lnTo>
                    <a:pt x="82" y="49"/>
                  </a:lnTo>
                  <a:lnTo>
                    <a:pt x="54" y="32"/>
                  </a:lnTo>
                  <a:lnTo>
                    <a:pt x="27" y="1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8" name="Freeform 52"/>
            <p:cNvSpPr>
              <a:spLocks/>
            </p:cNvSpPr>
            <p:nvPr/>
          </p:nvSpPr>
          <p:spPr bwMode="auto">
            <a:xfrm flipH="1">
              <a:off x="6923682" y="2926687"/>
              <a:ext cx="2580" cy="1290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11 w 11"/>
                <a:gd name="T5" fmla="*/ 0 h 3"/>
                <a:gd name="T6" fmla="*/ 11 w 11"/>
                <a:gd name="T7" fmla="*/ 0 h 3"/>
                <a:gd name="T8" fmla="*/ 0 w 1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59" name="Freeform 53"/>
            <p:cNvSpPr>
              <a:spLocks/>
            </p:cNvSpPr>
            <p:nvPr/>
          </p:nvSpPr>
          <p:spPr bwMode="auto">
            <a:xfrm flipH="1">
              <a:off x="6923682" y="2926687"/>
              <a:ext cx="2580" cy="1290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11 w 11"/>
                <a:gd name="T5" fmla="*/ 0 h 3"/>
                <a:gd name="T6" fmla="*/ 11 w 11"/>
                <a:gd name="T7" fmla="*/ 0 h 3"/>
                <a:gd name="T8" fmla="*/ 0 w 1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0" name="Freeform 54"/>
            <p:cNvSpPr>
              <a:spLocks noEditPoints="1"/>
            </p:cNvSpPr>
            <p:nvPr/>
          </p:nvSpPr>
          <p:spPr bwMode="auto">
            <a:xfrm flipH="1">
              <a:off x="6743069" y="2691922"/>
              <a:ext cx="845009" cy="259274"/>
            </a:xfrm>
            <a:custGeom>
              <a:avLst/>
              <a:gdLst>
                <a:gd name="T0" fmla="*/ 614 w 4587"/>
                <a:gd name="T1" fmla="*/ 1511 h 1809"/>
                <a:gd name="T2" fmla="*/ 870 w 4587"/>
                <a:gd name="T3" fmla="*/ 1603 h 1809"/>
                <a:gd name="T4" fmla="*/ 1021 w 4587"/>
                <a:gd name="T5" fmla="*/ 1649 h 1809"/>
                <a:gd name="T6" fmla="*/ 1201 w 4587"/>
                <a:gd name="T7" fmla="*/ 1695 h 1809"/>
                <a:gd name="T8" fmla="*/ 1378 w 4587"/>
                <a:gd name="T9" fmla="*/ 1731 h 1809"/>
                <a:gd name="T10" fmla="*/ 1552 w 4587"/>
                <a:gd name="T11" fmla="*/ 1759 h 1809"/>
                <a:gd name="T12" fmla="*/ 1766 w 4587"/>
                <a:gd name="T13" fmla="*/ 1784 h 1809"/>
                <a:gd name="T14" fmla="*/ 2040 w 4587"/>
                <a:gd name="T15" fmla="*/ 1804 h 1809"/>
                <a:gd name="T16" fmla="*/ 2262 w 4587"/>
                <a:gd name="T17" fmla="*/ 1809 h 1809"/>
                <a:gd name="T18" fmla="*/ 2352 w 4587"/>
                <a:gd name="T19" fmla="*/ 1809 h 1809"/>
                <a:gd name="T20" fmla="*/ 2620 w 4587"/>
                <a:gd name="T21" fmla="*/ 1800 h 1809"/>
                <a:gd name="T22" fmla="*/ 2814 w 4587"/>
                <a:gd name="T23" fmla="*/ 1786 h 1809"/>
                <a:gd name="T24" fmla="*/ 3036 w 4587"/>
                <a:gd name="T25" fmla="*/ 1758 h 1809"/>
                <a:gd name="T26" fmla="*/ 2941 w 4587"/>
                <a:gd name="T27" fmla="*/ 795 h 1809"/>
                <a:gd name="T28" fmla="*/ 2706 w 4587"/>
                <a:gd name="T29" fmla="*/ 822 h 1809"/>
                <a:gd name="T30" fmla="*/ 2462 w 4587"/>
                <a:gd name="T31" fmla="*/ 837 h 1809"/>
                <a:gd name="T32" fmla="*/ 2293 w 4587"/>
                <a:gd name="T33" fmla="*/ 840 h 1809"/>
                <a:gd name="T34" fmla="*/ 1981 w 4587"/>
                <a:gd name="T35" fmla="*/ 830 h 1809"/>
                <a:gd name="T36" fmla="*/ 1684 w 4587"/>
                <a:gd name="T37" fmla="*/ 800 h 1809"/>
                <a:gd name="T38" fmla="*/ 1405 w 4587"/>
                <a:gd name="T39" fmla="*/ 752 h 1809"/>
                <a:gd name="T40" fmla="*/ 1149 w 4587"/>
                <a:gd name="T41" fmla="*/ 687 h 1809"/>
                <a:gd name="T42" fmla="*/ 955 w 4587"/>
                <a:gd name="T43" fmla="*/ 623 h 1809"/>
                <a:gd name="T44" fmla="*/ 848 w 4587"/>
                <a:gd name="T45" fmla="*/ 579 h 1809"/>
                <a:gd name="T46" fmla="*/ 42 w 4587"/>
                <a:gd name="T47" fmla="*/ 657 h 1809"/>
                <a:gd name="T48" fmla="*/ 274 w 4587"/>
                <a:gd name="T49" fmla="*/ 0 h 1809"/>
                <a:gd name="T50" fmla="*/ 292 w 4587"/>
                <a:gd name="T51" fmla="*/ 90 h 1809"/>
                <a:gd name="T52" fmla="*/ 330 w 4587"/>
                <a:gd name="T53" fmla="*/ 178 h 1809"/>
                <a:gd name="T54" fmla="*/ 389 w 4587"/>
                <a:gd name="T55" fmla="*/ 262 h 1809"/>
                <a:gd name="T56" fmla="*/ 467 w 4587"/>
                <a:gd name="T57" fmla="*/ 342 h 1809"/>
                <a:gd name="T58" fmla="*/ 561 w 4587"/>
                <a:gd name="T59" fmla="*/ 418 h 1809"/>
                <a:gd name="T60" fmla="*/ 296 w 4587"/>
                <a:gd name="T61" fmla="*/ 1351 h 1809"/>
                <a:gd name="T62" fmla="*/ 251 w 4587"/>
                <a:gd name="T63" fmla="*/ 1321 h 1809"/>
                <a:gd name="T64" fmla="*/ 190 w 4587"/>
                <a:gd name="T65" fmla="*/ 1271 h 1809"/>
                <a:gd name="T66" fmla="*/ 136 w 4587"/>
                <a:gd name="T67" fmla="*/ 1219 h 1809"/>
                <a:gd name="T68" fmla="*/ 91 w 4587"/>
                <a:gd name="T69" fmla="*/ 1163 h 1809"/>
                <a:gd name="T70" fmla="*/ 54 w 4587"/>
                <a:gd name="T71" fmla="*/ 1104 h 1809"/>
                <a:gd name="T72" fmla="*/ 26 w 4587"/>
                <a:gd name="T73" fmla="*/ 1041 h 1809"/>
                <a:gd name="T74" fmla="*/ 8 w 4587"/>
                <a:gd name="T75" fmla="*/ 974 h 1809"/>
                <a:gd name="T76" fmla="*/ 0 w 4587"/>
                <a:gd name="T77" fmla="*/ 902 h 1809"/>
                <a:gd name="T78" fmla="*/ 3 w 4587"/>
                <a:gd name="T79" fmla="*/ 825 h 1809"/>
                <a:gd name="T80" fmla="*/ 17 w 4587"/>
                <a:gd name="T81" fmla="*/ 744 h 1809"/>
                <a:gd name="T82" fmla="*/ 42 w 4587"/>
                <a:gd name="T83" fmla="*/ 657 h 1809"/>
                <a:gd name="T84" fmla="*/ 4544 w 4587"/>
                <a:gd name="T85" fmla="*/ 657 h 1809"/>
                <a:gd name="T86" fmla="*/ 4562 w 4587"/>
                <a:gd name="T87" fmla="*/ 713 h 1809"/>
                <a:gd name="T88" fmla="*/ 4579 w 4587"/>
                <a:gd name="T89" fmla="*/ 795 h 1809"/>
                <a:gd name="T90" fmla="*/ 4587 w 4587"/>
                <a:gd name="T91" fmla="*/ 871 h 1809"/>
                <a:gd name="T92" fmla="*/ 4584 w 4587"/>
                <a:gd name="T93" fmla="*/ 942 h 1809"/>
                <a:gd name="T94" fmla="*/ 4570 w 4587"/>
                <a:gd name="T95" fmla="*/ 1009 h 1809"/>
                <a:gd name="T96" fmla="*/ 4548 w 4587"/>
                <a:gd name="T97" fmla="*/ 1072 h 1809"/>
                <a:gd name="T98" fmla="*/ 4517 w 4587"/>
                <a:gd name="T99" fmla="*/ 1132 h 1809"/>
                <a:gd name="T100" fmla="*/ 4478 w 4587"/>
                <a:gd name="T101" fmla="*/ 1187 h 1809"/>
                <a:gd name="T102" fmla="*/ 4430 w 4587"/>
                <a:gd name="T103" fmla="*/ 1241 h 1809"/>
                <a:gd name="T104" fmla="*/ 4375 w 4587"/>
                <a:gd name="T105" fmla="*/ 1290 h 1809"/>
                <a:gd name="T106" fmla="*/ 4313 w 4587"/>
                <a:gd name="T107" fmla="*/ 1336 h 1809"/>
                <a:gd name="T108" fmla="*/ 4042 w 4587"/>
                <a:gd name="T109" fmla="*/ 406 h 1809"/>
                <a:gd name="T110" fmla="*/ 4126 w 4587"/>
                <a:gd name="T111" fmla="*/ 337 h 1809"/>
                <a:gd name="T112" fmla="*/ 4196 w 4587"/>
                <a:gd name="T113" fmla="*/ 264 h 1809"/>
                <a:gd name="T114" fmla="*/ 4250 w 4587"/>
                <a:gd name="T115" fmla="*/ 189 h 1809"/>
                <a:gd name="T116" fmla="*/ 4287 w 4587"/>
                <a:gd name="T117" fmla="*/ 110 h 1809"/>
                <a:gd name="T118" fmla="*/ 4308 w 4587"/>
                <a:gd name="T119" fmla="*/ 29 h 1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87" h="1809">
                  <a:moveTo>
                    <a:pt x="615" y="1511"/>
                  </a:moveTo>
                  <a:lnTo>
                    <a:pt x="614" y="1511"/>
                  </a:lnTo>
                  <a:lnTo>
                    <a:pt x="614" y="1511"/>
                  </a:lnTo>
                  <a:lnTo>
                    <a:pt x="696" y="1543"/>
                  </a:lnTo>
                  <a:lnTo>
                    <a:pt x="782" y="1574"/>
                  </a:lnTo>
                  <a:lnTo>
                    <a:pt x="870" y="1603"/>
                  </a:lnTo>
                  <a:lnTo>
                    <a:pt x="962" y="1631"/>
                  </a:lnTo>
                  <a:lnTo>
                    <a:pt x="962" y="1631"/>
                  </a:lnTo>
                  <a:lnTo>
                    <a:pt x="1021" y="1649"/>
                  </a:lnTo>
                  <a:lnTo>
                    <a:pt x="1081" y="1666"/>
                  </a:lnTo>
                  <a:lnTo>
                    <a:pt x="1140" y="1681"/>
                  </a:lnTo>
                  <a:lnTo>
                    <a:pt x="1201" y="1695"/>
                  </a:lnTo>
                  <a:lnTo>
                    <a:pt x="1261" y="1708"/>
                  </a:lnTo>
                  <a:lnTo>
                    <a:pt x="1320" y="1720"/>
                  </a:lnTo>
                  <a:lnTo>
                    <a:pt x="1378" y="1731"/>
                  </a:lnTo>
                  <a:lnTo>
                    <a:pt x="1438" y="1742"/>
                  </a:lnTo>
                  <a:lnTo>
                    <a:pt x="1495" y="1751"/>
                  </a:lnTo>
                  <a:lnTo>
                    <a:pt x="1552" y="1759"/>
                  </a:lnTo>
                  <a:lnTo>
                    <a:pt x="1607" y="1767"/>
                  </a:lnTo>
                  <a:lnTo>
                    <a:pt x="1662" y="1773"/>
                  </a:lnTo>
                  <a:lnTo>
                    <a:pt x="1766" y="1784"/>
                  </a:lnTo>
                  <a:lnTo>
                    <a:pt x="1865" y="1793"/>
                  </a:lnTo>
                  <a:lnTo>
                    <a:pt x="1956" y="1800"/>
                  </a:lnTo>
                  <a:lnTo>
                    <a:pt x="2040" y="1804"/>
                  </a:lnTo>
                  <a:lnTo>
                    <a:pt x="2112" y="1807"/>
                  </a:lnTo>
                  <a:lnTo>
                    <a:pt x="2175" y="1808"/>
                  </a:lnTo>
                  <a:lnTo>
                    <a:pt x="2262" y="1809"/>
                  </a:lnTo>
                  <a:lnTo>
                    <a:pt x="2293" y="1808"/>
                  </a:lnTo>
                  <a:lnTo>
                    <a:pt x="2293" y="1808"/>
                  </a:lnTo>
                  <a:lnTo>
                    <a:pt x="2352" y="1809"/>
                  </a:lnTo>
                  <a:lnTo>
                    <a:pt x="2419" y="1808"/>
                  </a:lnTo>
                  <a:lnTo>
                    <a:pt x="2510" y="1805"/>
                  </a:lnTo>
                  <a:lnTo>
                    <a:pt x="2620" y="1800"/>
                  </a:lnTo>
                  <a:lnTo>
                    <a:pt x="2681" y="1796"/>
                  </a:lnTo>
                  <a:lnTo>
                    <a:pt x="2746" y="1792"/>
                  </a:lnTo>
                  <a:lnTo>
                    <a:pt x="2814" y="1786"/>
                  </a:lnTo>
                  <a:lnTo>
                    <a:pt x="2885" y="1778"/>
                  </a:lnTo>
                  <a:lnTo>
                    <a:pt x="2960" y="1769"/>
                  </a:lnTo>
                  <a:lnTo>
                    <a:pt x="3036" y="1758"/>
                  </a:lnTo>
                  <a:lnTo>
                    <a:pt x="3036" y="1758"/>
                  </a:lnTo>
                  <a:lnTo>
                    <a:pt x="2941" y="795"/>
                  </a:lnTo>
                  <a:lnTo>
                    <a:pt x="2941" y="795"/>
                  </a:lnTo>
                  <a:lnTo>
                    <a:pt x="2864" y="805"/>
                  </a:lnTo>
                  <a:lnTo>
                    <a:pt x="2786" y="814"/>
                  </a:lnTo>
                  <a:lnTo>
                    <a:pt x="2706" y="822"/>
                  </a:lnTo>
                  <a:lnTo>
                    <a:pt x="2626" y="829"/>
                  </a:lnTo>
                  <a:lnTo>
                    <a:pt x="2544" y="833"/>
                  </a:lnTo>
                  <a:lnTo>
                    <a:pt x="2462" y="837"/>
                  </a:lnTo>
                  <a:lnTo>
                    <a:pt x="2378" y="839"/>
                  </a:lnTo>
                  <a:lnTo>
                    <a:pt x="2293" y="840"/>
                  </a:lnTo>
                  <a:lnTo>
                    <a:pt x="2293" y="840"/>
                  </a:lnTo>
                  <a:lnTo>
                    <a:pt x="2187" y="839"/>
                  </a:lnTo>
                  <a:lnTo>
                    <a:pt x="2083" y="835"/>
                  </a:lnTo>
                  <a:lnTo>
                    <a:pt x="1981" y="830"/>
                  </a:lnTo>
                  <a:lnTo>
                    <a:pt x="1880" y="822"/>
                  </a:lnTo>
                  <a:lnTo>
                    <a:pt x="1781" y="812"/>
                  </a:lnTo>
                  <a:lnTo>
                    <a:pt x="1684" y="800"/>
                  </a:lnTo>
                  <a:lnTo>
                    <a:pt x="1588" y="786"/>
                  </a:lnTo>
                  <a:lnTo>
                    <a:pt x="1496" y="770"/>
                  </a:lnTo>
                  <a:lnTo>
                    <a:pt x="1405" y="752"/>
                  </a:lnTo>
                  <a:lnTo>
                    <a:pt x="1317" y="732"/>
                  </a:lnTo>
                  <a:lnTo>
                    <a:pt x="1232" y="711"/>
                  </a:lnTo>
                  <a:lnTo>
                    <a:pt x="1149" y="687"/>
                  </a:lnTo>
                  <a:lnTo>
                    <a:pt x="1069" y="662"/>
                  </a:lnTo>
                  <a:lnTo>
                    <a:pt x="992" y="636"/>
                  </a:lnTo>
                  <a:lnTo>
                    <a:pt x="955" y="623"/>
                  </a:lnTo>
                  <a:lnTo>
                    <a:pt x="919" y="608"/>
                  </a:lnTo>
                  <a:lnTo>
                    <a:pt x="883" y="594"/>
                  </a:lnTo>
                  <a:lnTo>
                    <a:pt x="848" y="579"/>
                  </a:lnTo>
                  <a:lnTo>
                    <a:pt x="848" y="579"/>
                  </a:lnTo>
                  <a:lnTo>
                    <a:pt x="615" y="1511"/>
                  </a:lnTo>
                  <a:close/>
                  <a:moveTo>
                    <a:pt x="42" y="657"/>
                  </a:moveTo>
                  <a:lnTo>
                    <a:pt x="42" y="657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8" y="30"/>
                  </a:lnTo>
                  <a:lnTo>
                    <a:pt x="284" y="60"/>
                  </a:lnTo>
                  <a:lnTo>
                    <a:pt x="292" y="90"/>
                  </a:lnTo>
                  <a:lnTo>
                    <a:pt x="302" y="119"/>
                  </a:lnTo>
                  <a:lnTo>
                    <a:pt x="316" y="150"/>
                  </a:lnTo>
                  <a:lnTo>
                    <a:pt x="330" y="178"/>
                  </a:lnTo>
                  <a:lnTo>
                    <a:pt x="348" y="207"/>
                  </a:lnTo>
                  <a:lnTo>
                    <a:pt x="368" y="235"/>
                  </a:lnTo>
                  <a:lnTo>
                    <a:pt x="389" y="262"/>
                  </a:lnTo>
                  <a:lnTo>
                    <a:pt x="413" y="289"/>
                  </a:lnTo>
                  <a:lnTo>
                    <a:pt x="439" y="316"/>
                  </a:lnTo>
                  <a:lnTo>
                    <a:pt x="467" y="342"/>
                  </a:lnTo>
                  <a:lnTo>
                    <a:pt x="496" y="368"/>
                  </a:lnTo>
                  <a:lnTo>
                    <a:pt x="528" y="395"/>
                  </a:lnTo>
                  <a:lnTo>
                    <a:pt x="561" y="418"/>
                  </a:lnTo>
                  <a:lnTo>
                    <a:pt x="597" y="443"/>
                  </a:lnTo>
                  <a:lnTo>
                    <a:pt x="597" y="443"/>
                  </a:lnTo>
                  <a:lnTo>
                    <a:pt x="296" y="1351"/>
                  </a:lnTo>
                  <a:lnTo>
                    <a:pt x="296" y="1351"/>
                  </a:lnTo>
                  <a:lnTo>
                    <a:pt x="273" y="1336"/>
                  </a:lnTo>
                  <a:lnTo>
                    <a:pt x="251" y="1321"/>
                  </a:lnTo>
                  <a:lnTo>
                    <a:pt x="231" y="1304"/>
                  </a:lnTo>
                  <a:lnTo>
                    <a:pt x="210" y="1287"/>
                  </a:lnTo>
                  <a:lnTo>
                    <a:pt x="190" y="1271"/>
                  </a:lnTo>
                  <a:lnTo>
                    <a:pt x="171" y="1254"/>
                  </a:lnTo>
                  <a:lnTo>
                    <a:pt x="154" y="1236"/>
                  </a:lnTo>
                  <a:lnTo>
                    <a:pt x="136" y="1219"/>
                  </a:lnTo>
                  <a:lnTo>
                    <a:pt x="120" y="1201"/>
                  </a:lnTo>
                  <a:lnTo>
                    <a:pt x="105" y="1182"/>
                  </a:lnTo>
                  <a:lnTo>
                    <a:pt x="91" y="1163"/>
                  </a:lnTo>
                  <a:lnTo>
                    <a:pt x="78" y="1144"/>
                  </a:lnTo>
                  <a:lnTo>
                    <a:pt x="65" y="1124"/>
                  </a:lnTo>
                  <a:lnTo>
                    <a:pt x="54" y="1104"/>
                  </a:lnTo>
                  <a:lnTo>
                    <a:pt x="44" y="1083"/>
                  </a:lnTo>
                  <a:lnTo>
                    <a:pt x="34" y="1062"/>
                  </a:lnTo>
                  <a:lnTo>
                    <a:pt x="26" y="1041"/>
                  </a:lnTo>
                  <a:lnTo>
                    <a:pt x="19" y="1019"/>
                  </a:lnTo>
                  <a:lnTo>
                    <a:pt x="13" y="997"/>
                  </a:lnTo>
                  <a:lnTo>
                    <a:pt x="8" y="974"/>
                  </a:lnTo>
                  <a:lnTo>
                    <a:pt x="4" y="950"/>
                  </a:lnTo>
                  <a:lnTo>
                    <a:pt x="2" y="926"/>
                  </a:lnTo>
                  <a:lnTo>
                    <a:pt x="0" y="902"/>
                  </a:lnTo>
                  <a:lnTo>
                    <a:pt x="0" y="877"/>
                  </a:lnTo>
                  <a:lnTo>
                    <a:pt x="1" y="851"/>
                  </a:lnTo>
                  <a:lnTo>
                    <a:pt x="3" y="825"/>
                  </a:lnTo>
                  <a:lnTo>
                    <a:pt x="6" y="799"/>
                  </a:lnTo>
                  <a:lnTo>
                    <a:pt x="11" y="772"/>
                  </a:lnTo>
                  <a:lnTo>
                    <a:pt x="17" y="744"/>
                  </a:lnTo>
                  <a:lnTo>
                    <a:pt x="24" y="715"/>
                  </a:lnTo>
                  <a:lnTo>
                    <a:pt x="33" y="686"/>
                  </a:lnTo>
                  <a:lnTo>
                    <a:pt x="42" y="657"/>
                  </a:lnTo>
                  <a:close/>
                  <a:moveTo>
                    <a:pt x="4311" y="2"/>
                  </a:moveTo>
                  <a:lnTo>
                    <a:pt x="4311" y="2"/>
                  </a:lnTo>
                  <a:lnTo>
                    <a:pt x="4544" y="657"/>
                  </a:lnTo>
                  <a:lnTo>
                    <a:pt x="4544" y="657"/>
                  </a:lnTo>
                  <a:lnTo>
                    <a:pt x="4553" y="685"/>
                  </a:lnTo>
                  <a:lnTo>
                    <a:pt x="4562" y="713"/>
                  </a:lnTo>
                  <a:lnTo>
                    <a:pt x="4569" y="740"/>
                  </a:lnTo>
                  <a:lnTo>
                    <a:pt x="4575" y="768"/>
                  </a:lnTo>
                  <a:lnTo>
                    <a:pt x="4579" y="795"/>
                  </a:lnTo>
                  <a:lnTo>
                    <a:pt x="4583" y="820"/>
                  </a:lnTo>
                  <a:lnTo>
                    <a:pt x="4586" y="846"/>
                  </a:lnTo>
                  <a:lnTo>
                    <a:pt x="4587" y="871"/>
                  </a:lnTo>
                  <a:lnTo>
                    <a:pt x="4587" y="895"/>
                  </a:lnTo>
                  <a:lnTo>
                    <a:pt x="4586" y="919"/>
                  </a:lnTo>
                  <a:lnTo>
                    <a:pt x="4584" y="942"/>
                  </a:lnTo>
                  <a:lnTo>
                    <a:pt x="4579" y="964"/>
                  </a:lnTo>
                  <a:lnTo>
                    <a:pt x="4575" y="987"/>
                  </a:lnTo>
                  <a:lnTo>
                    <a:pt x="4570" y="1009"/>
                  </a:lnTo>
                  <a:lnTo>
                    <a:pt x="4564" y="1030"/>
                  </a:lnTo>
                  <a:lnTo>
                    <a:pt x="4557" y="1052"/>
                  </a:lnTo>
                  <a:lnTo>
                    <a:pt x="4548" y="1072"/>
                  </a:lnTo>
                  <a:lnTo>
                    <a:pt x="4539" y="1093"/>
                  </a:lnTo>
                  <a:lnTo>
                    <a:pt x="4529" y="1112"/>
                  </a:lnTo>
                  <a:lnTo>
                    <a:pt x="4517" y="1132"/>
                  </a:lnTo>
                  <a:lnTo>
                    <a:pt x="4505" y="1151"/>
                  </a:lnTo>
                  <a:lnTo>
                    <a:pt x="4491" y="1170"/>
                  </a:lnTo>
                  <a:lnTo>
                    <a:pt x="4478" y="1187"/>
                  </a:lnTo>
                  <a:lnTo>
                    <a:pt x="4462" y="1205"/>
                  </a:lnTo>
                  <a:lnTo>
                    <a:pt x="4446" y="1223"/>
                  </a:lnTo>
                  <a:lnTo>
                    <a:pt x="4430" y="1241"/>
                  </a:lnTo>
                  <a:lnTo>
                    <a:pt x="4412" y="1257"/>
                  </a:lnTo>
                  <a:lnTo>
                    <a:pt x="4394" y="1273"/>
                  </a:lnTo>
                  <a:lnTo>
                    <a:pt x="4375" y="1290"/>
                  </a:lnTo>
                  <a:lnTo>
                    <a:pt x="4355" y="1305"/>
                  </a:lnTo>
                  <a:lnTo>
                    <a:pt x="4334" y="1321"/>
                  </a:lnTo>
                  <a:lnTo>
                    <a:pt x="4313" y="1336"/>
                  </a:lnTo>
                  <a:lnTo>
                    <a:pt x="4313" y="1336"/>
                  </a:lnTo>
                  <a:lnTo>
                    <a:pt x="4042" y="406"/>
                  </a:lnTo>
                  <a:lnTo>
                    <a:pt x="4042" y="406"/>
                  </a:lnTo>
                  <a:lnTo>
                    <a:pt x="4072" y="384"/>
                  </a:lnTo>
                  <a:lnTo>
                    <a:pt x="4100" y="361"/>
                  </a:lnTo>
                  <a:lnTo>
                    <a:pt x="4126" y="337"/>
                  </a:lnTo>
                  <a:lnTo>
                    <a:pt x="4151" y="313"/>
                  </a:lnTo>
                  <a:lnTo>
                    <a:pt x="4174" y="289"/>
                  </a:lnTo>
                  <a:lnTo>
                    <a:pt x="4196" y="264"/>
                  </a:lnTo>
                  <a:lnTo>
                    <a:pt x="4216" y="239"/>
                  </a:lnTo>
                  <a:lnTo>
                    <a:pt x="4233" y="214"/>
                  </a:lnTo>
                  <a:lnTo>
                    <a:pt x="4250" y="189"/>
                  </a:lnTo>
                  <a:lnTo>
                    <a:pt x="4264" y="163"/>
                  </a:lnTo>
                  <a:lnTo>
                    <a:pt x="4277" y="137"/>
                  </a:lnTo>
                  <a:lnTo>
                    <a:pt x="4287" y="110"/>
                  </a:lnTo>
                  <a:lnTo>
                    <a:pt x="4297" y="83"/>
                  </a:lnTo>
                  <a:lnTo>
                    <a:pt x="4303" y="57"/>
                  </a:lnTo>
                  <a:lnTo>
                    <a:pt x="4308" y="29"/>
                  </a:lnTo>
                  <a:lnTo>
                    <a:pt x="4311" y="2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1" name="Freeform 55"/>
            <p:cNvSpPr>
              <a:spLocks/>
            </p:cNvSpPr>
            <p:nvPr/>
          </p:nvSpPr>
          <p:spPr bwMode="auto">
            <a:xfrm flipH="1">
              <a:off x="7028180" y="2775767"/>
              <a:ext cx="446371" cy="175429"/>
            </a:xfrm>
            <a:custGeom>
              <a:avLst/>
              <a:gdLst>
                <a:gd name="T0" fmla="*/ 0 w 2422"/>
                <a:gd name="T1" fmla="*/ 932 h 1230"/>
                <a:gd name="T2" fmla="*/ 82 w 2422"/>
                <a:gd name="T3" fmla="*/ 964 h 1230"/>
                <a:gd name="T4" fmla="*/ 256 w 2422"/>
                <a:gd name="T5" fmla="*/ 1024 h 1230"/>
                <a:gd name="T6" fmla="*/ 348 w 2422"/>
                <a:gd name="T7" fmla="*/ 1052 h 1230"/>
                <a:gd name="T8" fmla="*/ 467 w 2422"/>
                <a:gd name="T9" fmla="*/ 1087 h 1230"/>
                <a:gd name="T10" fmla="*/ 587 w 2422"/>
                <a:gd name="T11" fmla="*/ 1116 h 1230"/>
                <a:gd name="T12" fmla="*/ 706 w 2422"/>
                <a:gd name="T13" fmla="*/ 1141 h 1230"/>
                <a:gd name="T14" fmla="*/ 824 w 2422"/>
                <a:gd name="T15" fmla="*/ 1163 h 1230"/>
                <a:gd name="T16" fmla="*/ 938 w 2422"/>
                <a:gd name="T17" fmla="*/ 1180 h 1230"/>
                <a:gd name="T18" fmla="*/ 1048 w 2422"/>
                <a:gd name="T19" fmla="*/ 1194 h 1230"/>
                <a:gd name="T20" fmla="*/ 1251 w 2422"/>
                <a:gd name="T21" fmla="*/ 1214 h 1230"/>
                <a:gd name="T22" fmla="*/ 1426 w 2422"/>
                <a:gd name="T23" fmla="*/ 1225 h 1230"/>
                <a:gd name="T24" fmla="*/ 1561 w 2422"/>
                <a:gd name="T25" fmla="*/ 1229 h 1230"/>
                <a:gd name="T26" fmla="*/ 1679 w 2422"/>
                <a:gd name="T27" fmla="*/ 1229 h 1230"/>
                <a:gd name="T28" fmla="*/ 1738 w 2422"/>
                <a:gd name="T29" fmla="*/ 1230 h 1230"/>
                <a:gd name="T30" fmla="*/ 1896 w 2422"/>
                <a:gd name="T31" fmla="*/ 1226 h 1230"/>
                <a:gd name="T32" fmla="*/ 2067 w 2422"/>
                <a:gd name="T33" fmla="*/ 1217 h 1230"/>
                <a:gd name="T34" fmla="*/ 2200 w 2422"/>
                <a:gd name="T35" fmla="*/ 1207 h 1230"/>
                <a:gd name="T36" fmla="*/ 2346 w 2422"/>
                <a:gd name="T37" fmla="*/ 1190 h 1230"/>
                <a:gd name="T38" fmla="*/ 2422 w 2422"/>
                <a:gd name="T39" fmla="*/ 1179 h 1230"/>
                <a:gd name="T40" fmla="*/ 2327 w 2422"/>
                <a:gd name="T41" fmla="*/ 216 h 1230"/>
                <a:gd name="T42" fmla="*/ 2172 w 2422"/>
                <a:gd name="T43" fmla="*/ 235 h 1230"/>
                <a:gd name="T44" fmla="*/ 2012 w 2422"/>
                <a:gd name="T45" fmla="*/ 250 h 1230"/>
                <a:gd name="T46" fmla="*/ 1848 w 2422"/>
                <a:gd name="T47" fmla="*/ 258 h 1230"/>
                <a:gd name="T48" fmla="*/ 1679 w 2422"/>
                <a:gd name="T49" fmla="*/ 261 h 1230"/>
                <a:gd name="T50" fmla="*/ 1573 w 2422"/>
                <a:gd name="T51" fmla="*/ 260 h 1230"/>
                <a:gd name="T52" fmla="*/ 1367 w 2422"/>
                <a:gd name="T53" fmla="*/ 251 h 1230"/>
                <a:gd name="T54" fmla="*/ 1167 w 2422"/>
                <a:gd name="T55" fmla="*/ 233 h 1230"/>
                <a:gd name="T56" fmla="*/ 974 w 2422"/>
                <a:gd name="T57" fmla="*/ 207 h 1230"/>
                <a:gd name="T58" fmla="*/ 791 w 2422"/>
                <a:gd name="T59" fmla="*/ 173 h 1230"/>
                <a:gd name="T60" fmla="*/ 618 w 2422"/>
                <a:gd name="T61" fmla="*/ 132 h 1230"/>
                <a:gd name="T62" fmla="*/ 455 w 2422"/>
                <a:gd name="T63" fmla="*/ 83 h 1230"/>
                <a:gd name="T64" fmla="*/ 341 w 2422"/>
                <a:gd name="T65" fmla="*/ 44 h 1230"/>
                <a:gd name="T66" fmla="*/ 269 w 2422"/>
                <a:gd name="T67" fmla="*/ 15 h 1230"/>
                <a:gd name="T68" fmla="*/ 234 w 2422"/>
                <a:gd name="T69" fmla="*/ 0 h 1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22" h="1230">
                  <a:moveTo>
                    <a:pt x="1" y="932"/>
                  </a:moveTo>
                  <a:lnTo>
                    <a:pt x="0" y="932"/>
                  </a:lnTo>
                  <a:lnTo>
                    <a:pt x="0" y="932"/>
                  </a:lnTo>
                  <a:lnTo>
                    <a:pt x="82" y="964"/>
                  </a:lnTo>
                  <a:lnTo>
                    <a:pt x="168" y="995"/>
                  </a:lnTo>
                  <a:lnTo>
                    <a:pt x="256" y="1024"/>
                  </a:lnTo>
                  <a:lnTo>
                    <a:pt x="348" y="1052"/>
                  </a:lnTo>
                  <a:lnTo>
                    <a:pt x="348" y="1052"/>
                  </a:lnTo>
                  <a:lnTo>
                    <a:pt x="407" y="1070"/>
                  </a:lnTo>
                  <a:lnTo>
                    <a:pt x="467" y="1087"/>
                  </a:lnTo>
                  <a:lnTo>
                    <a:pt x="526" y="1102"/>
                  </a:lnTo>
                  <a:lnTo>
                    <a:pt x="587" y="1116"/>
                  </a:lnTo>
                  <a:lnTo>
                    <a:pt x="647" y="1129"/>
                  </a:lnTo>
                  <a:lnTo>
                    <a:pt x="706" y="1141"/>
                  </a:lnTo>
                  <a:lnTo>
                    <a:pt x="764" y="1152"/>
                  </a:lnTo>
                  <a:lnTo>
                    <a:pt x="824" y="1163"/>
                  </a:lnTo>
                  <a:lnTo>
                    <a:pt x="881" y="1172"/>
                  </a:lnTo>
                  <a:lnTo>
                    <a:pt x="938" y="1180"/>
                  </a:lnTo>
                  <a:lnTo>
                    <a:pt x="993" y="1188"/>
                  </a:lnTo>
                  <a:lnTo>
                    <a:pt x="1048" y="1194"/>
                  </a:lnTo>
                  <a:lnTo>
                    <a:pt x="1152" y="1205"/>
                  </a:lnTo>
                  <a:lnTo>
                    <a:pt x="1251" y="1214"/>
                  </a:lnTo>
                  <a:lnTo>
                    <a:pt x="1342" y="1221"/>
                  </a:lnTo>
                  <a:lnTo>
                    <a:pt x="1426" y="1225"/>
                  </a:lnTo>
                  <a:lnTo>
                    <a:pt x="1498" y="1228"/>
                  </a:lnTo>
                  <a:lnTo>
                    <a:pt x="1561" y="1229"/>
                  </a:lnTo>
                  <a:lnTo>
                    <a:pt x="1648" y="1230"/>
                  </a:lnTo>
                  <a:lnTo>
                    <a:pt x="1679" y="1229"/>
                  </a:lnTo>
                  <a:lnTo>
                    <a:pt x="1679" y="1229"/>
                  </a:lnTo>
                  <a:lnTo>
                    <a:pt x="1738" y="1230"/>
                  </a:lnTo>
                  <a:lnTo>
                    <a:pt x="1805" y="1229"/>
                  </a:lnTo>
                  <a:lnTo>
                    <a:pt x="1896" y="1226"/>
                  </a:lnTo>
                  <a:lnTo>
                    <a:pt x="2006" y="1221"/>
                  </a:lnTo>
                  <a:lnTo>
                    <a:pt x="2067" y="1217"/>
                  </a:lnTo>
                  <a:lnTo>
                    <a:pt x="2132" y="1213"/>
                  </a:lnTo>
                  <a:lnTo>
                    <a:pt x="2200" y="1207"/>
                  </a:lnTo>
                  <a:lnTo>
                    <a:pt x="2271" y="1199"/>
                  </a:lnTo>
                  <a:lnTo>
                    <a:pt x="2346" y="1190"/>
                  </a:lnTo>
                  <a:lnTo>
                    <a:pt x="2422" y="1179"/>
                  </a:lnTo>
                  <a:lnTo>
                    <a:pt x="2422" y="1179"/>
                  </a:lnTo>
                  <a:lnTo>
                    <a:pt x="2327" y="216"/>
                  </a:lnTo>
                  <a:lnTo>
                    <a:pt x="2327" y="216"/>
                  </a:lnTo>
                  <a:lnTo>
                    <a:pt x="2250" y="226"/>
                  </a:lnTo>
                  <a:lnTo>
                    <a:pt x="2172" y="235"/>
                  </a:lnTo>
                  <a:lnTo>
                    <a:pt x="2092" y="243"/>
                  </a:lnTo>
                  <a:lnTo>
                    <a:pt x="2012" y="250"/>
                  </a:lnTo>
                  <a:lnTo>
                    <a:pt x="1930" y="254"/>
                  </a:lnTo>
                  <a:lnTo>
                    <a:pt x="1848" y="258"/>
                  </a:lnTo>
                  <a:lnTo>
                    <a:pt x="1764" y="260"/>
                  </a:lnTo>
                  <a:lnTo>
                    <a:pt x="1679" y="261"/>
                  </a:lnTo>
                  <a:lnTo>
                    <a:pt x="1679" y="261"/>
                  </a:lnTo>
                  <a:lnTo>
                    <a:pt x="1573" y="260"/>
                  </a:lnTo>
                  <a:lnTo>
                    <a:pt x="1469" y="256"/>
                  </a:lnTo>
                  <a:lnTo>
                    <a:pt x="1367" y="251"/>
                  </a:lnTo>
                  <a:lnTo>
                    <a:pt x="1266" y="243"/>
                  </a:lnTo>
                  <a:lnTo>
                    <a:pt x="1167" y="233"/>
                  </a:lnTo>
                  <a:lnTo>
                    <a:pt x="1070" y="221"/>
                  </a:lnTo>
                  <a:lnTo>
                    <a:pt x="974" y="207"/>
                  </a:lnTo>
                  <a:lnTo>
                    <a:pt x="882" y="191"/>
                  </a:lnTo>
                  <a:lnTo>
                    <a:pt x="791" y="173"/>
                  </a:lnTo>
                  <a:lnTo>
                    <a:pt x="703" y="153"/>
                  </a:lnTo>
                  <a:lnTo>
                    <a:pt x="618" y="132"/>
                  </a:lnTo>
                  <a:lnTo>
                    <a:pt x="535" y="108"/>
                  </a:lnTo>
                  <a:lnTo>
                    <a:pt x="455" y="83"/>
                  </a:lnTo>
                  <a:lnTo>
                    <a:pt x="378" y="57"/>
                  </a:lnTo>
                  <a:lnTo>
                    <a:pt x="341" y="44"/>
                  </a:lnTo>
                  <a:lnTo>
                    <a:pt x="305" y="29"/>
                  </a:lnTo>
                  <a:lnTo>
                    <a:pt x="269" y="15"/>
                  </a:lnTo>
                  <a:lnTo>
                    <a:pt x="234" y="0"/>
                  </a:lnTo>
                  <a:lnTo>
                    <a:pt x="234" y="0"/>
                  </a:lnTo>
                  <a:lnTo>
                    <a:pt x="1" y="93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2" name="Freeform 56"/>
            <p:cNvSpPr>
              <a:spLocks/>
            </p:cNvSpPr>
            <p:nvPr/>
          </p:nvSpPr>
          <p:spPr bwMode="auto">
            <a:xfrm flipH="1">
              <a:off x="7478420" y="2691922"/>
              <a:ext cx="109658" cy="193488"/>
            </a:xfrm>
            <a:custGeom>
              <a:avLst/>
              <a:gdLst>
                <a:gd name="T0" fmla="*/ 42 w 597"/>
                <a:gd name="T1" fmla="*/ 657 h 1351"/>
                <a:gd name="T2" fmla="*/ 42 w 597"/>
                <a:gd name="T3" fmla="*/ 657 h 1351"/>
                <a:gd name="T4" fmla="*/ 274 w 597"/>
                <a:gd name="T5" fmla="*/ 0 h 1351"/>
                <a:gd name="T6" fmla="*/ 274 w 597"/>
                <a:gd name="T7" fmla="*/ 0 h 1351"/>
                <a:gd name="T8" fmla="*/ 278 w 597"/>
                <a:gd name="T9" fmla="*/ 30 h 1351"/>
                <a:gd name="T10" fmla="*/ 284 w 597"/>
                <a:gd name="T11" fmla="*/ 60 h 1351"/>
                <a:gd name="T12" fmla="*/ 292 w 597"/>
                <a:gd name="T13" fmla="*/ 90 h 1351"/>
                <a:gd name="T14" fmla="*/ 302 w 597"/>
                <a:gd name="T15" fmla="*/ 119 h 1351"/>
                <a:gd name="T16" fmla="*/ 316 w 597"/>
                <a:gd name="T17" fmla="*/ 150 h 1351"/>
                <a:gd name="T18" fmla="*/ 330 w 597"/>
                <a:gd name="T19" fmla="*/ 178 h 1351"/>
                <a:gd name="T20" fmla="*/ 348 w 597"/>
                <a:gd name="T21" fmla="*/ 207 h 1351"/>
                <a:gd name="T22" fmla="*/ 368 w 597"/>
                <a:gd name="T23" fmla="*/ 235 h 1351"/>
                <a:gd name="T24" fmla="*/ 389 w 597"/>
                <a:gd name="T25" fmla="*/ 262 h 1351"/>
                <a:gd name="T26" fmla="*/ 413 w 597"/>
                <a:gd name="T27" fmla="*/ 289 h 1351"/>
                <a:gd name="T28" fmla="*/ 439 w 597"/>
                <a:gd name="T29" fmla="*/ 316 h 1351"/>
                <a:gd name="T30" fmla="*/ 467 w 597"/>
                <a:gd name="T31" fmla="*/ 342 h 1351"/>
                <a:gd name="T32" fmla="*/ 496 w 597"/>
                <a:gd name="T33" fmla="*/ 368 h 1351"/>
                <a:gd name="T34" fmla="*/ 528 w 597"/>
                <a:gd name="T35" fmla="*/ 395 h 1351"/>
                <a:gd name="T36" fmla="*/ 561 w 597"/>
                <a:gd name="T37" fmla="*/ 418 h 1351"/>
                <a:gd name="T38" fmla="*/ 597 w 597"/>
                <a:gd name="T39" fmla="*/ 443 h 1351"/>
                <a:gd name="T40" fmla="*/ 597 w 597"/>
                <a:gd name="T41" fmla="*/ 443 h 1351"/>
                <a:gd name="T42" fmla="*/ 296 w 597"/>
                <a:gd name="T43" fmla="*/ 1351 h 1351"/>
                <a:gd name="T44" fmla="*/ 296 w 597"/>
                <a:gd name="T45" fmla="*/ 1351 h 1351"/>
                <a:gd name="T46" fmla="*/ 273 w 597"/>
                <a:gd name="T47" fmla="*/ 1336 h 1351"/>
                <a:gd name="T48" fmla="*/ 251 w 597"/>
                <a:gd name="T49" fmla="*/ 1321 h 1351"/>
                <a:gd name="T50" fmla="*/ 231 w 597"/>
                <a:gd name="T51" fmla="*/ 1304 h 1351"/>
                <a:gd name="T52" fmla="*/ 210 w 597"/>
                <a:gd name="T53" fmla="*/ 1287 h 1351"/>
                <a:gd name="T54" fmla="*/ 190 w 597"/>
                <a:gd name="T55" fmla="*/ 1271 h 1351"/>
                <a:gd name="T56" fmla="*/ 171 w 597"/>
                <a:gd name="T57" fmla="*/ 1254 h 1351"/>
                <a:gd name="T58" fmla="*/ 154 w 597"/>
                <a:gd name="T59" fmla="*/ 1236 h 1351"/>
                <a:gd name="T60" fmla="*/ 136 w 597"/>
                <a:gd name="T61" fmla="*/ 1219 h 1351"/>
                <a:gd name="T62" fmla="*/ 120 w 597"/>
                <a:gd name="T63" fmla="*/ 1201 h 1351"/>
                <a:gd name="T64" fmla="*/ 105 w 597"/>
                <a:gd name="T65" fmla="*/ 1182 h 1351"/>
                <a:gd name="T66" fmla="*/ 91 w 597"/>
                <a:gd name="T67" fmla="*/ 1163 h 1351"/>
                <a:gd name="T68" fmla="*/ 78 w 597"/>
                <a:gd name="T69" fmla="*/ 1144 h 1351"/>
                <a:gd name="T70" fmla="*/ 65 w 597"/>
                <a:gd name="T71" fmla="*/ 1124 h 1351"/>
                <a:gd name="T72" fmla="*/ 54 w 597"/>
                <a:gd name="T73" fmla="*/ 1104 h 1351"/>
                <a:gd name="T74" fmla="*/ 44 w 597"/>
                <a:gd name="T75" fmla="*/ 1083 h 1351"/>
                <a:gd name="T76" fmla="*/ 34 w 597"/>
                <a:gd name="T77" fmla="*/ 1062 h 1351"/>
                <a:gd name="T78" fmla="*/ 26 w 597"/>
                <a:gd name="T79" fmla="*/ 1041 h 1351"/>
                <a:gd name="T80" fmla="*/ 19 w 597"/>
                <a:gd name="T81" fmla="*/ 1019 h 1351"/>
                <a:gd name="T82" fmla="*/ 13 w 597"/>
                <a:gd name="T83" fmla="*/ 997 h 1351"/>
                <a:gd name="T84" fmla="*/ 8 w 597"/>
                <a:gd name="T85" fmla="*/ 974 h 1351"/>
                <a:gd name="T86" fmla="*/ 4 w 597"/>
                <a:gd name="T87" fmla="*/ 950 h 1351"/>
                <a:gd name="T88" fmla="*/ 2 w 597"/>
                <a:gd name="T89" fmla="*/ 926 h 1351"/>
                <a:gd name="T90" fmla="*/ 0 w 597"/>
                <a:gd name="T91" fmla="*/ 902 h 1351"/>
                <a:gd name="T92" fmla="*/ 0 w 597"/>
                <a:gd name="T93" fmla="*/ 877 h 1351"/>
                <a:gd name="T94" fmla="*/ 1 w 597"/>
                <a:gd name="T95" fmla="*/ 851 h 1351"/>
                <a:gd name="T96" fmla="*/ 3 w 597"/>
                <a:gd name="T97" fmla="*/ 825 h 1351"/>
                <a:gd name="T98" fmla="*/ 6 w 597"/>
                <a:gd name="T99" fmla="*/ 799 h 1351"/>
                <a:gd name="T100" fmla="*/ 11 w 597"/>
                <a:gd name="T101" fmla="*/ 772 h 1351"/>
                <a:gd name="T102" fmla="*/ 17 w 597"/>
                <a:gd name="T103" fmla="*/ 744 h 1351"/>
                <a:gd name="T104" fmla="*/ 24 w 597"/>
                <a:gd name="T105" fmla="*/ 715 h 1351"/>
                <a:gd name="T106" fmla="*/ 33 w 597"/>
                <a:gd name="T107" fmla="*/ 686 h 1351"/>
                <a:gd name="T108" fmla="*/ 42 w 597"/>
                <a:gd name="T109" fmla="*/ 657 h 1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97" h="1351">
                  <a:moveTo>
                    <a:pt x="42" y="657"/>
                  </a:moveTo>
                  <a:lnTo>
                    <a:pt x="42" y="657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8" y="30"/>
                  </a:lnTo>
                  <a:lnTo>
                    <a:pt x="284" y="60"/>
                  </a:lnTo>
                  <a:lnTo>
                    <a:pt x="292" y="90"/>
                  </a:lnTo>
                  <a:lnTo>
                    <a:pt x="302" y="119"/>
                  </a:lnTo>
                  <a:lnTo>
                    <a:pt x="316" y="150"/>
                  </a:lnTo>
                  <a:lnTo>
                    <a:pt x="330" y="178"/>
                  </a:lnTo>
                  <a:lnTo>
                    <a:pt x="348" y="207"/>
                  </a:lnTo>
                  <a:lnTo>
                    <a:pt x="368" y="235"/>
                  </a:lnTo>
                  <a:lnTo>
                    <a:pt x="389" y="262"/>
                  </a:lnTo>
                  <a:lnTo>
                    <a:pt x="413" y="289"/>
                  </a:lnTo>
                  <a:lnTo>
                    <a:pt x="439" y="316"/>
                  </a:lnTo>
                  <a:lnTo>
                    <a:pt x="467" y="342"/>
                  </a:lnTo>
                  <a:lnTo>
                    <a:pt x="496" y="368"/>
                  </a:lnTo>
                  <a:lnTo>
                    <a:pt x="528" y="395"/>
                  </a:lnTo>
                  <a:lnTo>
                    <a:pt x="561" y="418"/>
                  </a:lnTo>
                  <a:lnTo>
                    <a:pt x="597" y="443"/>
                  </a:lnTo>
                  <a:lnTo>
                    <a:pt x="597" y="443"/>
                  </a:lnTo>
                  <a:lnTo>
                    <a:pt x="296" y="1351"/>
                  </a:lnTo>
                  <a:lnTo>
                    <a:pt x="296" y="1351"/>
                  </a:lnTo>
                  <a:lnTo>
                    <a:pt x="273" y="1336"/>
                  </a:lnTo>
                  <a:lnTo>
                    <a:pt x="251" y="1321"/>
                  </a:lnTo>
                  <a:lnTo>
                    <a:pt x="231" y="1304"/>
                  </a:lnTo>
                  <a:lnTo>
                    <a:pt x="210" y="1287"/>
                  </a:lnTo>
                  <a:lnTo>
                    <a:pt x="190" y="1271"/>
                  </a:lnTo>
                  <a:lnTo>
                    <a:pt x="171" y="1254"/>
                  </a:lnTo>
                  <a:lnTo>
                    <a:pt x="154" y="1236"/>
                  </a:lnTo>
                  <a:lnTo>
                    <a:pt x="136" y="1219"/>
                  </a:lnTo>
                  <a:lnTo>
                    <a:pt x="120" y="1201"/>
                  </a:lnTo>
                  <a:lnTo>
                    <a:pt x="105" y="1182"/>
                  </a:lnTo>
                  <a:lnTo>
                    <a:pt x="91" y="1163"/>
                  </a:lnTo>
                  <a:lnTo>
                    <a:pt x="78" y="1144"/>
                  </a:lnTo>
                  <a:lnTo>
                    <a:pt x="65" y="1124"/>
                  </a:lnTo>
                  <a:lnTo>
                    <a:pt x="54" y="1104"/>
                  </a:lnTo>
                  <a:lnTo>
                    <a:pt x="44" y="1083"/>
                  </a:lnTo>
                  <a:lnTo>
                    <a:pt x="34" y="1062"/>
                  </a:lnTo>
                  <a:lnTo>
                    <a:pt x="26" y="1041"/>
                  </a:lnTo>
                  <a:lnTo>
                    <a:pt x="19" y="1019"/>
                  </a:lnTo>
                  <a:lnTo>
                    <a:pt x="13" y="997"/>
                  </a:lnTo>
                  <a:lnTo>
                    <a:pt x="8" y="974"/>
                  </a:lnTo>
                  <a:lnTo>
                    <a:pt x="4" y="950"/>
                  </a:lnTo>
                  <a:lnTo>
                    <a:pt x="2" y="926"/>
                  </a:lnTo>
                  <a:lnTo>
                    <a:pt x="0" y="902"/>
                  </a:lnTo>
                  <a:lnTo>
                    <a:pt x="0" y="877"/>
                  </a:lnTo>
                  <a:lnTo>
                    <a:pt x="1" y="851"/>
                  </a:lnTo>
                  <a:lnTo>
                    <a:pt x="3" y="825"/>
                  </a:lnTo>
                  <a:lnTo>
                    <a:pt x="6" y="799"/>
                  </a:lnTo>
                  <a:lnTo>
                    <a:pt x="11" y="772"/>
                  </a:lnTo>
                  <a:lnTo>
                    <a:pt x="17" y="744"/>
                  </a:lnTo>
                  <a:lnTo>
                    <a:pt x="24" y="715"/>
                  </a:lnTo>
                  <a:lnTo>
                    <a:pt x="33" y="686"/>
                  </a:lnTo>
                  <a:lnTo>
                    <a:pt x="42" y="65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3" name="Freeform 57"/>
            <p:cNvSpPr>
              <a:spLocks/>
            </p:cNvSpPr>
            <p:nvPr/>
          </p:nvSpPr>
          <p:spPr bwMode="auto">
            <a:xfrm flipH="1">
              <a:off x="6743069" y="2693212"/>
              <a:ext cx="100627" cy="190908"/>
            </a:xfrm>
            <a:custGeom>
              <a:avLst/>
              <a:gdLst>
                <a:gd name="T0" fmla="*/ 269 w 545"/>
                <a:gd name="T1" fmla="*/ 0 h 1334"/>
                <a:gd name="T2" fmla="*/ 269 w 545"/>
                <a:gd name="T3" fmla="*/ 0 h 1334"/>
                <a:gd name="T4" fmla="*/ 502 w 545"/>
                <a:gd name="T5" fmla="*/ 655 h 1334"/>
                <a:gd name="T6" fmla="*/ 502 w 545"/>
                <a:gd name="T7" fmla="*/ 655 h 1334"/>
                <a:gd name="T8" fmla="*/ 511 w 545"/>
                <a:gd name="T9" fmla="*/ 683 h 1334"/>
                <a:gd name="T10" fmla="*/ 520 w 545"/>
                <a:gd name="T11" fmla="*/ 711 h 1334"/>
                <a:gd name="T12" fmla="*/ 527 w 545"/>
                <a:gd name="T13" fmla="*/ 738 h 1334"/>
                <a:gd name="T14" fmla="*/ 533 w 545"/>
                <a:gd name="T15" fmla="*/ 766 h 1334"/>
                <a:gd name="T16" fmla="*/ 537 w 545"/>
                <a:gd name="T17" fmla="*/ 793 h 1334"/>
                <a:gd name="T18" fmla="*/ 541 w 545"/>
                <a:gd name="T19" fmla="*/ 818 h 1334"/>
                <a:gd name="T20" fmla="*/ 544 w 545"/>
                <a:gd name="T21" fmla="*/ 844 h 1334"/>
                <a:gd name="T22" fmla="*/ 545 w 545"/>
                <a:gd name="T23" fmla="*/ 869 h 1334"/>
                <a:gd name="T24" fmla="*/ 545 w 545"/>
                <a:gd name="T25" fmla="*/ 893 h 1334"/>
                <a:gd name="T26" fmla="*/ 544 w 545"/>
                <a:gd name="T27" fmla="*/ 917 h 1334"/>
                <a:gd name="T28" fmla="*/ 542 w 545"/>
                <a:gd name="T29" fmla="*/ 940 h 1334"/>
                <a:gd name="T30" fmla="*/ 537 w 545"/>
                <a:gd name="T31" fmla="*/ 962 h 1334"/>
                <a:gd name="T32" fmla="*/ 533 w 545"/>
                <a:gd name="T33" fmla="*/ 985 h 1334"/>
                <a:gd name="T34" fmla="*/ 528 w 545"/>
                <a:gd name="T35" fmla="*/ 1007 h 1334"/>
                <a:gd name="T36" fmla="*/ 522 w 545"/>
                <a:gd name="T37" fmla="*/ 1028 h 1334"/>
                <a:gd name="T38" fmla="*/ 515 w 545"/>
                <a:gd name="T39" fmla="*/ 1050 h 1334"/>
                <a:gd name="T40" fmla="*/ 506 w 545"/>
                <a:gd name="T41" fmla="*/ 1070 h 1334"/>
                <a:gd name="T42" fmla="*/ 497 w 545"/>
                <a:gd name="T43" fmla="*/ 1091 h 1334"/>
                <a:gd name="T44" fmla="*/ 487 w 545"/>
                <a:gd name="T45" fmla="*/ 1110 h 1334"/>
                <a:gd name="T46" fmla="*/ 475 w 545"/>
                <a:gd name="T47" fmla="*/ 1130 h 1334"/>
                <a:gd name="T48" fmla="*/ 463 w 545"/>
                <a:gd name="T49" fmla="*/ 1149 h 1334"/>
                <a:gd name="T50" fmla="*/ 449 w 545"/>
                <a:gd name="T51" fmla="*/ 1168 h 1334"/>
                <a:gd name="T52" fmla="*/ 436 w 545"/>
                <a:gd name="T53" fmla="*/ 1185 h 1334"/>
                <a:gd name="T54" fmla="*/ 420 w 545"/>
                <a:gd name="T55" fmla="*/ 1203 h 1334"/>
                <a:gd name="T56" fmla="*/ 404 w 545"/>
                <a:gd name="T57" fmla="*/ 1221 h 1334"/>
                <a:gd name="T58" fmla="*/ 388 w 545"/>
                <a:gd name="T59" fmla="*/ 1239 h 1334"/>
                <a:gd name="T60" fmla="*/ 370 w 545"/>
                <a:gd name="T61" fmla="*/ 1255 h 1334"/>
                <a:gd name="T62" fmla="*/ 352 w 545"/>
                <a:gd name="T63" fmla="*/ 1271 h 1334"/>
                <a:gd name="T64" fmla="*/ 333 w 545"/>
                <a:gd name="T65" fmla="*/ 1288 h 1334"/>
                <a:gd name="T66" fmla="*/ 313 w 545"/>
                <a:gd name="T67" fmla="*/ 1303 h 1334"/>
                <a:gd name="T68" fmla="*/ 292 w 545"/>
                <a:gd name="T69" fmla="*/ 1319 h 1334"/>
                <a:gd name="T70" fmla="*/ 271 w 545"/>
                <a:gd name="T71" fmla="*/ 1334 h 1334"/>
                <a:gd name="T72" fmla="*/ 271 w 545"/>
                <a:gd name="T73" fmla="*/ 1334 h 1334"/>
                <a:gd name="T74" fmla="*/ 0 w 545"/>
                <a:gd name="T75" fmla="*/ 404 h 1334"/>
                <a:gd name="T76" fmla="*/ 0 w 545"/>
                <a:gd name="T77" fmla="*/ 404 h 1334"/>
                <a:gd name="T78" fmla="*/ 30 w 545"/>
                <a:gd name="T79" fmla="*/ 382 h 1334"/>
                <a:gd name="T80" fmla="*/ 58 w 545"/>
                <a:gd name="T81" fmla="*/ 359 h 1334"/>
                <a:gd name="T82" fmla="*/ 84 w 545"/>
                <a:gd name="T83" fmla="*/ 335 h 1334"/>
                <a:gd name="T84" fmla="*/ 109 w 545"/>
                <a:gd name="T85" fmla="*/ 311 h 1334"/>
                <a:gd name="T86" fmla="*/ 132 w 545"/>
                <a:gd name="T87" fmla="*/ 287 h 1334"/>
                <a:gd name="T88" fmla="*/ 154 w 545"/>
                <a:gd name="T89" fmla="*/ 262 h 1334"/>
                <a:gd name="T90" fmla="*/ 174 w 545"/>
                <a:gd name="T91" fmla="*/ 237 h 1334"/>
                <a:gd name="T92" fmla="*/ 191 w 545"/>
                <a:gd name="T93" fmla="*/ 212 h 1334"/>
                <a:gd name="T94" fmla="*/ 208 w 545"/>
                <a:gd name="T95" fmla="*/ 187 h 1334"/>
                <a:gd name="T96" fmla="*/ 222 w 545"/>
                <a:gd name="T97" fmla="*/ 161 h 1334"/>
                <a:gd name="T98" fmla="*/ 235 w 545"/>
                <a:gd name="T99" fmla="*/ 135 h 1334"/>
                <a:gd name="T100" fmla="*/ 245 w 545"/>
                <a:gd name="T101" fmla="*/ 108 h 1334"/>
                <a:gd name="T102" fmla="*/ 255 w 545"/>
                <a:gd name="T103" fmla="*/ 81 h 1334"/>
                <a:gd name="T104" fmla="*/ 261 w 545"/>
                <a:gd name="T105" fmla="*/ 55 h 1334"/>
                <a:gd name="T106" fmla="*/ 266 w 545"/>
                <a:gd name="T107" fmla="*/ 27 h 1334"/>
                <a:gd name="T108" fmla="*/ 269 w 545"/>
                <a:gd name="T109" fmla="*/ 0 h 1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45" h="1334">
                  <a:moveTo>
                    <a:pt x="269" y="0"/>
                  </a:moveTo>
                  <a:lnTo>
                    <a:pt x="269" y="0"/>
                  </a:lnTo>
                  <a:lnTo>
                    <a:pt x="502" y="655"/>
                  </a:lnTo>
                  <a:lnTo>
                    <a:pt x="502" y="655"/>
                  </a:lnTo>
                  <a:lnTo>
                    <a:pt x="511" y="683"/>
                  </a:lnTo>
                  <a:lnTo>
                    <a:pt x="520" y="711"/>
                  </a:lnTo>
                  <a:lnTo>
                    <a:pt x="527" y="738"/>
                  </a:lnTo>
                  <a:lnTo>
                    <a:pt x="533" y="766"/>
                  </a:lnTo>
                  <a:lnTo>
                    <a:pt x="537" y="793"/>
                  </a:lnTo>
                  <a:lnTo>
                    <a:pt x="541" y="818"/>
                  </a:lnTo>
                  <a:lnTo>
                    <a:pt x="544" y="844"/>
                  </a:lnTo>
                  <a:lnTo>
                    <a:pt x="545" y="869"/>
                  </a:lnTo>
                  <a:lnTo>
                    <a:pt x="545" y="893"/>
                  </a:lnTo>
                  <a:lnTo>
                    <a:pt x="544" y="917"/>
                  </a:lnTo>
                  <a:lnTo>
                    <a:pt x="542" y="940"/>
                  </a:lnTo>
                  <a:lnTo>
                    <a:pt x="537" y="962"/>
                  </a:lnTo>
                  <a:lnTo>
                    <a:pt x="533" y="985"/>
                  </a:lnTo>
                  <a:lnTo>
                    <a:pt x="528" y="1007"/>
                  </a:lnTo>
                  <a:lnTo>
                    <a:pt x="522" y="1028"/>
                  </a:lnTo>
                  <a:lnTo>
                    <a:pt x="515" y="1050"/>
                  </a:lnTo>
                  <a:lnTo>
                    <a:pt x="506" y="1070"/>
                  </a:lnTo>
                  <a:lnTo>
                    <a:pt x="497" y="1091"/>
                  </a:lnTo>
                  <a:lnTo>
                    <a:pt x="487" y="1110"/>
                  </a:lnTo>
                  <a:lnTo>
                    <a:pt x="475" y="1130"/>
                  </a:lnTo>
                  <a:lnTo>
                    <a:pt x="463" y="1149"/>
                  </a:lnTo>
                  <a:lnTo>
                    <a:pt x="449" y="1168"/>
                  </a:lnTo>
                  <a:lnTo>
                    <a:pt x="436" y="1185"/>
                  </a:lnTo>
                  <a:lnTo>
                    <a:pt x="420" y="1203"/>
                  </a:lnTo>
                  <a:lnTo>
                    <a:pt x="404" y="1221"/>
                  </a:lnTo>
                  <a:lnTo>
                    <a:pt x="388" y="1239"/>
                  </a:lnTo>
                  <a:lnTo>
                    <a:pt x="370" y="1255"/>
                  </a:lnTo>
                  <a:lnTo>
                    <a:pt x="352" y="1271"/>
                  </a:lnTo>
                  <a:lnTo>
                    <a:pt x="333" y="1288"/>
                  </a:lnTo>
                  <a:lnTo>
                    <a:pt x="313" y="1303"/>
                  </a:lnTo>
                  <a:lnTo>
                    <a:pt x="292" y="1319"/>
                  </a:lnTo>
                  <a:lnTo>
                    <a:pt x="271" y="1334"/>
                  </a:lnTo>
                  <a:lnTo>
                    <a:pt x="271" y="1334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30" y="382"/>
                  </a:lnTo>
                  <a:lnTo>
                    <a:pt x="58" y="359"/>
                  </a:lnTo>
                  <a:lnTo>
                    <a:pt x="84" y="335"/>
                  </a:lnTo>
                  <a:lnTo>
                    <a:pt x="109" y="311"/>
                  </a:lnTo>
                  <a:lnTo>
                    <a:pt x="132" y="287"/>
                  </a:lnTo>
                  <a:lnTo>
                    <a:pt x="154" y="262"/>
                  </a:lnTo>
                  <a:lnTo>
                    <a:pt x="174" y="237"/>
                  </a:lnTo>
                  <a:lnTo>
                    <a:pt x="191" y="212"/>
                  </a:lnTo>
                  <a:lnTo>
                    <a:pt x="208" y="187"/>
                  </a:lnTo>
                  <a:lnTo>
                    <a:pt x="222" y="161"/>
                  </a:lnTo>
                  <a:lnTo>
                    <a:pt x="235" y="135"/>
                  </a:lnTo>
                  <a:lnTo>
                    <a:pt x="245" y="108"/>
                  </a:lnTo>
                  <a:lnTo>
                    <a:pt x="255" y="81"/>
                  </a:lnTo>
                  <a:lnTo>
                    <a:pt x="261" y="55"/>
                  </a:lnTo>
                  <a:lnTo>
                    <a:pt x="266" y="27"/>
                  </a:lnTo>
                  <a:lnTo>
                    <a:pt x="2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4" name="Freeform 58"/>
            <p:cNvSpPr>
              <a:spLocks noEditPoints="1"/>
            </p:cNvSpPr>
            <p:nvPr/>
          </p:nvSpPr>
          <p:spPr bwMode="auto">
            <a:xfrm flipH="1">
              <a:off x="6846276" y="2455867"/>
              <a:ext cx="638595" cy="223156"/>
            </a:xfrm>
            <a:custGeom>
              <a:avLst/>
              <a:gdLst>
                <a:gd name="T0" fmla="*/ 0 w 3464"/>
                <a:gd name="T1" fmla="*/ 844 h 1560"/>
                <a:gd name="T2" fmla="*/ 10 w 3464"/>
                <a:gd name="T3" fmla="*/ 899 h 1560"/>
                <a:gd name="T4" fmla="*/ 42 w 3464"/>
                <a:gd name="T5" fmla="*/ 981 h 1560"/>
                <a:gd name="T6" fmla="*/ 93 w 3464"/>
                <a:gd name="T7" fmla="*/ 1058 h 1560"/>
                <a:gd name="T8" fmla="*/ 163 w 3464"/>
                <a:gd name="T9" fmla="*/ 1132 h 1560"/>
                <a:gd name="T10" fmla="*/ 250 w 3464"/>
                <a:gd name="T11" fmla="*/ 1201 h 1560"/>
                <a:gd name="T12" fmla="*/ 317 w 3464"/>
                <a:gd name="T13" fmla="*/ 1245 h 1560"/>
                <a:gd name="T14" fmla="*/ 586 w 3464"/>
                <a:gd name="T15" fmla="*/ 322 h 1560"/>
                <a:gd name="T16" fmla="*/ 496 w 3464"/>
                <a:gd name="T17" fmla="*/ 265 h 1560"/>
                <a:gd name="T18" fmla="*/ 422 w 3464"/>
                <a:gd name="T19" fmla="*/ 204 h 1560"/>
                <a:gd name="T20" fmla="*/ 363 w 3464"/>
                <a:gd name="T21" fmla="*/ 139 h 1560"/>
                <a:gd name="T22" fmla="*/ 323 w 3464"/>
                <a:gd name="T23" fmla="*/ 71 h 1560"/>
                <a:gd name="T24" fmla="*/ 299 w 3464"/>
                <a:gd name="T25" fmla="*/ 0 h 1560"/>
                <a:gd name="T26" fmla="*/ 1732 w 3464"/>
                <a:gd name="T27" fmla="*/ 1560 h 1560"/>
                <a:gd name="T28" fmla="*/ 1469 w 3464"/>
                <a:gd name="T29" fmla="*/ 1552 h 1560"/>
                <a:gd name="T30" fmla="*/ 1219 w 3464"/>
                <a:gd name="T31" fmla="*/ 1527 h 1560"/>
                <a:gd name="T32" fmla="*/ 983 w 3464"/>
                <a:gd name="T33" fmla="*/ 1487 h 1560"/>
                <a:gd name="T34" fmla="*/ 765 w 3464"/>
                <a:gd name="T35" fmla="*/ 1433 h 1560"/>
                <a:gd name="T36" fmla="*/ 570 w 3464"/>
                <a:gd name="T37" fmla="*/ 1367 h 1560"/>
                <a:gd name="T38" fmla="*/ 747 w 3464"/>
                <a:gd name="T39" fmla="*/ 399 h 1560"/>
                <a:gd name="T40" fmla="*/ 848 w 3464"/>
                <a:gd name="T41" fmla="*/ 437 h 1560"/>
                <a:gd name="T42" fmla="*/ 1014 w 3464"/>
                <a:gd name="T43" fmla="*/ 485 h 1560"/>
                <a:gd name="T44" fmla="*/ 1195 w 3464"/>
                <a:gd name="T45" fmla="*/ 523 h 1560"/>
                <a:gd name="T46" fmla="*/ 1389 w 3464"/>
                <a:gd name="T47" fmla="*/ 550 h 1560"/>
                <a:gd name="T48" fmla="*/ 1595 w 3464"/>
                <a:gd name="T49" fmla="*/ 565 h 1560"/>
                <a:gd name="T50" fmla="*/ 1736 w 3464"/>
                <a:gd name="T51" fmla="*/ 568 h 1560"/>
                <a:gd name="T52" fmla="*/ 1913 w 3464"/>
                <a:gd name="T53" fmla="*/ 564 h 1560"/>
                <a:gd name="T54" fmla="*/ 2083 w 3464"/>
                <a:gd name="T55" fmla="*/ 550 h 1560"/>
                <a:gd name="T56" fmla="*/ 2192 w 3464"/>
                <a:gd name="T57" fmla="*/ 537 h 1560"/>
                <a:gd name="T58" fmla="*/ 2223 w 3464"/>
                <a:gd name="T59" fmla="*/ 1530 h 1560"/>
                <a:gd name="T60" fmla="*/ 2018 w 3464"/>
                <a:gd name="T61" fmla="*/ 1549 h 1560"/>
                <a:gd name="T62" fmla="*/ 1805 w 3464"/>
                <a:gd name="T63" fmla="*/ 1559 h 1560"/>
                <a:gd name="T64" fmla="*/ 3228 w 3464"/>
                <a:gd name="T65" fmla="*/ 1191 h 1560"/>
                <a:gd name="T66" fmla="*/ 2962 w 3464"/>
                <a:gd name="T67" fmla="*/ 275 h 1560"/>
                <a:gd name="T68" fmla="*/ 3020 w 3464"/>
                <a:gd name="T69" fmla="*/ 231 h 1560"/>
                <a:gd name="T70" fmla="*/ 3069 w 3464"/>
                <a:gd name="T71" fmla="*/ 186 h 1560"/>
                <a:gd name="T72" fmla="*/ 3111 w 3464"/>
                <a:gd name="T73" fmla="*/ 138 h 1560"/>
                <a:gd name="T74" fmla="*/ 3142 w 3464"/>
                <a:gd name="T75" fmla="*/ 88 h 1560"/>
                <a:gd name="T76" fmla="*/ 3165 w 3464"/>
                <a:gd name="T77" fmla="*/ 37 h 1560"/>
                <a:gd name="T78" fmla="*/ 3464 w 3464"/>
                <a:gd name="T79" fmla="*/ 848 h 1560"/>
                <a:gd name="T80" fmla="*/ 3456 w 3464"/>
                <a:gd name="T81" fmla="*/ 894 h 1560"/>
                <a:gd name="T82" fmla="*/ 3432 w 3464"/>
                <a:gd name="T83" fmla="*/ 963 h 1560"/>
                <a:gd name="T84" fmla="*/ 3394 w 3464"/>
                <a:gd name="T85" fmla="*/ 1028 h 1560"/>
                <a:gd name="T86" fmla="*/ 3342 w 3464"/>
                <a:gd name="T87" fmla="*/ 1092 h 1560"/>
                <a:gd name="T88" fmla="*/ 3278 w 3464"/>
                <a:gd name="T89" fmla="*/ 1152 h 1560"/>
                <a:gd name="T90" fmla="*/ 3228 w 3464"/>
                <a:gd name="T91" fmla="*/ 1191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64" h="1560">
                  <a:moveTo>
                    <a:pt x="299" y="0"/>
                  </a:moveTo>
                  <a:lnTo>
                    <a:pt x="299" y="0"/>
                  </a:lnTo>
                  <a:lnTo>
                    <a:pt x="0" y="844"/>
                  </a:lnTo>
                  <a:lnTo>
                    <a:pt x="0" y="844"/>
                  </a:lnTo>
                  <a:lnTo>
                    <a:pt x="3" y="872"/>
                  </a:lnTo>
                  <a:lnTo>
                    <a:pt x="10" y="899"/>
                  </a:lnTo>
                  <a:lnTo>
                    <a:pt x="18" y="926"/>
                  </a:lnTo>
                  <a:lnTo>
                    <a:pt x="28" y="953"/>
                  </a:lnTo>
                  <a:lnTo>
                    <a:pt x="42" y="981"/>
                  </a:lnTo>
                  <a:lnTo>
                    <a:pt x="56" y="1007"/>
                  </a:lnTo>
                  <a:lnTo>
                    <a:pt x="74" y="1033"/>
                  </a:lnTo>
                  <a:lnTo>
                    <a:pt x="93" y="1058"/>
                  </a:lnTo>
                  <a:lnTo>
                    <a:pt x="115" y="1083"/>
                  </a:lnTo>
                  <a:lnTo>
                    <a:pt x="138" y="1108"/>
                  </a:lnTo>
                  <a:lnTo>
                    <a:pt x="163" y="1132"/>
                  </a:lnTo>
                  <a:lnTo>
                    <a:pt x="191" y="1156"/>
                  </a:lnTo>
                  <a:lnTo>
                    <a:pt x="220" y="1179"/>
                  </a:lnTo>
                  <a:lnTo>
                    <a:pt x="250" y="1201"/>
                  </a:lnTo>
                  <a:lnTo>
                    <a:pt x="283" y="1223"/>
                  </a:lnTo>
                  <a:lnTo>
                    <a:pt x="317" y="1245"/>
                  </a:lnTo>
                  <a:lnTo>
                    <a:pt x="317" y="1245"/>
                  </a:lnTo>
                  <a:lnTo>
                    <a:pt x="618" y="340"/>
                  </a:lnTo>
                  <a:lnTo>
                    <a:pt x="618" y="340"/>
                  </a:lnTo>
                  <a:lnTo>
                    <a:pt x="586" y="322"/>
                  </a:lnTo>
                  <a:lnTo>
                    <a:pt x="554" y="303"/>
                  </a:lnTo>
                  <a:lnTo>
                    <a:pt x="524" y="285"/>
                  </a:lnTo>
                  <a:lnTo>
                    <a:pt x="496" y="265"/>
                  </a:lnTo>
                  <a:lnTo>
                    <a:pt x="470" y="245"/>
                  </a:lnTo>
                  <a:lnTo>
                    <a:pt x="445" y="225"/>
                  </a:lnTo>
                  <a:lnTo>
                    <a:pt x="422" y="204"/>
                  </a:lnTo>
                  <a:lnTo>
                    <a:pt x="401" y="182"/>
                  </a:lnTo>
                  <a:lnTo>
                    <a:pt x="381" y="161"/>
                  </a:lnTo>
                  <a:lnTo>
                    <a:pt x="363" y="139"/>
                  </a:lnTo>
                  <a:lnTo>
                    <a:pt x="348" y="117"/>
                  </a:lnTo>
                  <a:lnTo>
                    <a:pt x="334" y="94"/>
                  </a:lnTo>
                  <a:lnTo>
                    <a:pt x="323" y="71"/>
                  </a:lnTo>
                  <a:lnTo>
                    <a:pt x="312" y="47"/>
                  </a:lnTo>
                  <a:lnTo>
                    <a:pt x="305" y="24"/>
                  </a:lnTo>
                  <a:lnTo>
                    <a:pt x="299" y="0"/>
                  </a:lnTo>
                  <a:lnTo>
                    <a:pt x="299" y="0"/>
                  </a:lnTo>
                  <a:close/>
                  <a:moveTo>
                    <a:pt x="1732" y="1560"/>
                  </a:moveTo>
                  <a:lnTo>
                    <a:pt x="1732" y="1560"/>
                  </a:lnTo>
                  <a:lnTo>
                    <a:pt x="1643" y="1559"/>
                  </a:lnTo>
                  <a:lnTo>
                    <a:pt x="1556" y="1556"/>
                  </a:lnTo>
                  <a:lnTo>
                    <a:pt x="1469" y="1552"/>
                  </a:lnTo>
                  <a:lnTo>
                    <a:pt x="1384" y="1544"/>
                  </a:lnTo>
                  <a:lnTo>
                    <a:pt x="1301" y="1536"/>
                  </a:lnTo>
                  <a:lnTo>
                    <a:pt x="1219" y="1527"/>
                  </a:lnTo>
                  <a:lnTo>
                    <a:pt x="1138" y="1515"/>
                  </a:lnTo>
                  <a:lnTo>
                    <a:pt x="1060" y="1502"/>
                  </a:lnTo>
                  <a:lnTo>
                    <a:pt x="983" y="1487"/>
                  </a:lnTo>
                  <a:lnTo>
                    <a:pt x="909" y="1470"/>
                  </a:lnTo>
                  <a:lnTo>
                    <a:pt x="836" y="1453"/>
                  </a:lnTo>
                  <a:lnTo>
                    <a:pt x="765" y="1433"/>
                  </a:lnTo>
                  <a:lnTo>
                    <a:pt x="698" y="1413"/>
                  </a:lnTo>
                  <a:lnTo>
                    <a:pt x="632" y="1391"/>
                  </a:lnTo>
                  <a:lnTo>
                    <a:pt x="570" y="1367"/>
                  </a:lnTo>
                  <a:lnTo>
                    <a:pt x="510" y="1343"/>
                  </a:lnTo>
                  <a:lnTo>
                    <a:pt x="510" y="1343"/>
                  </a:lnTo>
                  <a:lnTo>
                    <a:pt x="747" y="399"/>
                  </a:lnTo>
                  <a:lnTo>
                    <a:pt x="747" y="399"/>
                  </a:lnTo>
                  <a:lnTo>
                    <a:pt x="796" y="418"/>
                  </a:lnTo>
                  <a:lnTo>
                    <a:pt x="848" y="437"/>
                  </a:lnTo>
                  <a:lnTo>
                    <a:pt x="901" y="453"/>
                  </a:lnTo>
                  <a:lnTo>
                    <a:pt x="957" y="470"/>
                  </a:lnTo>
                  <a:lnTo>
                    <a:pt x="1014" y="485"/>
                  </a:lnTo>
                  <a:lnTo>
                    <a:pt x="1072" y="499"/>
                  </a:lnTo>
                  <a:lnTo>
                    <a:pt x="1132" y="512"/>
                  </a:lnTo>
                  <a:lnTo>
                    <a:pt x="1195" y="523"/>
                  </a:lnTo>
                  <a:lnTo>
                    <a:pt x="1258" y="534"/>
                  </a:lnTo>
                  <a:lnTo>
                    <a:pt x="1323" y="543"/>
                  </a:lnTo>
                  <a:lnTo>
                    <a:pt x="1389" y="550"/>
                  </a:lnTo>
                  <a:lnTo>
                    <a:pt x="1457" y="556"/>
                  </a:lnTo>
                  <a:lnTo>
                    <a:pt x="1525" y="562"/>
                  </a:lnTo>
                  <a:lnTo>
                    <a:pt x="1595" y="565"/>
                  </a:lnTo>
                  <a:lnTo>
                    <a:pt x="1665" y="568"/>
                  </a:lnTo>
                  <a:lnTo>
                    <a:pt x="1736" y="568"/>
                  </a:lnTo>
                  <a:lnTo>
                    <a:pt x="1736" y="568"/>
                  </a:lnTo>
                  <a:lnTo>
                    <a:pt x="1796" y="568"/>
                  </a:lnTo>
                  <a:lnTo>
                    <a:pt x="1855" y="566"/>
                  </a:lnTo>
                  <a:lnTo>
                    <a:pt x="1913" y="564"/>
                  </a:lnTo>
                  <a:lnTo>
                    <a:pt x="1970" y="561"/>
                  </a:lnTo>
                  <a:lnTo>
                    <a:pt x="2028" y="555"/>
                  </a:lnTo>
                  <a:lnTo>
                    <a:pt x="2083" y="550"/>
                  </a:lnTo>
                  <a:lnTo>
                    <a:pt x="2138" y="544"/>
                  </a:lnTo>
                  <a:lnTo>
                    <a:pt x="2192" y="537"/>
                  </a:lnTo>
                  <a:lnTo>
                    <a:pt x="2192" y="537"/>
                  </a:lnTo>
                  <a:lnTo>
                    <a:pt x="2289" y="1520"/>
                  </a:lnTo>
                  <a:lnTo>
                    <a:pt x="2289" y="1520"/>
                  </a:lnTo>
                  <a:lnTo>
                    <a:pt x="2223" y="1530"/>
                  </a:lnTo>
                  <a:lnTo>
                    <a:pt x="2155" y="1537"/>
                  </a:lnTo>
                  <a:lnTo>
                    <a:pt x="2087" y="1544"/>
                  </a:lnTo>
                  <a:lnTo>
                    <a:pt x="2018" y="1549"/>
                  </a:lnTo>
                  <a:lnTo>
                    <a:pt x="1948" y="1554"/>
                  </a:lnTo>
                  <a:lnTo>
                    <a:pt x="1877" y="1557"/>
                  </a:lnTo>
                  <a:lnTo>
                    <a:pt x="1805" y="1559"/>
                  </a:lnTo>
                  <a:lnTo>
                    <a:pt x="1732" y="1560"/>
                  </a:lnTo>
                  <a:lnTo>
                    <a:pt x="1732" y="1560"/>
                  </a:lnTo>
                  <a:close/>
                  <a:moveTo>
                    <a:pt x="3228" y="1191"/>
                  </a:moveTo>
                  <a:lnTo>
                    <a:pt x="3228" y="1191"/>
                  </a:lnTo>
                  <a:lnTo>
                    <a:pt x="2962" y="275"/>
                  </a:lnTo>
                  <a:lnTo>
                    <a:pt x="2962" y="275"/>
                  </a:lnTo>
                  <a:lnTo>
                    <a:pt x="2982" y="262"/>
                  </a:lnTo>
                  <a:lnTo>
                    <a:pt x="3002" y="247"/>
                  </a:lnTo>
                  <a:lnTo>
                    <a:pt x="3020" y="231"/>
                  </a:lnTo>
                  <a:lnTo>
                    <a:pt x="3037" y="217"/>
                  </a:lnTo>
                  <a:lnTo>
                    <a:pt x="3054" y="201"/>
                  </a:lnTo>
                  <a:lnTo>
                    <a:pt x="3069" y="186"/>
                  </a:lnTo>
                  <a:lnTo>
                    <a:pt x="3084" y="170"/>
                  </a:lnTo>
                  <a:lnTo>
                    <a:pt x="3098" y="154"/>
                  </a:lnTo>
                  <a:lnTo>
                    <a:pt x="3111" y="138"/>
                  </a:lnTo>
                  <a:lnTo>
                    <a:pt x="3122" y="121"/>
                  </a:lnTo>
                  <a:lnTo>
                    <a:pt x="3133" y="105"/>
                  </a:lnTo>
                  <a:lnTo>
                    <a:pt x="3142" y="88"/>
                  </a:lnTo>
                  <a:lnTo>
                    <a:pt x="3151" y="71"/>
                  </a:lnTo>
                  <a:lnTo>
                    <a:pt x="3159" y="54"/>
                  </a:lnTo>
                  <a:lnTo>
                    <a:pt x="3165" y="37"/>
                  </a:lnTo>
                  <a:lnTo>
                    <a:pt x="3170" y="19"/>
                  </a:lnTo>
                  <a:lnTo>
                    <a:pt x="3170" y="19"/>
                  </a:lnTo>
                  <a:lnTo>
                    <a:pt x="3464" y="848"/>
                  </a:lnTo>
                  <a:lnTo>
                    <a:pt x="3464" y="848"/>
                  </a:lnTo>
                  <a:lnTo>
                    <a:pt x="3461" y="871"/>
                  </a:lnTo>
                  <a:lnTo>
                    <a:pt x="3456" y="894"/>
                  </a:lnTo>
                  <a:lnTo>
                    <a:pt x="3450" y="917"/>
                  </a:lnTo>
                  <a:lnTo>
                    <a:pt x="3441" y="940"/>
                  </a:lnTo>
                  <a:lnTo>
                    <a:pt x="3432" y="963"/>
                  </a:lnTo>
                  <a:lnTo>
                    <a:pt x="3421" y="985"/>
                  </a:lnTo>
                  <a:lnTo>
                    <a:pt x="3408" y="1007"/>
                  </a:lnTo>
                  <a:lnTo>
                    <a:pt x="3394" y="1028"/>
                  </a:lnTo>
                  <a:lnTo>
                    <a:pt x="3378" y="1049"/>
                  </a:lnTo>
                  <a:lnTo>
                    <a:pt x="3360" y="1071"/>
                  </a:lnTo>
                  <a:lnTo>
                    <a:pt x="3342" y="1092"/>
                  </a:lnTo>
                  <a:lnTo>
                    <a:pt x="3322" y="1112"/>
                  </a:lnTo>
                  <a:lnTo>
                    <a:pt x="3300" y="1133"/>
                  </a:lnTo>
                  <a:lnTo>
                    <a:pt x="3278" y="1152"/>
                  </a:lnTo>
                  <a:lnTo>
                    <a:pt x="3253" y="1172"/>
                  </a:lnTo>
                  <a:lnTo>
                    <a:pt x="3228" y="1191"/>
                  </a:lnTo>
                  <a:lnTo>
                    <a:pt x="3228" y="1191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5" name="Freeform 59"/>
            <p:cNvSpPr>
              <a:spLocks noEditPoints="1"/>
            </p:cNvSpPr>
            <p:nvPr/>
          </p:nvSpPr>
          <p:spPr bwMode="auto">
            <a:xfrm flipH="1">
              <a:off x="6953353" y="2226262"/>
              <a:ext cx="424440" cy="176719"/>
            </a:xfrm>
            <a:custGeom>
              <a:avLst/>
              <a:gdLst>
                <a:gd name="T0" fmla="*/ 1155 w 2305"/>
                <a:gd name="T1" fmla="*/ 237 h 1240"/>
                <a:gd name="T2" fmla="*/ 1014 w 2305"/>
                <a:gd name="T3" fmla="*/ 232 h 1240"/>
                <a:gd name="T4" fmla="*/ 879 w 2305"/>
                <a:gd name="T5" fmla="*/ 219 h 1240"/>
                <a:gd name="T6" fmla="*/ 752 w 2305"/>
                <a:gd name="T7" fmla="*/ 199 h 1240"/>
                <a:gd name="T8" fmla="*/ 635 w 2305"/>
                <a:gd name="T9" fmla="*/ 170 h 1240"/>
                <a:gd name="T10" fmla="*/ 528 w 2305"/>
                <a:gd name="T11" fmla="*/ 136 h 1240"/>
                <a:gd name="T12" fmla="*/ 479 w 2305"/>
                <a:gd name="T13" fmla="*/ 117 h 1240"/>
                <a:gd name="T14" fmla="*/ 433 w 2305"/>
                <a:gd name="T15" fmla="*/ 96 h 1240"/>
                <a:gd name="T16" fmla="*/ 390 w 2305"/>
                <a:gd name="T17" fmla="*/ 74 h 1240"/>
                <a:gd name="T18" fmla="*/ 352 w 2305"/>
                <a:gd name="T19" fmla="*/ 51 h 1240"/>
                <a:gd name="T20" fmla="*/ 316 w 2305"/>
                <a:gd name="T21" fmla="*/ 26 h 1240"/>
                <a:gd name="T22" fmla="*/ 285 w 2305"/>
                <a:gd name="T23" fmla="*/ 0 h 1240"/>
                <a:gd name="T24" fmla="*/ 0 w 2305"/>
                <a:gd name="T25" fmla="*/ 805 h 1240"/>
                <a:gd name="T26" fmla="*/ 9 w 2305"/>
                <a:gd name="T27" fmla="*/ 828 h 1240"/>
                <a:gd name="T28" fmla="*/ 32 w 2305"/>
                <a:gd name="T29" fmla="*/ 872 h 1240"/>
                <a:gd name="T30" fmla="*/ 65 w 2305"/>
                <a:gd name="T31" fmla="*/ 915 h 1240"/>
                <a:gd name="T32" fmla="*/ 105 w 2305"/>
                <a:gd name="T33" fmla="*/ 956 h 1240"/>
                <a:gd name="T34" fmla="*/ 155 w 2305"/>
                <a:gd name="T35" fmla="*/ 996 h 1240"/>
                <a:gd name="T36" fmla="*/ 211 w 2305"/>
                <a:gd name="T37" fmla="*/ 1032 h 1240"/>
                <a:gd name="T38" fmla="*/ 276 w 2305"/>
                <a:gd name="T39" fmla="*/ 1067 h 1240"/>
                <a:gd name="T40" fmla="*/ 347 w 2305"/>
                <a:gd name="T41" fmla="*/ 1099 h 1240"/>
                <a:gd name="T42" fmla="*/ 424 w 2305"/>
                <a:gd name="T43" fmla="*/ 1128 h 1240"/>
                <a:gd name="T44" fmla="*/ 507 w 2305"/>
                <a:gd name="T45" fmla="*/ 1154 h 1240"/>
                <a:gd name="T46" fmla="*/ 595 w 2305"/>
                <a:gd name="T47" fmla="*/ 1177 h 1240"/>
                <a:gd name="T48" fmla="*/ 688 w 2305"/>
                <a:gd name="T49" fmla="*/ 1197 h 1240"/>
                <a:gd name="T50" fmla="*/ 785 w 2305"/>
                <a:gd name="T51" fmla="*/ 1213 h 1240"/>
                <a:gd name="T52" fmla="*/ 887 w 2305"/>
                <a:gd name="T53" fmla="*/ 1226 h 1240"/>
                <a:gd name="T54" fmla="*/ 992 w 2305"/>
                <a:gd name="T55" fmla="*/ 1234 h 1240"/>
                <a:gd name="T56" fmla="*/ 1100 w 2305"/>
                <a:gd name="T57" fmla="*/ 1238 h 1240"/>
                <a:gd name="T58" fmla="*/ 1155 w 2305"/>
                <a:gd name="T59" fmla="*/ 1240 h 1240"/>
                <a:gd name="T60" fmla="*/ 1250 w 2305"/>
                <a:gd name="T61" fmla="*/ 1237 h 1240"/>
                <a:gd name="T62" fmla="*/ 1343 w 2305"/>
                <a:gd name="T63" fmla="*/ 1232 h 1240"/>
                <a:gd name="T64" fmla="*/ 1433 w 2305"/>
                <a:gd name="T65" fmla="*/ 1225 h 1240"/>
                <a:gd name="T66" fmla="*/ 1520 w 2305"/>
                <a:gd name="T67" fmla="*/ 1213 h 1240"/>
                <a:gd name="T68" fmla="*/ 1424 w 2305"/>
                <a:gd name="T69" fmla="*/ 220 h 1240"/>
                <a:gd name="T70" fmla="*/ 1359 w 2305"/>
                <a:gd name="T71" fmla="*/ 228 h 1240"/>
                <a:gd name="T72" fmla="*/ 1225 w 2305"/>
                <a:gd name="T73" fmla="*/ 236 h 1240"/>
                <a:gd name="T74" fmla="*/ 1155 w 2305"/>
                <a:gd name="T75" fmla="*/ 237 h 1240"/>
                <a:gd name="T76" fmla="*/ 2130 w 2305"/>
                <a:gd name="T77" fmla="*/ 1013 h 1240"/>
                <a:gd name="T78" fmla="*/ 1866 w 2305"/>
                <a:gd name="T79" fmla="*/ 103 h 1240"/>
                <a:gd name="T80" fmla="*/ 1908 w 2305"/>
                <a:gd name="T81" fmla="*/ 81 h 1240"/>
                <a:gd name="T82" fmla="*/ 1948 w 2305"/>
                <a:gd name="T83" fmla="*/ 58 h 1240"/>
                <a:gd name="T84" fmla="*/ 1984 w 2305"/>
                <a:gd name="T85" fmla="*/ 34 h 1240"/>
                <a:gd name="T86" fmla="*/ 2015 w 2305"/>
                <a:gd name="T87" fmla="*/ 9 h 1240"/>
                <a:gd name="T88" fmla="*/ 2305 w 2305"/>
                <a:gd name="T89" fmla="*/ 822 h 1240"/>
                <a:gd name="T90" fmla="*/ 2300 w 2305"/>
                <a:gd name="T91" fmla="*/ 835 h 1240"/>
                <a:gd name="T92" fmla="*/ 2287 w 2305"/>
                <a:gd name="T93" fmla="*/ 860 h 1240"/>
                <a:gd name="T94" fmla="*/ 2270 w 2305"/>
                <a:gd name="T95" fmla="*/ 886 h 1240"/>
                <a:gd name="T96" fmla="*/ 2250 w 2305"/>
                <a:gd name="T97" fmla="*/ 910 h 1240"/>
                <a:gd name="T98" fmla="*/ 2217 w 2305"/>
                <a:gd name="T99" fmla="*/ 946 h 1240"/>
                <a:gd name="T100" fmla="*/ 2162 w 2305"/>
                <a:gd name="T101" fmla="*/ 992 h 1240"/>
                <a:gd name="T102" fmla="*/ 2130 w 2305"/>
                <a:gd name="T103" fmla="*/ 1013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05" h="1240">
                  <a:moveTo>
                    <a:pt x="1155" y="237"/>
                  </a:moveTo>
                  <a:lnTo>
                    <a:pt x="1155" y="237"/>
                  </a:lnTo>
                  <a:lnTo>
                    <a:pt x="1084" y="236"/>
                  </a:lnTo>
                  <a:lnTo>
                    <a:pt x="1014" y="232"/>
                  </a:lnTo>
                  <a:lnTo>
                    <a:pt x="945" y="227"/>
                  </a:lnTo>
                  <a:lnTo>
                    <a:pt x="879" y="219"/>
                  </a:lnTo>
                  <a:lnTo>
                    <a:pt x="814" y="210"/>
                  </a:lnTo>
                  <a:lnTo>
                    <a:pt x="752" y="199"/>
                  </a:lnTo>
                  <a:lnTo>
                    <a:pt x="692" y="186"/>
                  </a:lnTo>
                  <a:lnTo>
                    <a:pt x="635" y="170"/>
                  </a:lnTo>
                  <a:lnTo>
                    <a:pt x="580" y="155"/>
                  </a:lnTo>
                  <a:lnTo>
                    <a:pt x="528" y="136"/>
                  </a:lnTo>
                  <a:lnTo>
                    <a:pt x="503" y="127"/>
                  </a:lnTo>
                  <a:lnTo>
                    <a:pt x="479" y="117"/>
                  </a:lnTo>
                  <a:lnTo>
                    <a:pt x="455" y="107"/>
                  </a:lnTo>
                  <a:lnTo>
                    <a:pt x="433" y="96"/>
                  </a:lnTo>
                  <a:lnTo>
                    <a:pt x="411" y="85"/>
                  </a:lnTo>
                  <a:lnTo>
                    <a:pt x="390" y="74"/>
                  </a:lnTo>
                  <a:lnTo>
                    <a:pt x="371" y="62"/>
                  </a:lnTo>
                  <a:lnTo>
                    <a:pt x="352" y="51"/>
                  </a:lnTo>
                  <a:lnTo>
                    <a:pt x="333" y="38"/>
                  </a:lnTo>
                  <a:lnTo>
                    <a:pt x="316" y="26"/>
                  </a:lnTo>
                  <a:lnTo>
                    <a:pt x="301" y="13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0" y="805"/>
                  </a:lnTo>
                  <a:lnTo>
                    <a:pt x="0" y="805"/>
                  </a:lnTo>
                  <a:lnTo>
                    <a:pt x="9" y="828"/>
                  </a:lnTo>
                  <a:lnTo>
                    <a:pt x="19" y="850"/>
                  </a:lnTo>
                  <a:lnTo>
                    <a:pt x="32" y="872"/>
                  </a:lnTo>
                  <a:lnTo>
                    <a:pt x="47" y="894"/>
                  </a:lnTo>
                  <a:lnTo>
                    <a:pt x="65" y="915"/>
                  </a:lnTo>
                  <a:lnTo>
                    <a:pt x="85" y="936"/>
                  </a:lnTo>
                  <a:lnTo>
                    <a:pt x="105" y="956"/>
                  </a:lnTo>
                  <a:lnTo>
                    <a:pt x="129" y="976"/>
                  </a:lnTo>
                  <a:lnTo>
                    <a:pt x="155" y="996"/>
                  </a:lnTo>
                  <a:lnTo>
                    <a:pt x="182" y="1014"/>
                  </a:lnTo>
                  <a:lnTo>
                    <a:pt x="211" y="1032"/>
                  </a:lnTo>
                  <a:lnTo>
                    <a:pt x="243" y="1050"/>
                  </a:lnTo>
                  <a:lnTo>
                    <a:pt x="276" y="1067"/>
                  </a:lnTo>
                  <a:lnTo>
                    <a:pt x="310" y="1083"/>
                  </a:lnTo>
                  <a:lnTo>
                    <a:pt x="347" y="1099"/>
                  </a:lnTo>
                  <a:lnTo>
                    <a:pt x="384" y="1113"/>
                  </a:lnTo>
                  <a:lnTo>
                    <a:pt x="424" y="1128"/>
                  </a:lnTo>
                  <a:lnTo>
                    <a:pt x="464" y="1142"/>
                  </a:lnTo>
                  <a:lnTo>
                    <a:pt x="507" y="1154"/>
                  </a:lnTo>
                  <a:lnTo>
                    <a:pt x="550" y="1167"/>
                  </a:lnTo>
                  <a:lnTo>
                    <a:pt x="595" y="1177"/>
                  </a:lnTo>
                  <a:lnTo>
                    <a:pt x="641" y="1187"/>
                  </a:lnTo>
                  <a:lnTo>
                    <a:pt x="688" y="1197"/>
                  </a:lnTo>
                  <a:lnTo>
                    <a:pt x="736" y="1205"/>
                  </a:lnTo>
                  <a:lnTo>
                    <a:pt x="785" y="1213"/>
                  </a:lnTo>
                  <a:lnTo>
                    <a:pt x="836" y="1220"/>
                  </a:lnTo>
                  <a:lnTo>
                    <a:pt x="887" y="1226"/>
                  </a:lnTo>
                  <a:lnTo>
                    <a:pt x="939" y="1230"/>
                  </a:lnTo>
                  <a:lnTo>
                    <a:pt x="992" y="1234"/>
                  </a:lnTo>
                  <a:lnTo>
                    <a:pt x="1046" y="1236"/>
                  </a:lnTo>
                  <a:lnTo>
                    <a:pt x="1100" y="1238"/>
                  </a:lnTo>
                  <a:lnTo>
                    <a:pt x="1155" y="1240"/>
                  </a:lnTo>
                  <a:lnTo>
                    <a:pt x="1155" y="1240"/>
                  </a:lnTo>
                  <a:lnTo>
                    <a:pt x="1203" y="1238"/>
                  </a:lnTo>
                  <a:lnTo>
                    <a:pt x="1250" y="1237"/>
                  </a:lnTo>
                  <a:lnTo>
                    <a:pt x="1297" y="1235"/>
                  </a:lnTo>
                  <a:lnTo>
                    <a:pt x="1343" y="1232"/>
                  </a:lnTo>
                  <a:lnTo>
                    <a:pt x="1388" y="1229"/>
                  </a:lnTo>
                  <a:lnTo>
                    <a:pt x="1433" y="1225"/>
                  </a:lnTo>
                  <a:lnTo>
                    <a:pt x="1477" y="1220"/>
                  </a:lnTo>
                  <a:lnTo>
                    <a:pt x="1520" y="1213"/>
                  </a:lnTo>
                  <a:lnTo>
                    <a:pt x="1520" y="1213"/>
                  </a:lnTo>
                  <a:lnTo>
                    <a:pt x="1424" y="220"/>
                  </a:lnTo>
                  <a:lnTo>
                    <a:pt x="1424" y="220"/>
                  </a:lnTo>
                  <a:lnTo>
                    <a:pt x="1359" y="228"/>
                  </a:lnTo>
                  <a:lnTo>
                    <a:pt x="1293" y="233"/>
                  </a:lnTo>
                  <a:lnTo>
                    <a:pt x="1225" y="236"/>
                  </a:lnTo>
                  <a:lnTo>
                    <a:pt x="1155" y="237"/>
                  </a:lnTo>
                  <a:lnTo>
                    <a:pt x="1155" y="237"/>
                  </a:lnTo>
                  <a:close/>
                  <a:moveTo>
                    <a:pt x="2130" y="1013"/>
                  </a:moveTo>
                  <a:lnTo>
                    <a:pt x="2130" y="1013"/>
                  </a:lnTo>
                  <a:lnTo>
                    <a:pt x="1866" y="103"/>
                  </a:lnTo>
                  <a:lnTo>
                    <a:pt x="1866" y="103"/>
                  </a:lnTo>
                  <a:lnTo>
                    <a:pt x="1887" y="91"/>
                  </a:lnTo>
                  <a:lnTo>
                    <a:pt x="1908" y="81"/>
                  </a:lnTo>
                  <a:lnTo>
                    <a:pt x="1929" y="69"/>
                  </a:lnTo>
                  <a:lnTo>
                    <a:pt x="1948" y="58"/>
                  </a:lnTo>
                  <a:lnTo>
                    <a:pt x="1966" y="46"/>
                  </a:lnTo>
                  <a:lnTo>
                    <a:pt x="1984" y="34"/>
                  </a:lnTo>
                  <a:lnTo>
                    <a:pt x="2000" y="21"/>
                  </a:lnTo>
                  <a:lnTo>
                    <a:pt x="2015" y="9"/>
                  </a:lnTo>
                  <a:lnTo>
                    <a:pt x="2015" y="9"/>
                  </a:lnTo>
                  <a:lnTo>
                    <a:pt x="2305" y="822"/>
                  </a:lnTo>
                  <a:lnTo>
                    <a:pt x="2305" y="822"/>
                  </a:lnTo>
                  <a:lnTo>
                    <a:pt x="2300" y="835"/>
                  </a:lnTo>
                  <a:lnTo>
                    <a:pt x="2294" y="848"/>
                  </a:lnTo>
                  <a:lnTo>
                    <a:pt x="2287" y="860"/>
                  </a:lnTo>
                  <a:lnTo>
                    <a:pt x="2278" y="874"/>
                  </a:lnTo>
                  <a:lnTo>
                    <a:pt x="2270" y="886"/>
                  </a:lnTo>
                  <a:lnTo>
                    <a:pt x="2261" y="898"/>
                  </a:lnTo>
                  <a:lnTo>
                    <a:pt x="2250" y="910"/>
                  </a:lnTo>
                  <a:lnTo>
                    <a:pt x="2240" y="923"/>
                  </a:lnTo>
                  <a:lnTo>
                    <a:pt x="2217" y="946"/>
                  </a:lnTo>
                  <a:lnTo>
                    <a:pt x="2190" y="970"/>
                  </a:lnTo>
                  <a:lnTo>
                    <a:pt x="2162" y="992"/>
                  </a:lnTo>
                  <a:lnTo>
                    <a:pt x="2130" y="1013"/>
                  </a:lnTo>
                  <a:lnTo>
                    <a:pt x="2130" y="1013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6" name="Freeform 60"/>
            <p:cNvSpPr>
              <a:spLocks/>
            </p:cNvSpPr>
            <p:nvPr/>
          </p:nvSpPr>
          <p:spPr bwMode="auto">
            <a:xfrm flipH="1">
              <a:off x="6917231" y="2925397"/>
              <a:ext cx="1290" cy="0"/>
            </a:xfrm>
            <a:custGeom>
              <a:avLst/>
              <a:gdLst>
                <a:gd name="T0" fmla="*/ 4 w 4"/>
                <a:gd name="T1" fmla="*/ 0 h 1"/>
                <a:gd name="T2" fmla="*/ 4 w 4"/>
                <a:gd name="T3" fmla="*/ 0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7" name="Freeform 61"/>
            <p:cNvSpPr>
              <a:spLocks/>
            </p:cNvSpPr>
            <p:nvPr/>
          </p:nvSpPr>
          <p:spPr bwMode="auto">
            <a:xfrm flipH="1">
              <a:off x="6917231" y="2925397"/>
              <a:ext cx="1290" cy="0"/>
            </a:xfrm>
            <a:custGeom>
              <a:avLst/>
              <a:gdLst>
                <a:gd name="T0" fmla="*/ 4 w 4"/>
                <a:gd name="T1" fmla="*/ 0 h 1"/>
                <a:gd name="T2" fmla="*/ 4 w 4"/>
                <a:gd name="T3" fmla="*/ 0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8" name="Freeform 62"/>
            <p:cNvSpPr>
              <a:spLocks/>
            </p:cNvSpPr>
            <p:nvPr/>
          </p:nvSpPr>
          <p:spPr bwMode="auto">
            <a:xfrm flipH="1">
              <a:off x="6793383" y="2884120"/>
              <a:ext cx="0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69" name="Freeform 63"/>
            <p:cNvSpPr>
              <a:spLocks/>
            </p:cNvSpPr>
            <p:nvPr/>
          </p:nvSpPr>
          <p:spPr bwMode="auto">
            <a:xfrm flipH="1">
              <a:off x="6793383" y="2884120"/>
              <a:ext cx="0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0" name="Freeform 64"/>
            <p:cNvSpPr>
              <a:spLocks/>
            </p:cNvSpPr>
            <p:nvPr/>
          </p:nvSpPr>
          <p:spPr bwMode="auto">
            <a:xfrm flipH="1">
              <a:off x="6926262" y="2927977"/>
              <a:ext cx="101917" cy="16769"/>
            </a:xfrm>
            <a:custGeom>
              <a:avLst/>
              <a:gdLst>
                <a:gd name="T0" fmla="*/ 556 w 556"/>
                <a:gd name="T1" fmla="*/ 0 h 116"/>
                <a:gd name="T2" fmla="*/ 556 w 556"/>
                <a:gd name="T3" fmla="*/ 0 h 116"/>
                <a:gd name="T4" fmla="*/ 497 w 556"/>
                <a:gd name="T5" fmla="*/ 16 h 116"/>
                <a:gd name="T6" fmla="*/ 439 w 556"/>
                <a:gd name="T7" fmla="*/ 32 h 116"/>
                <a:gd name="T8" fmla="*/ 385 w 556"/>
                <a:gd name="T9" fmla="*/ 46 h 116"/>
                <a:gd name="T10" fmla="*/ 333 w 556"/>
                <a:gd name="T11" fmla="*/ 58 h 116"/>
                <a:gd name="T12" fmla="*/ 284 w 556"/>
                <a:gd name="T13" fmla="*/ 69 h 116"/>
                <a:gd name="T14" fmla="*/ 239 w 556"/>
                <a:gd name="T15" fmla="*/ 79 h 116"/>
                <a:gd name="T16" fmla="*/ 157 w 556"/>
                <a:gd name="T17" fmla="*/ 94 h 116"/>
                <a:gd name="T18" fmla="*/ 91 w 556"/>
                <a:gd name="T19" fmla="*/ 105 h 116"/>
                <a:gd name="T20" fmla="*/ 41 w 556"/>
                <a:gd name="T21" fmla="*/ 112 h 116"/>
                <a:gd name="T22" fmla="*/ 0 w 556"/>
                <a:gd name="T23" fmla="*/ 116 h 116"/>
                <a:gd name="T24" fmla="*/ 0 w 556"/>
                <a:gd name="T25" fmla="*/ 116 h 116"/>
                <a:gd name="T26" fmla="*/ 66 w 556"/>
                <a:gd name="T27" fmla="*/ 107 h 116"/>
                <a:gd name="T28" fmla="*/ 135 w 556"/>
                <a:gd name="T29" fmla="*/ 96 h 116"/>
                <a:gd name="T30" fmla="*/ 203 w 556"/>
                <a:gd name="T31" fmla="*/ 83 h 116"/>
                <a:gd name="T32" fmla="*/ 273 w 556"/>
                <a:gd name="T33" fmla="*/ 70 h 116"/>
                <a:gd name="T34" fmla="*/ 344 w 556"/>
                <a:gd name="T35" fmla="*/ 55 h 116"/>
                <a:gd name="T36" fmla="*/ 414 w 556"/>
                <a:gd name="T37" fmla="*/ 38 h 116"/>
                <a:gd name="T38" fmla="*/ 485 w 556"/>
                <a:gd name="T39" fmla="*/ 20 h 116"/>
                <a:gd name="T40" fmla="*/ 556 w 556"/>
                <a:gd name="T4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6" h="116">
                  <a:moveTo>
                    <a:pt x="556" y="0"/>
                  </a:moveTo>
                  <a:lnTo>
                    <a:pt x="556" y="0"/>
                  </a:lnTo>
                  <a:lnTo>
                    <a:pt x="497" y="16"/>
                  </a:lnTo>
                  <a:lnTo>
                    <a:pt x="439" y="32"/>
                  </a:lnTo>
                  <a:lnTo>
                    <a:pt x="385" y="46"/>
                  </a:lnTo>
                  <a:lnTo>
                    <a:pt x="333" y="58"/>
                  </a:lnTo>
                  <a:lnTo>
                    <a:pt x="284" y="69"/>
                  </a:lnTo>
                  <a:lnTo>
                    <a:pt x="239" y="79"/>
                  </a:lnTo>
                  <a:lnTo>
                    <a:pt x="157" y="94"/>
                  </a:lnTo>
                  <a:lnTo>
                    <a:pt x="91" y="105"/>
                  </a:lnTo>
                  <a:lnTo>
                    <a:pt x="41" y="11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66" y="107"/>
                  </a:lnTo>
                  <a:lnTo>
                    <a:pt x="135" y="96"/>
                  </a:lnTo>
                  <a:lnTo>
                    <a:pt x="203" y="83"/>
                  </a:lnTo>
                  <a:lnTo>
                    <a:pt x="273" y="70"/>
                  </a:lnTo>
                  <a:lnTo>
                    <a:pt x="344" y="55"/>
                  </a:lnTo>
                  <a:lnTo>
                    <a:pt x="414" y="38"/>
                  </a:lnTo>
                  <a:lnTo>
                    <a:pt x="485" y="20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1" name="Freeform 65"/>
            <p:cNvSpPr>
              <a:spLocks/>
            </p:cNvSpPr>
            <p:nvPr/>
          </p:nvSpPr>
          <p:spPr bwMode="auto">
            <a:xfrm flipH="1">
              <a:off x="6926262" y="2927977"/>
              <a:ext cx="101917" cy="16769"/>
            </a:xfrm>
            <a:custGeom>
              <a:avLst/>
              <a:gdLst>
                <a:gd name="T0" fmla="*/ 556 w 556"/>
                <a:gd name="T1" fmla="*/ 0 h 116"/>
                <a:gd name="T2" fmla="*/ 556 w 556"/>
                <a:gd name="T3" fmla="*/ 0 h 116"/>
                <a:gd name="T4" fmla="*/ 497 w 556"/>
                <a:gd name="T5" fmla="*/ 16 h 116"/>
                <a:gd name="T6" fmla="*/ 439 w 556"/>
                <a:gd name="T7" fmla="*/ 32 h 116"/>
                <a:gd name="T8" fmla="*/ 385 w 556"/>
                <a:gd name="T9" fmla="*/ 46 h 116"/>
                <a:gd name="T10" fmla="*/ 333 w 556"/>
                <a:gd name="T11" fmla="*/ 58 h 116"/>
                <a:gd name="T12" fmla="*/ 284 w 556"/>
                <a:gd name="T13" fmla="*/ 69 h 116"/>
                <a:gd name="T14" fmla="*/ 239 w 556"/>
                <a:gd name="T15" fmla="*/ 79 h 116"/>
                <a:gd name="T16" fmla="*/ 157 w 556"/>
                <a:gd name="T17" fmla="*/ 94 h 116"/>
                <a:gd name="T18" fmla="*/ 91 w 556"/>
                <a:gd name="T19" fmla="*/ 105 h 116"/>
                <a:gd name="T20" fmla="*/ 41 w 556"/>
                <a:gd name="T21" fmla="*/ 112 h 116"/>
                <a:gd name="T22" fmla="*/ 0 w 556"/>
                <a:gd name="T23" fmla="*/ 116 h 116"/>
                <a:gd name="T24" fmla="*/ 0 w 556"/>
                <a:gd name="T25" fmla="*/ 116 h 116"/>
                <a:gd name="T26" fmla="*/ 66 w 556"/>
                <a:gd name="T27" fmla="*/ 107 h 116"/>
                <a:gd name="T28" fmla="*/ 135 w 556"/>
                <a:gd name="T29" fmla="*/ 96 h 116"/>
                <a:gd name="T30" fmla="*/ 203 w 556"/>
                <a:gd name="T31" fmla="*/ 83 h 116"/>
                <a:gd name="T32" fmla="*/ 273 w 556"/>
                <a:gd name="T33" fmla="*/ 70 h 116"/>
                <a:gd name="T34" fmla="*/ 344 w 556"/>
                <a:gd name="T35" fmla="*/ 55 h 116"/>
                <a:gd name="T36" fmla="*/ 414 w 556"/>
                <a:gd name="T37" fmla="*/ 38 h 116"/>
                <a:gd name="T38" fmla="*/ 485 w 556"/>
                <a:gd name="T39" fmla="*/ 20 h 116"/>
                <a:gd name="T40" fmla="*/ 556 w 556"/>
                <a:gd name="T4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6" h="116">
                  <a:moveTo>
                    <a:pt x="556" y="0"/>
                  </a:moveTo>
                  <a:lnTo>
                    <a:pt x="556" y="0"/>
                  </a:lnTo>
                  <a:lnTo>
                    <a:pt x="497" y="16"/>
                  </a:lnTo>
                  <a:lnTo>
                    <a:pt x="439" y="32"/>
                  </a:lnTo>
                  <a:lnTo>
                    <a:pt x="385" y="46"/>
                  </a:lnTo>
                  <a:lnTo>
                    <a:pt x="333" y="58"/>
                  </a:lnTo>
                  <a:lnTo>
                    <a:pt x="284" y="69"/>
                  </a:lnTo>
                  <a:lnTo>
                    <a:pt x="239" y="79"/>
                  </a:lnTo>
                  <a:lnTo>
                    <a:pt x="157" y="94"/>
                  </a:lnTo>
                  <a:lnTo>
                    <a:pt x="91" y="105"/>
                  </a:lnTo>
                  <a:lnTo>
                    <a:pt x="41" y="11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66" y="107"/>
                  </a:lnTo>
                  <a:lnTo>
                    <a:pt x="135" y="96"/>
                  </a:lnTo>
                  <a:lnTo>
                    <a:pt x="203" y="83"/>
                  </a:lnTo>
                  <a:lnTo>
                    <a:pt x="273" y="70"/>
                  </a:lnTo>
                  <a:lnTo>
                    <a:pt x="344" y="55"/>
                  </a:lnTo>
                  <a:lnTo>
                    <a:pt x="414" y="38"/>
                  </a:lnTo>
                  <a:lnTo>
                    <a:pt x="485" y="20"/>
                  </a:lnTo>
                  <a:lnTo>
                    <a:pt x="5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2" name="Freeform 66"/>
            <p:cNvSpPr>
              <a:spLocks/>
            </p:cNvSpPr>
            <p:nvPr/>
          </p:nvSpPr>
          <p:spPr bwMode="auto">
            <a:xfrm flipH="1">
              <a:off x="6921102" y="2926687"/>
              <a:ext cx="2580" cy="0"/>
            </a:xfrm>
            <a:custGeom>
              <a:avLst/>
              <a:gdLst>
                <a:gd name="T0" fmla="*/ 14 w 14"/>
                <a:gd name="T1" fmla="*/ 0 h 5"/>
                <a:gd name="T2" fmla="*/ 14 w 14"/>
                <a:gd name="T3" fmla="*/ 0 h 5"/>
                <a:gd name="T4" fmla="*/ 0 w 14"/>
                <a:gd name="T5" fmla="*/ 5 h 5"/>
                <a:gd name="T6" fmla="*/ 0 w 14"/>
                <a:gd name="T7" fmla="*/ 5 h 5"/>
                <a:gd name="T8" fmla="*/ 14 w 1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1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3" name="Freeform 67"/>
            <p:cNvSpPr>
              <a:spLocks/>
            </p:cNvSpPr>
            <p:nvPr/>
          </p:nvSpPr>
          <p:spPr bwMode="auto">
            <a:xfrm flipH="1">
              <a:off x="6921102" y="2926687"/>
              <a:ext cx="2580" cy="0"/>
            </a:xfrm>
            <a:custGeom>
              <a:avLst/>
              <a:gdLst>
                <a:gd name="T0" fmla="*/ 14 w 14"/>
                <a:gd name="T1" fmla="*/ 0 h 5"/>
                <a:gd name="T2" fmla="*/ 14 w 14"/>
                <a:gd name="T3" fmla="*/ 0 h 5"/>
                <a:gd name="T4" fmla="*/ 0 w 14"/>
                <a:gd name="T5" fmla="*/ 5 h 5"/>
                <a:gd name="T6" fmla="*/ 0 w 14"/>
                <a:gd name="T7" fmla="*/ 5 h 5"/>
                <a:gd name="T8" fmla="*/ 14 w 1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1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4" name="Freeform 68"/>
            <p:cNvSpPr>
              <a:spLocks/>
            </p:cNvSpPr>
            <p:nvPr/>
          </p:nvSpPr>
          <p:spPr bwMode="auto">
            <a:xfrm flipH="1">
              <a:off x="6793383" y="2749969"/>
              <a:ext cx="252858" cy="194778"/>
            </a:xfrm>
            <a:custGeom>
              <a:avLst/>
              <a:gdLst>
                <a:gd name="T0" fmla="*/ 1101 w 1372"/>
                <a:gd name="T1" fmla="*/ 0 h 1352"/>
                <a:gd name="T2" fmla="*/ 1101 w 1372"/>
                <a:gd name="T3" fmla="*/ 0 h 1352"/>
                <a:gd name="T4" fmla="*/ 1372 w 1372"/>
                <a:gd name="T5" fmla="*/ 930 h 1352"/>
                <a:gd name="T6" fmla="*/ 1371 w 1372"/>
                <a:gd name="T7" fmla="*/ 930 h 1352"/>
                <a:gd name="T8" fmla="*/ 1371 w 1372"/>
                <a:gd name="T9" fmla="*/ 930 h 1352"/>
                <a:gd name="T10" fmla="*/ 1329 w 1372"/>
                <a:gd name="T11" fmla="*/ 955 h 1352"/>
                <a:gd name="T12" fmla="*/ 1285 w 1372"/>
                <a:gd name="T13" fmla="*/ 978 h 1352"/>
                <a:gd name="T14" fmla="*/ 1241 w 1372"/>
                <a:gd name="T15" fmla="*/ 1001 h 1352"/>
                <a:gd name="T16" fmla="*/ 1198 w 1372"/>
                <a:gd name="T17" fmla="*/ 1023 h 1352"/>
                <a:gd name="T18" fmla="*/ 1154 w 1372"/>
                <a:gd name="T19" fmla="*/ 1045 h 1352"/>
                <a:gd name="T20" fmla="*/ 1110 w 1372"/>
                <a:gd name="T21" fmla="*/ 1065 h 1352"/>
                <a:gd name="T22" fmla="*/ 1068 w 1372"/>
                <a:gd name="T23" fmla="*/ 1085 h 1352"/>
                <a:gd name="T24" fmla="*/ 1024 w 1372"/>
                <a:gd name="T25" fmla="*/ 1102 h 1352"/>
                <a:gd name="T26" fmla="*/ 981 w 1372"/>
                <a:gd name="T27" fmla="*/ 1120 h 1352"/>
                <a:gd name="T28" fmla="*/ 940 w 1372"/>
                <a:gd name="T29" fmla="*/ 1137 h 1352"/>
                <a:gd name="T30" fmla="*/ 857 w 1372"/>
                <a:gd name="T31" fmla="*/ 1168 h 1352"/>
                <a:gd name="T32" fmla="*/ 776 w 1372"/>
                <a:gd name="T33" fmla="*/ 1196 h 1352"/>
                <a:gd name="T34" fmla="*/ 697 w 1372"/>
                <a:gd name="T35" fmla="*/ 1222 h 1352"/>
                <a:gd name="T36" fmla="*/ 697 w 1372"/>
                <a:gd name="T37" fmla="*/ 1222 h 1352"/>
                <a:gd name="T38" fmla="*/ 693 w 1372"/>
                <a:gd name="T39" fmla="*/ 1223 h 1352"/>
                <a:gd name="T40" fmla="*/ 693 w 1372"/>
                <a:gd name="T41" fmla="*/ 1223 h 1352"/>
                <a:gd name="T42" fmla="*/ 676 w 1372"/>
                <a:gd name="T43" fmla="*/ 1228 h 1352"/>
                <a:gd name="T44" fmla="*/ 676 w 1372"/>
                <a:gd name="T45" fmla="*/ 1228 h 1352"/>
                <a:gd name="T46" fmla="*/ 662 w 1372"/>
                <a:gd name="T47" fmla="*/ 1233 h 1352"/>
                <a:gd name="T48" fmla="*/ 662 w 1372"/>
                <a:gd name="T49" fmla="*/ 1233 h 1352"/>
                <a:gd name="T50" fmla="*/ 651 w 1372"/>
                <a:gd name="T51" fmla="*/ 1236 h 1352"/>
                <a:gd name="T52" fmla="*/ 651 w 1372"/>
                <a:gd name="T53" fmla="*/ 1236 h 1352"/>
                <a:gd name="T54" fmla="*/ 580 w 1372"/>
                <a:gd name="T55" fmla="*/ 1256 h 1352"/>
                <a:gd name="T56" fmla="*/ 509 w 1372"/>
                <a:gd name="T57" fmla="*/ 1274 h 1352"/>
                <a:gd name="T58" fmla="*/ 439 w 1372"/>
                <a:gd name="T59" fmla="*/ 1291 h 1352"/>
                <a:gd name="T60" fmla="*/ 368 w 1372"/>
                <a:gd name="T61" fmla="*/ 1306 h 1352"/>
                <a:gd name="T62" fmla="*/ 298 w 1372"/>
                <a:gd name="T63" fmla="*/ 1319 h 1352"/>
                <a:gd name="T64" fmla="*/ 230 w 1372"/>
                <a:gd name="T65" fmla="*/ 1332 h 1352"/>
                <a:gd name="T66" fmla="*/ 161 w 1372"/>
                <a:gd name="T67" fmla="*/ 1343 h 1352"/>
                <a:gd name="T68" fmla="*/ 95 w 1372"/>
                <a:gd name="T69" fmla="*/ 1352 h 1352"/>
                <a:gd name="T70" fmla="*/ 95 w 1372"/>
                <a:gd name="T71" fmla="*/ 1352 h 1352"/>
                <a:gd name="T72" fmla="*/ 0 w 1372"/>
                <a:gd name="T73" fmla="*/ 389 h 1352"/>
                <a:gd name="T74" fmla="*/ 0 w 1372"/>
                <a:gd name="T75" fmla="*/ 389 h 1352"/>
                <a:gd name="T76" fmla="*/ 86 w 1372"/>
                <a:gd name="T77" fmla="*/ 375 h 1352"/>
                <a:gd name="T78" fmla="*/ 172 w 1372"/>
                <a:gd name="T79" fmla="*/ 359 h 1352"/>
                <a:gd name="T80" fmla="*/ 255 w 1372"/>
                <a:gd name="T81" fmla="*/ 343 h 1352"/>
                <a:gd name="T82" fmla="*/ 335 w 1372"/>
                <a:gd name="T83" fmla="*/ 325 h 1352"/>
                <a:gd name="T84" fmla="*/ 414 w 1372"/>
                <a:gd name="T85" fmla="*/ 305 h 1352"/>
                <a:gd name="T86" fmla="*/ 490 w 1372"/>
                <a:gd name="T87" fmla="*/ 283 h 1352"/>
                <a:gd name="T88" fmla="*/ 563 w 1372"/>
                <a:gd name="T89" fmla="*/ 260 h 1352"/>
                <a:gd name="T90" fmla="*/ 634 w 1372"/>
                <a:gd name="T91" fmla="*/ 237 h 1352"/>
                <a:gd name="T92" fmla="*/ 703 w 1372"/>
                <a:gd name="T93" fmla="*/ 212 h 1352"/>
                <a:gd name="T94" fmla="*/ 769 w 1372"/>
                <a:gd name="T95" fmla="*/ 184 h 1352"/>
                <a:gd name="T96" fmla="*/ 832 w 1372"/>
                <a:gd name="T97" fmla="*/ 157 h 1352"/>
                <a:gd name="T98" fmla="*/ 892 w 1372"/>
                <a:gd name="T99" fmla="*/ 128 h 1352"/>
                <a:gd name="T100" fmla="*/ 949 w 1372"/>
                <a:gd name="T101" fmla="*/ 98 h 1352"/>
                <a:gd name="T102" fmla="*/ 976 w 1372"/>
                <a:gd name="T103" fmla="*/ 82 h 1352"/>
                <a:gd name="T104" fmla="*/ 1003 w 1372"/>
                <a:gd name="T105" fmla="*/ 67 h 1352"/>
                <a:gd name="T106" fmla="*/ 1029 w 1372"/>
                <a:gd name="T107" fmla="*/ 50 h 1352"/>
                <a:gd name="T108" fmla="*/ 1054 w 1372"/>
                <a:gd name="T109" fmla="*/ 34 h 1352"/>
                <a:gd name="T110" fmla="*/ 1078 w 1372"/>
                <a:gd name="T111" fmla="*/ 18 h 1352"/>
                <a:gd name="T112" fmla="*/ 1101 w 1372"/>
                <a:gd name="T113" fmla="*/ 0 h 1352"/>
                <a:gd name="T114" fmla="*/ 1101 w 1372"/>
                <a:gd name="T115" fmla="*/ 0 h 1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72" h="1352">
                  <a:moveTo>
                    <a:pt x="1101" y="0"/>
                  </a:moveTo>
                  <a:lnTo>
                    <a:pt x="1101" y="0"/>
                  </a:lnTo>
                  <a:lnTo>
                    <a:pt x="1372" y="930"/>
                  </a:lnTo>
                  <a:lnTo>
                    <a:pt x="1371" y="930"/>
                  </a:lnTo>
                  <a:lnTo>
                    <a:pt x="1371" y="930"/>
                  </a:lnTo>
                  <a:lnTo>
                    <a:pt x="1329" y="955"/>
                  </a:lnTo>
                  <a:lnTo>
                    <a:pt x="1285" y="978"/>
                  </a:lnTo>
                  <a:lnTo>
                    <a:pt x="1241" y="1001"/>
                  </a:lnTo>
                  <a:lnTo>
                    <a:pt x="1198" y="1023"/>
                  </a:lnTo>
                  <a:lnTo>
                    <a:pt x="1154" y="1045"/>
                  </a:lnTo>
                  <a:lnTo>
                    <a:pt x="1110" y="1065"/>
                  </a:lnTo>
                  <a:lnTo>
                    <a:pt x="1068" y="1085"/>
                  </a:lnTo>
                  <a:lnTo>
                    <a:pt x="1024" y="1102"/>
                  </a:lnTo>
                  <a:lnTo>
                    <a:pt x="981" y="1120"/>
                  </a:lnTo>
                  <a:lnTo>
                    <a:pt x="940" y="1137"/>
                  </a:lnTo>
                  <a:lnTo>
                    <a:pt x="857" y="1168"/>
                  </a:lnTo>
                  <a:lnTo>
                    <a:pt x="776" y="1196"/>
                  </a:lnTo>
                  <a:lnTo>
                    <a:pt x="697" y="1222"/>
                  </a:lnTo>
                  <a:lnTo>
                    <a:pt x="697" y="1222"/>
                  </a:lnTo>
                  <a:lnTo>
                    <a:pt x="693" y="1223"/>
                  </a:lnTo>
                  <a:lnTo>
                    <a:pt x="693" y="1223"/>
                  </a:lnTo>
                  <a:lnTo>
                    <a:pt x="676" y="1228"/>
                  </a:lnTo>
                  <a:lnTo>
                    <a:pt x="676" y="1228"/>
                  </a:lnTo>
                  <a:lnTo>
                    <a:pt x="662" y="1233"/>
                  </a:lnTo>
                  <a:lnTo>
                    <a:pt x="662" y="1233"/>
                  </a:lnTo>
                  <a:lnTo>
                    <a:pt x="651" y="1236"/>
                  </a:lnTo>
                  <a:lnTo>
                    <a:pt x="651" y="1236"/>
                  </a:lnTo>
                  <a:lnTo>
                    <a:pt x="580" y="1256"/>
                  </a:lnTo>
                  <a:lnTo>
                    <a:pt x="509" y="1274"/>
                  </a:lnTo>
                  <a:lnTo>
                    <a:pt x="439" y="1291"/>
                  </a:lnTo>
                  <a:lnTo>
                    <a:pt x="368" y="1306"/>
                  </a:lnTo>
                  <a:lnTo>
                    <a:pt x="298" y="1319"/>
                  </a:lnTo>
                  <a:lnTo>
                    <a:pt x="230" y="1332"/>
                  </a:lnTo>
                  <a:lnTo>
                    <a:pt x="161" y="1343"/>
                  </a:lnTo>
                  <a:lnTo>
                    <a:pt x="95" y="1352"/>
                  </a:lnTo>
                  <a:lnTo>
                    <a:pt x="95" y="1352"/>
                  </a:lnTo>
                  <a:lnTo>
                    <a:pt x="0" y="389"/>
                  </a:lnTo>
                  <a:lnTo>
                    <a:pt x="0" y="389"/>
                  </a:lnTo>
                  <a:lnTo>
                    <a:pt x="86" y="375"/>
                  </a:lnTo>
                  <a:lnTo>
                    <a:pt x="172" y="359"/>
                  </a:lnTo>
                  <a:lnTo>
                    <a:pt x="255" y="343"/>
                  </a:lnTo>
                  <a:lnTo>
                    <a:pt x="335" y="325"/>
                  </a:lnTo>
                  <a:lnTo>
                    <a:pt x="414" y="305"/>
                  </a:lnTo>
                  <a:lnTo>
                    <a:pt x="490" y="283"/>
                  </a:lnTo>
                  <a:lnTo>
                    <a:pt x="563" y="260"/>
                  </a:lnTo>
                  <a:lnTo>
                    <a:pt x="634" y="237"/>
                  </a:lnTo>
                  <a:lnTo>
                    <a:pt x="703" y="212"/>
                  </a:lnTo>
                  <a:lnTo>
                    <a:pt x="769" y="184"/>
                  </a:lnTo>
                  <a:lnTo>
                    <a:pt x="832" y="157"/>
                  </a:lnTo>
                  <a:lnTo>
                    <a:pt x="892" y="128"/>
                  </a:lnTo>
                  <a:lnTo>
                    <a:pt x="949" y="98"/>
                  </a:lnTo>
                  <a:lnTo>
                    <a:pt x="976" y="82"/>
                  </a:lnTo>
                  <a:lnTo>
                    <a:pt x="1003" y="67"/>
                  </a:lnTo>
                  <a:lnTo>
                    <a:pt x="1029" y="50"/>
                  </a:lnTo>
                  <a:lnTo>
                    <a:pt x="1054" y="34"/>
                  </a:lnTo>
                  <a:lnTo>
                    <a:pt x="1078" y="18"/>
                  </a:lnTo>
                  <a:lnTo>
                    <a:pt x="1101" y="0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5" name="Freeform 69"/>
            <p:cNvSpPr>
              <a:spLocks/>
            </p:cNvSpPr>
            <p:nvPr/>
          </p:nvSpPr>
          <p:spPr bwMode="auto">
            <a:xfrm flipH="1">
              <a:off x="6939163" y="2370733"/>
              <a:ext cx="158681" cy="161240"/>
            </a:xfrm>
            <a:custGeom>
              <a:avLst/>
              <a:gdLst>
                <a:gd name="T0" fmla="*/ 0 w 861"/>
                <a:gd name="T1" fmla="*/ 200 h 1125"/>
                <a:gd name="T2" fmla="*/ 0 w 861"/>
                <a:gd name="T3" fmla="*/ 200 h 1125"/>
                <a:gd name="T4" fmla="*/ 47 w 861"/>
                <a:gd name="T5" fmla="*/ 194 h 1125"/>
                <a:gd name="T6" fmla="*/ 93 w 861"/>
                <a:gd name="T7" fmla="*/ 186 h 1125"/>
                <a:gd name="T8" fmla="*/ 139 w 861"/>
                <a:gd name="T9" fmla="*/ 178 h 1125"/>
                <a:gd name="T10" fmla="*/ 182 w 861"/>
                <a:gd name="T11" fmla="*/ 168 h 1125"/>
                <a:gd name="T12" fmla="*/ 225 w 861"/>
                <a:gd name="T13" fmla="*/ 158 h 1125"/>
                <a:gd name="T14" fmla="*/ 267 w 861"/>
                <a:gd name="T15" fmla="*/ 146 h 1125"/>
                <a:gd name="T16" fmla="*/ 307 w 861"/>
                <a:gd name="T17" fmla="*/ 135 h 1125"/>
                <a:gd name="T18" fmla="*/ 347 w 861"/>
                <a:gd name="T19" fmla="*/ 122 h 1125"/>
                <a:gd name="T20" fmla="*/ 384 w 861"/>
                <a:gd name="T21" fmla="*/ 109 h 1125"/>
                <a:gd name="T22" fmla="*/ 420 w 861"/>
                <a:gd name="T23" fmla="*/ 95 h 1125"/>
                <a:gd name="T24" fmla="*/ 456 w 861"/>
                <a:gd name="T25" fmla="*/ 81 h 1125"/>
                <a:gd name="T26" fmla="*/ 490 w 861"/>
                <a:gd name="T27" fmla="*/ 66 h 1125"/>
                <a:gd name="T28" fmla="*/ 522 w 861"/>
                <a:gd name="T29" fmla="*/ 50 h 1125"/>
                <a:gd name="T30" fmla="*/ 553 w 861"/>
                <a:gd name="T31" fmla="*/ 34 h 1125"/>
                <a:gd name="T32" fmla="*/ 583 w 861"/>
                <a:gd name="T33" fmla="*/ 17 h 1125"/>
                <a:gd name="T34" fmla="*/ 610 w 861"/>
                <a:gd name="T35" fmla="*/ 0 h 1125"/>
                <a:gd name="T36" fmla="*/ 610 w 861"/>
                <a:gd name="T37" fmla="*/ 0 h 1125"/>
                <a:gd name="T38" fmla="*/ 861 w 861"/>
                <a:gd name="T39" fmla="*/ 863 h 1125"/>
                <a:gd name="T40" fmla="*/ 861 w 861"/>
                <a:gd name="T41" fmla="*/ 863 h 1125"/>
                <a:gd name="T42" fmla="*/ 827 w 861"/>
                <a:gd name="T43" fmla="*/ 886 h 1125"/>
                <a:gd name="T44" fmla="*/ 791 w 861"/>
                <a:gd name="T45" fmla="*/ 908 h 1125"/>
                <a:gd name="T46" fmla="*/ 752 w 861"/>
                <a:gd name="T47" fmla="*/ 929 h 1125"/>
                <a:gd name="T48" fmla="*/ 711 w 861"/>
                <a:gd name="T49" fmla="*/ 950 h 1125"/>
                <a:gd name="T50" fmla="*/ 669 w 861"/>
                <a:gd name="T51" fmla="*/ 968 h 1125"/>
                <a:gd name="T52" fmla="*/ 625 w 861"/>
                <a:gd name="T53" fmla="*/ 987 h 1125"/>
                <a:gd name="T54" fmla="*/ 578 w 861"/>
                <a:gd name="T55" fmla="*/ 1006 h 1125"/>
                <a:gd name="T56" fmla="*/ 531 w 861"/>
                <a:gd name="T57" fmla="*/ 1023 h 1125"/>
                <a:gd name="T58" fmla="*/ 481 w 861"/>
                <a:gd name="T59" fmla="*/ 1038 h 1125"/>
                <a:gd name="T60" fmla="*/ 430 w 861"/>
                <a:gd name="T61" fmla="*/ 1054 h 1125"/>
                <a:gd name="T62" fmla="*/ 377 w 861"/>
                <a:gd name="T63" fmla="*/ 1068 h 1125"/>
                <a:gd name="T64" fmla="*/ 323 w 861"/>
                <a:gd name="T65" fmla="*/ 1082 h 1125"/>
                <a:gd name="T66" fmla="*/ 267 w 861"/>
                <a:gd name="T67" fmla="*/ 1094 h 1125"/>
                <a:gd name="T68" fmla="*/ 209 w 861"/>
                <a:gd name="T69" fmla="*/ 1105 h 1125"/>
                <a:gd name="T70" fmla="*/ 151 w 861"/>
                <a:gd name="T71" fmla="*/ 1115 h 1125"/>
                <a:gd name="T72" fmla="*/ 91 w 861"/>
                <a:gd name="T73" fmla="*/ 1125 h 1125"/>
                <a:gd name="T74" fmla="*/ 91 w 861"/>
                <a:gd name="T75" fmla="*/ 1125 h 1125"/>
                <a:gd name="T76" fmla="*/ 0 w 861"/>
                <a:gd name="T77" fmla="*/ 200 h 1125"/>
                <a:gd name="T78" fmla="*/ 0 w 861"/>
                <a:gd name="T79" fmla="*/ 200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1" h="1125">
                  <a:moveTo>
                    <a:pt x="0" y="200"/>
                  </a:moveTo>
                  <a:lnTo>
                    <a:pt x="0" y="200"/>
                  </a:lnTo>
                  <a:lnTo>
                    <a:pt x="47" y="194"/>
                  </a:lnTo>
                  <a:lnTo>
                    <a:pt x="93" y="186"/>
                  </a:lnTo>
                  <a:lnTo>
                    <a:pt x="139" y="178"/>
                  </a:lnTo>
                  <a:lnTo>
                    <a:pt x="182" y="168"/>
                  </a:lnTo>
                  <a:lnTo>
                    <a:pt x="225" y="158"/>
                  </a:lnTo>
                  <a:lnTo>
                    <a:pt x="267" y="146"/>
                  </a:lnTo>
                  <a:lnTo>
                    <a:pt x="307" y="135"/>
                  </a:lnTo>
                  <a:lnTo>
                    <a:pt x="347" y="122"/>
                  </a:lnTo>
                  <a:lnTo>
                    <a:pt x="384" y="109"/>
                  </a:lnTo>
                  <a:lnTo>
                    <a:pt x="420" y="95"/>
                  </a:lnTo>
                  <a:lnTo>
                    <a:pt x="456" y="81"/>
                  </a:lnTo>
                  <a:lnTo>
                    <a:pt x="490" y="66"/>
                  </a:lnTo>
                  <a:lnTo>
                    <a:pt x="522" y="50"/>
                  </a:lnTo>
                  <a:lnTo>
                    <a:pt x="553" y="34"/>
                  </a:lnTo>
                  <a:lnTo>
                    <a:pt x="583" y="17"/>
                  </a:lnTo>
                  <a:lnTo>
                    <a:pt x="610" y="0"/>
                  </a:lnTo>
                  <a:lnTo>
                    <a:pt x="610" y="0"/>
                  </a:lnTo>
                  <a:lnTo>
                    <a:pt x="861" y="863"/>
                  </a:lnTo>
                  <a:lnTo>
                    <a:pt x="861" y="863"/>
                  </a:lnTo>
                  <a:lnTo>
                    <a:pt x="827" y="886"/>
                  </a:lnTo>
                  <a:lnTo>
                    <a:pt x="791" y="908"/>
                  </a:lnTo>
                  <a:lnTo>
                    <a:pt x="752" y="929"/>
                  </a:lnTo>
                  <a:lnTo>
                    <a:pt x="711" y="950"/>
                  </a:lnTo>
                  <a:lnTo>
                    <a:pt x="669" y="968"/>
                  </a:lnTo>
                  <a:lnTo>
                    <a:pt x="625" y="987"/>
                  </a:lnTo>
                  <a:lnTo>
                    <a:pt x="578" y="1006"/>
                  </a:lnTo>
                  <a:lnTo>
                    <a:pt x="531" y="1023"/>
                  </a:lnTo>
                  <a:lnTo>
                    <a:pt x="481" y="1038"/>
                  </a:lnTo>
                  <a:lnTo>
                    <a:pt x="430" y="1054"/>
                  </a:lnTo>
                  <a:lnTo>
                    <a:pt x="377" y="1068"/>
                  </a:lnTo>
                  <a:lnTo>
                    <a:pt x="323" y="1082"/>
                  </a:lnTo>
                  <a:lnTo>
                    <a:pt x="267" y="1094"/>
                  </a:lnTo>
                  <a:lnTo>
                    <a:pt x="209" y="1105"/>
                  </a:lnTo>
                  <a:lnTo>
                    <a:pt x="151" y="1115"/>
                  </a:lnTo>
                  <a:lnTo>
                    <a:pt x="91" y="1125"/>
                  </a:lnTo>
                  <a:lnTo>
                    <a:pt x="91" y="1125"/>
                  </a:lnTo>
                  <a:lnTo>
                    <a:pt x="0" y="20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6" name="Freeform 70"/>
            <p:cNvSpPr>
              <a:spLocks/>
            </p:cNvSpPr>
            <p:nvPr/>
          </p:nvSpPr>
          <p:spPr bwMode="auto">
            <a:xfrm flipH="1">
              <a:off x="6843696" y="2626136"/>
              <a:ext cx="219315" cy="180588"/>
            </a:xfrm>
            <a:custGeom>
              <a:avLst/>
              <a:gdLst>
                <a:gd name="T0" fmla="*/ 939 w 1192"/>
                <a:gd name="T1" fmla="*/ 0 h 1258"/>
                <a:gd name="T2" fmla="*/ 939 w 1192"/>
                <a:gd name="T3" fmla="*/ 0 h 1258"/>
                <a:gd name="T4" fmla="*/ 1192 w 1192"/>
                <a:gd name="T5" fmla="*/ 869 h 1258"/>
                <a:gd name="T6" fmla="*/ 1192 w 1192"/>
                <a:gd name="T7" fmla="*/ 869 h 1258"/>
                <a:gd name="T8" fmla="*/ 1169 w 1192"/>
                <a:gd name="T9" fmla="*/ 887 h 1258"/>
                <a:gd name="T10" fmla="*/ 1145 w 1192"/>
                <a:gd name="T11" fmla="*/ 903 h 1258"/>
                <a:gd name="T12" fmla="*/ 1120 w 1192"/>
                <a:gd name="T13" fmla="*/ 919 h 1258"/>
                <a:gd name="T14" fmla="*/ 1094 w 1192"/>
                <a:gd name="T15" fmla="*/ 936 h 1258"/>
                <a:gd name="T16" fmla="*/ 1067 w 1192"/>
                <a:gd name="T17" fmla="*/ 951 h 1258"/>
                <a:gd name="T18" fmla="*/ 1040 w 1192"/>
                <a:gd name="T19" fmla="*/ 967 h 1258"/>
                <a:gd name="T20" fmla="*/ 983 w 1192"/>
                <a:gd name="T21" fmla="*/ 997 h 1258"/>
                <a:gd name="T22" fmla="*/ 923 w 1192"/>
                <a:gd name="T23" fmla="*/ 1026 h 1258"/>
                <a:gd name="T24" fmla="*/ 860 w 1192"/>
                <a:gd name="T25" fmla="*/ 1053 h 1258"/>
                <a:gd name="T26" fmla="*/ 794 w 1192"/>
                <a:gd name="T27" fmla="*/ 1081 h 1258"/>
                <a:gd name="T28" fmla="*/ 725 w 1192"/>
                <a:gd name="T29" fmla="*/ 1106 h 1258"/>
                <a:gd name="T30" fmla="*/ 654 w 1192"/>
                <a:gd name="T31" fmla="*/ 1129 h 1258"/>
                <a:gd name="T32" fmla="*/ 581 w 1192"/>
                <a:gd name="T33" fmla="*/ 1152 h 1258"/>
                <a:gd name="T34" fmla="*/ 505 w 1192"/>
                <a:gd name="T35" fmla="*/ 1174 h 1258"/>
                <a:gd name="T36" fmla="*/ 426 w 1192"/>
                <a:gd name="T37" fmla="*/ 1194 h 1258"/>
                <a:gd name="T38" fmla="*/ 346 w 1192"/>
                <a:gd name="T39" fmla="*/ 1212 h 1258"/>
                <a:gd name="T40" fmla="*/ 263 w 1192"/>
                <a:gd name="T41" fmla="*/ 1228 h 1258"/>
                <a:gd name="T42" fmla="*/ 177 w 1192"/>
                <a:gd name="T43" fmla="*/ 1244 h 1258"/>
                <a:gd name="T44" fmla="*/ 91 w 1192"/>
                <a:gd name="T45" fmla="*/ 1258 h 1258"/>
                <a:gd name="T46" fmla="*/ 91 w 1192"/>
                <a:gd name="T47" fmla="*/ 1258 h 1258"/>
                <a:gd name="T48" fmla="*/ 0 w 1192"/>
                <a:gd name="T49" fmla="*/ 329 h 1258"/>
                <a:gd name="T50" fmla="*/ 0 w 1192"/>
                <a:gd name="T51" fmla="*/ 329 h 1258"/>
                <a:gd name="T52" fmla="*/ 73 w 1192"/>
                <a:gd name="T53" fmla="*/ 318 h 1258"/>
                <a:gd name="T54" fmla="*/ 146 w 1192"/>
                <a:gd name="T55" fmla="*/ 305 h 1258"/>
                <a:gd name="T56" fmla="*/ 216 w 1192"/>
                <a:gd name="T57" fmla="*/ 291 h 1258"/>
                <a:gd name="T58" fmla="*/ 284 w 1192"/>
                <a:gd name="T59" fmla="*/ 275 h 1258"/>
                <a:gd name="T60" fmla="*/ 352 w 1192"/>
                <a:gd name="T61" fmla="*/ 258 h 1258"/>
                <a:gd name="T62" fmla="*/ 416 w 1192"/>
                <a:gd name="T63" fmla="*/ 241 h 1258"/>
                <a:gd name="T64" fmla="*/ 480 w 1192"/>
                <a:gd name="T65" fmla="*/ 221 h 1258"/>
                <a:gd name="T66" fmla="*/ 540 w 1192"/>
                <a:gd name="T67" fmla="*/ 200 h 1258"/>
                <a:gd name="T68" fmla="*/ 598 w 1192"/>
                <a:gd name="T69" fmla="*/ 179 h 1258"/>
                <a:gd name="T70" fmla="*/ 654 w 1192"/>
                <a:gd name="T71" fmla="*/ 156 h 1258"/>
                <a:gd name="T72" fmla="*/ 709 w 1192"/>
                <a:gd name="T73" fmla="*/ 132 h 1258"/>
                <a:gd name="T74" fmla="*/ 761 w 1192"/>
                <a:gd name="T75" fmla="*/ 108 h 1258"/>
                <a:gd name="T76" fmla="*/ 809 w 1192"/>
                <a:gd name="T77" fmla="*/ 82 h 1258"/>
                <a:gd name="T78" fmla="*/ 855 w 1192"/>
                <a:gd name="T79" fmla="*/ 56 h 1258"/>
                <a:gd name="T80" fmla="*/ 899 w 1192"/>
                <a:gd name="T81" fmla="*/ 28 h 1258"/>
                <a:gd name="T82" fmla="*/ 939 w 1192"/>
                <a:gd name="T83" fmla="*/ 0 h 1258"/>
                <a:gd name="T84" fmla="*/ 939 w 1192"/>
                <a:gd name="T85" fmla="*/ 0 h 1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92" h="1258">
                  <a:moveTo>
                    <a:pt x="939" y="0"/>
                  </a:moveTo>
                  <a:lnTo>
                    <a:pt x="939" y="0"/>
                  </a:lnTo>
                  <a:lnTo>
                    <a:pt x="1192" y="869"/>
                  </a:lnTo>
                  <a:lnTo>
                    <a:pt x="1192" y="869"/>
                  </a:lnTo>
                  <a:lnTo>
                    <a:pt x="1169" y="887"/>
                  </a:lnTo>
                  <a:lnTo>
                    <a:pt x="1145" y="903"/>
                  </a:lnTo>
                  <a:lnTo>
                    <a:pt x="1120" y="919"/>
                  </a:lnTo>
                  <a:lnTo>
                    <a:pt x="1094" y="936"/>
                  </a:lnTo>
                  <a:lnTo>
                    <a:pt x="1067" y="951"/>
                  </a:lnTo>
                  <a:lnTo>
                    <a:pt x="1040" y="967"/>
                  </a:lnTo>
                  <a:lnTo>
                    <a:pt x="983" y="997"/>
                  </a:lnTo>
                  <a:lnTo>
                    <a:pt x="923" y="1026"/>
                  </a:lnTo>
                  <a:lnTo>
                    <a:pt x="860" y="1053"/>
                  </a:lnTo>
                  <a:lnTo>
                    <a:pt x="794" y="1081"/>
                  </a:lnTo>
                  <a:lnTo>
                    <a:pt x="725" y="1106"/>
                  </a:lnTo>
                  <a:lnTo>
                    <a:pt x="654" y="1129"/>
                  </a:lnTo>
                  <a:lnTo>
                    <a:pt x="581" y="1152"/>
                  </a:lnTo>
                  <a:lnTo>
                    <a:pt x="505" y="1174"/>
                  </a:lnTo>
                  <a:lnTo>
                    <a:pt x="426" y="1194"/>
                  </a:lnTo>
                  <a:lnTo>
                    <a:pt x="346" y="1212"/>
                  </a:lnTo>
                  <a:lnTo>
                    <a:pt x="263" y="1228"/>
                  </a:lnTo>
                  <a:lnTo>
                    <a:pt x="177" y="1244"/>
                  </a:lnTo>
                  <a:lnTo>
                    <a:pt x="91" y="1258"/>
                  </a:lnTo>
                  <a:lnTo>
                    <a:pt x="91" y="1258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73" y="318"/>
                  </a:lnTo>
                  <a:lnTo>
                    <a:pt x="146" y="305"/>
                  </a:lnTo>
                  <a:lnTo>
                    <a:pt x="216" y="291"/>
                  </a:lnTo>
                  <a:lnTo>
                    <a:pt x="284" y="275"/>
                  </a:lnTo>
                  <a:lnTo>
                    <a:pt x="352" y="258"/>
                  </a:lnTo>
                  <a:lnTo>
                    <a:pt x="416" y="241"/>
                  </a:lnTo>
                  <a:lnTo>
                    <a:pt x="480" y="221"/>
                  </a:lnTo>
                  <a:lnTo>
                    <a:pt x="540" y="200"/>
                  </a:lnTo>
                  <a:lnTo>
                    <a:pt x="598" y="179"/>
                  </a:lnTo>
                  <a:lnTo>
                    <a:pt x="654" y="156"/>
                  </a:lnTo>
                  <a:lnTo>
                    <a:pt x="709" y="132"/>
                  </a:lnTo>
                  <a:lnTo>
                    <a:pt x="761" y="108"/>
                  </a:lnTo>
                  <a:lnTo>
                    <a:pt x="809" y="82"/>
                  </a:lnTo>
                  <a:lnTo>
                    <a:pt x="855" y="56"/>
                  </a:lnTo>
                  <a:lnTo>
                    <a:pt x="899" y="28"/>
                  </a:lnTo>
                  <a:lnTo>
                    <a:pt x="939" y="0"/>
                  </a:lnTo>
                  <a:lnTo>
                    <a:pt x="939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7" name="Freeform 71"/>
            <p:cNvSpPr>
              <a:spLocks/>
            </p:cNvSpPr>
            <p:nvPr/>
          </p:nvSpPr>
          <p:spPr bwMode="auto">
            <a:xfrm flipH="1">
              <a:off x="6890140" y="2494565"/>
              <a:ext cx="190933" cy="178009"/>
            </a:xfrm>
            <a:custGeom>
              <a:avLst/>
              <a:gdLst>
                <a:gd name="T0" fmla="*/ 0 w 1036"/>
                <a:gd name="T1" fmla="*/ 262 h 1245"/>
                <a:gd name="T2" fmla="*/ 0 w 1036"/>
                <a:gd name="T3" fmla="*/ 262 h 1245"/>
                <a:gd name="T4" fmla="*/ 60 w 1036"/>
                <a:gd name="T5" fmla="*/ 252 h 1245"/>
                <a:gd name="T6" fmla="*/ 118 w 1036"/>
                <a:gd name="T7" fmla="*/ 242 h 1245"/>
                <a:gd name="T8" fmla="*/ 176 w 1036"/>
                <a:gd name="T9" fmla="*/ 231 h 1245"/>
                <a:gd name="T10" fmla="*/ 232 w 1036"/>
                <a:gd name="T11" fmla="*/ 219 h 1245"/>
                <a:gd name="T12" fmla="*/ 286 w 1036"/>
                <a:gd name="T13" fmla="*/ 205 h 1245"/>
                <a:gd name="T14" fmla="*/ 339 w 1036"/>
                <a:gd name="T15" fmla="*/ 191 h 1245"/>
                <a:gd name="T16" fmla="*/ 390 w 1036"/>
                <a:gd name="T17" fmla="*/ 175 h 1245"/>
                <a:gd name="T18" fmla="*/ 440 w 1036"/>
                <a:gd name="T19" fmla="*/ 160 h 1245"/>
                <a:gd name="T20" fmla="*/ 487 w 1036"/>
                <a:gd name="T21" fmla="*/ 143 h 1245"/>
                <a:gd name="T22" fmla="*/ 534 w 1036"/>
                <a:gd name="T23" fmla="*/ 124 h 1245"/>
                <a:gd name="T24" fmla="*/ 578 w 1036"/>
                <a:gd name="T25" fmla="*/ 105 h 1245"/>
                <a:gd name="T26" fmla="*/ 620 w 1036"/>
                <a:gd name="T27" fmla="*/ 87 h 1245"/>
                <a:gd name="T28" fmla="*/ 661 w 1036"/>
                <a:gd name="T29" fmla="*/ 66 h 1245"/>
                <a:gd name="T30" fmla="*/ 700 w 1036"/>
                <a:gd name="T31" fmla="*/ 45 h 1245"/>
                <a:gd name="T32" fmla="*/ 736 w 1036"/>
                <a:gd name="T33" fmla="*/ 23 h 1245"/>
                <a:gd name="T34" fmla="*/ 770 w 1036"/>
                <a:gd name="T35" fmla="*/ 0 h 1245"/>
                <a:gd name="T36" fmla="*/ 770 w 1036"/>
                <a:gd name="T37" fmla="*/ 0 h 1245"/>
                <a:gd name="T38" fmla="*/ 1036 w 1036"/>
                <a:gd name="T39" fmla="*/ 916 h 1245"/>
                <a:gd name="T40" fmla="*/ 1036 w 1036"/>
                <a:gd name="T41" fmla="*/ 916 h 1245"/>
                <a:gd name="T42" fmla="*/ 996 w 1036"/>
                <a:gd name="T43" fmla="*/ 944 h 1245"/>
                <a:gd name="T44" fmla="*/ 952 w 1036"/>
                <a:gd name="T45" fmla="*/ 972 h 1245"/>
                <a:gd name="T46" fmla="*/ 906 w 1036"/>
                <a:gd name="T47" fmla="*/ 998 h 1245"/>
                <a:gd name="T48" fmla="*/ 858 w 1036"/>
                <a:gd name="T49" fmla="*/ 1024 h 1245"/>
                <a:gd name="T50" fmla="*/ 806 w 1036"/>
                <a:gd name="T51" fmla="*/ 1048 h 1245"/>
                <a:gd name="T52" fmla="*/ 751 w 1036"/>
                <a:gd name="T53" fmla="*/ 1072 h 1245"/>
                <a:gd name="T54" fmla="*/ 695 w 1036"/>
                <a:gd name="T55" fmla="*/ 1095 h 1245"/>
                <a:gd name="T56" fmla="*/ 637 w 1036"/>
                <a:gd name="T57" fmla="*/ 1116 h 1245"/>
                <a:gd name="T58" fmla="*/ 577 w 1036"/>
                <a:gd name="T59" fmla="*/ 1137 h 1245"/>
                <a:gd name="T60" fmla="*/ 513 w 1036"/>
                <a:gd name="T61" fmla="*/ 1157 h 1245"/>
                <a:gd name="T62" fmla="*/ 449 w 1036"/>
                <a:gd name="T63" fmla="*/ 1174 h 1245"/>
                <a:gd name="T64" fmla="*/ 381 w 1036"/>
                <a:gd name="T65" fmla="*/ 1191 h 1245"/>
                <a:gd name="T66" fmla="*/ 313 w 1036"/>
                <a:gd name="T67" fmla="*/ 1207 h 1245"/>
                <a:gd name="T68" fmla="*/ 243 w 1036"/>
                <a:gd name="T69" fmla="*/ 1221 h 1245"/>
                <a:gd name="T70" fmla="*/ 170 w 1036"/>
                <a:gd name="T71" fmla="*/ 1234 h 1245"/>
                <a:gd name="T72" fmla="*/ 97 w 1036"/>
                <a:gd name="T73" fmla="*/ 1245 h 1245"/>
                <a:gd name="T74" fmla="*/ 97 w 1036"/>
                <a:gd name="T75" fmla="*/ 1245 h 1245"/>
                <a:gd name="T76" fmla="*/ 0 w 1036"/>
                <a:gd name="T77" fmla="*/ 262 h 1245"/>
                <a:gd name="T78" fmla="*/ 0 w 1036"/>
                <a:gd name="T79" fmla="*/ 26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36" h="1245">
                  <a:moveTo>
                    <a:pt x="0" y="262"/>
                  </a:moveTo>
                  <a:lnTo>
                    <a:pt x="0" y="262"/>
                  </a:lnTo>
                  <a:lnTo>
                    <a:pt x="60" y="252"/>
                  </a:lnTo>
                  <a:lnTo>
                    <a:pt x="118" y="242"/>
                  </a:lnTo>
                  <a:lnTo>
                    <a:pt x="176" y="231"/>
                  </a:lnTo>
                  <a:lnTo>
                    <a:pt x="232" y="219"/>
                  </a:lnTo>
                  <a:lnTo>
                    <a:pt x="286" y="205"/>
                  </a:lnTo>
                  <a:lnTo>
                    <a:pt x="339" y="191"/>
                  </a:lnTo>
                  <a:lnTo>
                    <a:pt x="390" y="175"/>
                  </a:lnTo>
                  <a:lnTo>
                    <a:pt x="440" y="160"/>
                  </a:lnTo>
                  <a:lnTo>
                    <a:pt x="487" y="143"/>
                  </a:lnTo>
                  <a:lnTo>
                    <a:pt x="534" y="124"/>
                  </a:lnTo>
                  <a:lnTo>
                    <a:pt x="578" y="105"/>
                  </a:lnTo>
                  <a:lnTo>
                    <a:pt x="620" y="87"/>
                  </a:lnTo>
                  <a:lnTo>
                    <a:pt x="661" y="66"/>
                  </a:lnTo>
                  <a:lnTo>
                    <a:pt x="700" y="45"/>
                  </a:lnTo>
                  <a:lnTo>
                    <a:pt x="736" y="23"/>
                  </a:lnTo>
                  <a:lnTo>
                    <a:pt x="770" y="0"/>
                  </a:lnTo>
                  <a:lnTo>
                    <a:pt x="770" y="0"/>
                  </a:lnTo>
                  <a:lnTo>
                    <a:pt x="1036" y="916"/>
                  </a:lnTo>
                  <a:lnTo>
                    <a:pt x="1036" y="916"/>
                  </a:lnTo>
                  <a:lnTo>
                    <a:pt x="996" y="944"/>
                  </a:lnTo>
                  <a:lnTo>
                    <a:pt x="952" y="972"/>
                  </a:lnTo>
                  <a:lnTo>
                    <a:pt x="906" y="998"/>
                  </a:lnTo>
                  <a:lnTo>
                    <a:pt x="858" y="1024"/>
                  </a:lnTo>
                  <a:lnTo>
                    <a:pt x="806" y="1048"/>
                  </a:lnTo>
                  <a:lnTo>
                    <a:pt x="751" y="1072"/>
                  </a:lnTo>
                  <a:lnTo>
                    <a:pt x="695" y="1095"/>
                  </a:lnTo>
                  <a:lnTo>
                    <a:pt x="637" y="1116"/>
                  </a:lnTo>
                  <a:lnTo>
                    <a:pt x="577" y="1137"/>
                  </a:lnTo>
                  <a:lnTo>
                    <a:pt x="513" y="1157"/>
                  </a:lnTo>
                  <a:lnTo>
                    <a:pt x="449" y="1174"/>
                  </a:lnTo>
                  <a:lnTo>
                    <a:pt x="381" y="1191"/>
                  </a:lnTo>
                  <a:lnTo>
                    <a:pt x="313" y="1207"/>
                  </a:lnTo>
                  <a:lnTo>
                    <a:pt x="243" y="1221"/>
                  </a:lnTo>
                  <a:lnTo>
                    <a:pt x="170" y="1234"/>
                  </a:lnTo>
                  <a:lnTo>
                    <a:pt x="97" y="1245"/>
                  </a:lnTo>
                  <a:lnTo>
                    <a:pt x="97" y="1245"/>
                  </a:lnTo>
                  <a:lnTo>
                    <a:pt x="0" y="262"/>
                  </a:lnTo>
                  <a:lnTo>
                    <a:pt x="0" y="26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8" name="Freeform 72"/>
            <p:cNvSpPr>
              <a:spLocks/>
            </p:cNvSpPr>
            <p:nvPr/>
          </p:nvSpPr>
          <p:spPr bwMode="auto">
            <a:xfrm flipH="1">
              <a:off x="6985606" y="2240451"/>
              <a:ext cx="130299" cy="158660"/>
            </a:xfrm>
            <a:custGeom>
              <a:avLst/>
              <a:gdLst>
                <a:gd name="T0" fmla="*/ 0 w 706"/>
                <a:gd name="T1" fmla="*/ 117 h 1110"/>
                <a:gd name="T2" fmla="*/ 0 w 706"/>
                <a:gd name="T3" fmla="*/ 117 h 1110"/>
                <a:gd name="T4" fmla="*/ 63 w 706"/>
                <a:gd name="T5" fmla="*/ 108 h 1110"/>
                <a:gd name="T6" fmla="*/ 124 w 706"/>
                <a:gd name="T7" fmla="*/ 98 h 1110"/>
                <a:gd name="T8" fmla="*/ 184 w 706"/>
                <a:gd name="T9" fmla="*/ 85 h 1110"/>
                <a:gd name="T10" fmla="*/ 241 w 706"/>
                <a:gd name="T11" fmla="*/ 71 h 1110"/>
                <a:gd name="T12" fmla="*/ 295 w 706"/>
                <a:gd name="T13" fmla="*/ 55 h 1110"/>
                <a:gd name="T14" fmla="*/ 347 w 706"/>
                <a:gd name="T15" fmla="*/ 38 h 1110"/>
                <a:gd name="T16" fmla="*/ 396 w 706"/>
                <a:gd name="T17" fmla="*/ 20 h 1110"/>
                <a:gd name="T18" fmla="*/ 442 w 706"/>
                <a:gd name="T19" fmla="*/ 0 h 1110"/>
                <a:gd name="T20" fmla="*/ 442 w 706"/>
                <a:gd name="T21" fmla="*/ 0 h 1110"/>
                <a:gd name="T22" fmla="*/ 706 w 706"/>
                <a:gd name="T23" fmla="*/ 910 h 1110"/>
                <a:gd name="T24" fmla="*/ 706 w 706"/>
                <a:gd name="T25" fmla="*/ 910 h 1110"/>
                <a:gd name="T26" fmla="*/ 679 w 706"/>
                <a:gd name="T27" fmla="*/ 927 h 1110"/>
                <a:gd name="T28" fmla="*/ 649 w 706"/>
                <a:gd name="T29" fmla="*/ 944 h 1110"/>
                <a:gd name="T30" fmla="*/ 618 w 706"/>
                <a:gd name="T31" fmla="*/ 960 h 1110"/>
                <a:gd name="T32" fmla="*/ 586 w 706"/>
                <a:gd name="T33" fmla="*/ 976 h 1110"/>
                <a:gd name="T34" fmla="*/ 552 w 706"/>
                <a:gd name="T35" fmla="*/ 991 h 1110"/>
                <a:gd name="T36" fmla="*/ 516 w 706"/>
                <a:gd name="T37" fmla="*/ 1005 h 1110"/>
                <a:gd name="T38" fmla="*/ 480 w 706"/>
                <a:gd name="T39" fmla="*/ 1019 h 1110"/>
                <a:gd name="T40" fmla="*/ 443 w 706"/>
                <a:gd name="T41" fmla="*/ 1032 h 1110"/>
                <a:gd name="T42" fmla="*/ 403 w 706"/>
                <a:gd name="T43" fmla="*/ 1045 h 1110"/>
                <a:gd name="T44" fmla="*/ 363 w 706"/>
                <a:gd name="T45" fmla="*/ 1056 h 1110"/>
                <a:gd name="T46" fmla="*/ 321 w 706"/>
                <a:gd name="T47" fmla="*/ 1068 h 1110"/>
                <a:gd name="T48" fmla="*/ 278 w 706"/>
                <a:gd name="T49" fmla="*/ 1078 h 1110"/>
                <a:gd name="T50" fmla="*/ 235 w 706"/>
                <a:gd name="T51" fmla="*/ 1088 h 1110"/>
                <a:gd name="T52" fmla="*/ 189 w 706"/>
                <a:gd name="T53" fmla="*/ 1096 h 1110"/>
                <a:gd name="T54" fmla="*/ 143 w 706"/>
                <a:gd name="T55" fmla="*/ 1104 h 1110"/>
                <a:gd name="T56" fmla="*/ 96 w 706"/>
                <a:gd name="T57" fmla="*/ 1110 h 1110"/>
                <a:gd name="T58" fmla="*/ 96 w 706"/>
                <a:gd name="T59" fmla="*/ 1110 h 1110"/>
                <a:gd name="T60" fmla="*/ 0 w 706"/>
                <a:gd name="T61" fmla="*/ 117 h 1110"/>
                <a:gd name="T62" fmla="*/ 0 w 706"/>
                <a:gd name="T63" fmla="*/ 117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06" h="1110">
                  <a:moveTo>
                    <a:pt x="0" y="117"/>
                  </a:moveTo>
                  <a:lnTo>
                    <a:pt x="0" y="117"/>
                  </a:lnTo>
                  <a:lnTo>
                    <a:pt x="63" y="108"/>
                  </a:lnTo>
                  <a:lnTo>
                    <a:pt x="124" y="98"/>
                  </a:lnTo>
                  <a:lnTo>
                    <a:pt x="184" y="85"/>
                  </a:lnTo>
                  <a:lnTo>
                    <a:pt x="241" y="71"/>
                  </a:lnTo>
                  <a:lnTo>
                    <a:pt x="295" y="55"/>
                  </a:lnTo>
                  <a:lnTo>
                    <a:pt x="347" y="38"/>
                  </a:lnTo>
                  <a:lnTo>
                    <a:pt x="396" y="20"/>
                  </a:lnTo>
                  <a:lnTo>
                    <a:pt x="442" y="0"/>
                  </a:lnTo>
                  <a:lnTo>
                    <a:pt x="442" y="0"/>
                  </a:lnTo>
                  <a:lnTo>
                    <a:pt x="706" y="910"/>
                  </a:lnTo>
                  <a:lnTo>
                    <a:pt x="706" y="910"/>
                  </a:lnTo>
                  <a:lnTo>
                    <a:pt x="679" y="927"/>
                  </a:lnTo>
                  <a:lnTo>
                    <a:pt x="649" y="944"/>
                  </a:lnTo>
                  <a:lnTo>
                    <a:pt x="618" y="960"/>
                  </a:lnTo>
                  <a:lnTo>
                    <a:pt x="586" y="976"/>
                  </a:lnTo>
                  <a:lnTo>
                    <a:pt x="552" y="991"/>
                  </a:lnTo>
                  <a:lnTo>
                    <a:pt x="516" y="1005"/>
                  </a:lnTo>
                  <a:lnTo>
                    <a:pt x="480" y="1019"/>
                  </a:lnTo>
                  <a:lnTo>
                    <a:pt x="443" y="1032"/>
                  </a:lnTo>
                  <a:lnTo>
                    <a:pt x="403" y="1045"/>
                  </a:lnTo>
                  <a:lnTo>
                    <a:pt x="363" y="1056"/>
                  </a:lnTo>
                  <a:lnTo>
                    <a:pt x="321" y="1068"/>
                  </a:lnTo>
                  <a:lnTo>
                    <a:pt x="278" y="1078"/>
                  </a:lnTo>
                  <a:lnTo>
                    <a:pt x="235" y="1088"/>
                  </a:lnTo>
                  <a:lnTo>
                    <a:pt x="189" y="1096"/>
                  </a:lnTo>
                  <a:lnTo>
                    <a:pt x="143" y="1104"/>
                  </a:lnTo>
                  <a:lnTo>
                    <a:pt x="96" y="1110"/>
                  </a:lnTo>
                  <a:lnTo>
                    <a:pt x="96" y="1110"/>
                  </a:lnTo>
                  <a:lnTo>
                    <a:pt x="0" y="11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79" name="Freeform 73"/>
            <p:cNvSpPr>
              <a:spLocks/>
            </p:cNvSpPr>
            <p:nvPr/>
          </p:nvSpPr>
          <p:spPr bwMode="auto">
            <a:xfrm flipH="1">
              <a:off x="7474550" y="2903468"/>
              <a:ext cx="15481" cy="5160"/>
            </a:xfrm>
            <a:custGeom>
              <a:avLst/>
              <a:gdLst>
                <a:gd name="T0" fmla="*/ 0 w 85"/>
                <a:gd name="T1" fmla="*/ 1 h 38"/>
                <a:gd name="T2" fmla="*/ 1 w 85"/>
                <a:gd name="T3" fmla="*/ 0 h 38"/>
                <a:gd name="T4" fmla="*/ 1 w 85"/>
                <a:gd name="T5" fmla="*/ 0 h 38"/>
                <a:gd name="T6" fmla="*/ 43 w 85"/>
                <a:gd name="T7" fmla="*/ 18 h 38"/>
                <a:gd name="T8" fmla="*/ 85 w 85"/>
                <a:gd name="T9" fmla="*/ 35 h 38"/>
                <a:gd name="T10" fmla="*/ 84 w 85"/>
                <a:gd name="T11" fmla="*/ 38 h 38"/>
                <a:gd name="T12" fmla="*/ 84 w 85"/>
                <a:gd name="T13" fmla="*/ 38 h 38"/>
                <a:gd name="T14" fmla="*/ 42 w 85"/>
                <a:gd name="T15" fmla="*/ 21 h 38"/>
                <a:gd name="T16" fmla="*/ 0 w 85"/>
                <a:gd name="T17" fmla="*/ 2 h 38"/>
                <a:gd name="T18" fmla="*/ 1 w 85"/>
                <a:gd name="T19" fmla="*/ 0 h 38"/>
                <a:gd name="T20" fmla="*/ 0 w 85"/>
                <a:gd name="T21" fmla="*/ 1 h 38"/>
                <a:gd name="T22" fmla="*/ 1 w 85"/>
                <a:gd name="T23" fmla="*/ 0 h 38"/>
                <a:gd name="T24" fmla="*/ 1 w 85"/>
                <a:gd name="T25" fmla="*/ 0 h 38"/>
                <a:gd name="T26" fmla="*/ 43 w 85"/>
                <a:gd name="T27" fmla="*/ 19 h 38"/>
                <a:gd name="T28" fmla="*/ 85 w 85"/>
                <a:gd name="T29" fmla="*/ 35 h 38"/>
                <a:gd name="T30" fmla="*/ 84 w 85"/>
                <a:gd name="T31" fmla="*/ 36 h 38"/>
                <a:gd name="T32" fmla="*/ 84 w 85"/>
                <a:gd name="T33" fmla="*/ 38 h 38"/>
                <a:gd name="T34" fmla="*/ 84 w 85"/>
                <a:gd name="T35" fmla="*/ 38 h 38"/>
                <a:gd name="T36" fmla="*/ 42 w 85"/>
                <a:gd name="T37" fmla="*/ 20 h 38"/>
                <a:gd name="T38" fmla="*/ 0 w 85"/>
                <a:gd name="T39" fmla="*/ 2 h 38"/>
                <a:gd name="T40" fmla="*/ 0 w 85"/>
                <a:gd name="T41" fmla="*/ 1 h 38"/>
                <a:gd name="T42" fmla="*/ 1 w 85"/>
                <a:gd name="T43" fmla="*/ 0 h 38"/>
                <a:gd name="T44" fmla="*/ 0 w 85"/>
                <a:gd name="T45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38">
                  <a:moveTo>
                    <a:pt x="0" y="1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43" y="18"/>
                  </a:lnTo>
                  <a:lnTo>
                    <a:pt x="85" y="35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42" y="21"/>
                  </a:lnTo>
                  <a:lnTo>
                    <a:pt x="0" y="2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43" y="19"/>
                  </a:lnTo>
                  <a:lnTo>
                    <a:pt x="85" y="35"/>
                  </a:lnTo>
                  <a:lnTo>
                    <a:pt x="84" y="36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42" y="20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0" name="Freeform 74"/>
            <p:cNvSpPr>
              <a:spLocks/>
            </p:cNvSpPr>
            <p:nvPr/>
          </p:nvSpPr>
          <p:spPr bwMode="auto">
            <a:xfrm flipH="1">
              <a:off x="7533895" y="2885409"/>
              <a:ext cx="0" cy="1290"/>
            </a:xfrm>
            <a:custGeom>
              <a:avLst/>
              <a:gdLst>
                <a:gd name="T0" fmla="*/ 1 w 2"/>
                <a:gd name="T1" fmla="*/ 2 h 4"/>
                <a:gd name="T2" fmla="*/ 0 w 2"/>
                <a:gd name="T3" fmla="*/ 2 h 4"/>
                <a:gd name="T4" fmla="*/ 0 w 2"/>
                <a:gd name="T5" fmla="*/ 2 h 4"/>
                <a:gd name="T6" fmla="*/ 0 w 2"/>
                <a:gd name="T7" fmla="*/ 0 h 4"/>
                <a:gd name="T8" fmla="*/ 2 w 2"/>
                <a:gd name="T9" fmla="*/ 1 h 4"/>
                <a:gd name="T10" fmla="*/ 1 w 2"/>
                <a:gd name="T11" fmla="*/ 4 h 4"/>
                <a:gd name="T12" fmla="*/ 1 w 2"/>
                <a:gd name="T13" fmla="*/ 4 h 4"/>
                <a:gd name="T14" fmla="*/ 0 w 2"/>
                <a:gd name="T15" fmla="*/ 3 h 4"/>
                <a:gd name="T16" fmla="*/ 0 w 2"/>
                <a:gd name="T17" fmla="*/ 2 h 4"/>
                <a:gd name="T18" fmla="*/ 1 w 2"/>
                <a:gd name="T19" fmla="*/ 2 h 4"/>
                <a:gd name="T20" fmla="*/ 2 w 2"/>
                <a:gd name="T21" fmla="*/ 1 h 4"/>
                <a:gd name="T22" fmla="*/ 2 w 2"/>
                <a:gd name="T23" fmla="*/ 1 h 4"/>
                <a:gd name="T24" fmla="*/ 1 w 2"/>
                <a:gd name="T25" fmla="*/ 3 h 4"/>
                <a:gd name="T26" fmla="*/ 1 w 2"/>
                <a:gd name="T27" fmla="*/ 4 h 4"/>
                <a:gd name="T28" fmla="*/ 0 w 2"/>
                <a:gd name="T29" fmla="*/ 4 h 4"/>
                <a:gd name="T30" fmla="*/ 1 w 2"/>
                <a:gd name="T31" fmla="*/ 2 h 4"/>
                <a:gd name="T32" fmla="*/ 2 w 2"/>
                <a:gd name="T33" fmla="*/ 2 h 4"/>
                <a:gd name="T34" fmla="*/ 2 w 2"/>
                <a:gd name="T35" fmla="*/ 2 h 4"/>
                <a:gd name="T36" fmla="*/ 1 w 2"/>
                <a:gd name="T37" fmla="*/ 2 h 4"/>
                <a:gd name="T38" fmla="*/ 2 w 2"/>
                <a:gd name="T39" fmla="*/ 1 h 4"/>
                <a:gd name="T40" fmla="*/ 1 w 2"/>
                <a:gd name="T4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" h="4">
                  <a:moveTo>
                    <a:pt x="1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1" name="Freeform 75"/>
            <p:cNvSpPr>
              <a:spLocks/>
            </p:cNvSpPr>
            <p:nvPr/>
          </p:nvSpPr>
          <p:spPr bwMode="auto">
            <a:xfrm flipH="1">
              <a:off x="7064301" y="2021165"/>
              <a:ext cx="202544" cy="101904"/>
            </a:xfrm>
            <a:custGeom>
              <a:avLst/>
              <a:gdLst>
                <a:gd name="T0" fmla="*/ 955 w 1095"/>
                <a:gd name="T1" fmla="*/ 464 h 713"/>
                <a:gd name="T2" fmla="*/ 942 w 1095"/>
                <a:gd name="T3" fmla="*/ 423 h 713"/>
                <a:gd name="T4" fmla="*/ 915 w 1095"/>
                <a:gd name="T5" fmla="*/ 375 h 713"/>
                <a:gd name="T6" fmla="*/ 881 w 1095"/>
                <a:gd name="T7" fmla="*/ 344 h 713"/>
                <a:gd name="T8" fmla="*/ 840 w 1095"/>
                <a:gd name="T9" fmla="*/ 327 h 713"/>
                <a:gd name="T10" fmla="*/ 797 w 1095"/>
                <a:gd name="T11" fmla="*/ 325 h 713"/>
                <a:gd name="T12" fmla="*/ 767 w 1095"/>
                <a:gd name="T13" fmla="*/ 332 h 713"/>
                <a:gd name="T14" fmla="*/ 746 w 1095"/>
                <a:gd name="T15" fmla="*/ 342 h 713"/>
                <a:gd name="T16" fmla="*/ 731 w 1095"/>
                <a:gd name="T17" fmla="*/ 358 h 713"/>
                <a:gd name="T18" fmla="*/ 718 w 1095"/>
                <a:gd name="T19" fmla="*/ 386 h 713"/>
                <a:gd name="T20" fmla="*/ 709 w 1095"/>
                <a:gd name="T21" fmla="*/ 438 h 713"/>
                <a:gd name="T22" fmla="*/ 713 w 1095"/>
                <a:gd name="T23" fmla="*/ 519 h 713"/>
                <a:gd name="T24" fmla="*/ 719 w 1095"/>
                <a:gd name="T25" fmla="*/ 600 h 713"/>
                <a:gd name="T26" fmla="*/ 687 w 1095"/>
                <a:gd name="T27" fmla="*/ 706 h 713"/>
                <a:gd name="T28" fmla="*/ 552 w 1095"/>
                <a:gd name="T29" fmla="*/ 713 h 713"/>
                <a:gd name="T30" fmla="*/ 458 w 1095"/>
                <a:gd name="T31" fmla="*/ 709 h 713"/>
                <a:gd name="T32" fmla="*/ 325 w 1095"/>
                <a:gd name="T33" fmla="*/ 692 h 713"/>
                <a:gd name="T34" fmla="*/ 207 w 1095"/>
                <a:gd name="T35" fmla="*/ 663 h 713"/>
                <a:gd name="T36" fmla="*/ 109 w 1095"/>
                <a:gd name="T37" fmla="*/ 623 h 713"/>
                <a:gd name="T38" fmla="*/ 35 w 1095"/>
                <a:gd name="T39" fmla="*/ 575 h 713"/>
                <a:gd name="T40" fmla="*/ 8 w 1095"/>
                <a:gd name="T41" fmla="*/ 548 h 713"/>
                <a:gd name="T42" fmla="*/ 44 w 1095"/>
                <a:gd name="T43" fmla="*/ 416 h 713"/>
                <a:gd name="T44" fmla="*/ 72 w 1095"/>
                <a:gd name="T45" fmla="*/ 341 h 713"/>
                <a:gd name="T46" fmla="*/ 89 w 1095"/>
                <a:gd name="T47" fmla="*/ 288 h 713"/>
                <a:gd name="T48" fmla="*/ 114 w 1095"/>
                <a:gd name="T49" fmla="*/ 238 h 713"/>
                <a:gd name="T50" fmla="*/ 144 w 1095"/>
                <a:gd name="T51" fmla="*/ 191 h 713"/>
                <a:gd name="T52" fmla="*/ 181 w 1095"/>
                <a:gd name="T53" fmla="*/ 148 h 713"/>
                <a:gd name="T54" fmla="*/ 223 w 1095"/>
                <a:gd name="T55" fmla="*/ 110 h 713"/>
                <a:gd name="T56" fmla="*/ 271 w 1095"/>
                <a:gd name="T57" fmla="*/ 76 h 713"/>
                <a:gd name="T58" fmla="*/ 323 w 1095"/>
                <a:gd name="T59" fmla="*/ 48 h 713"/>
                <a:gd name="T60" fmla="*/ 379 w 1095"/>
                <a:gd name="T61" fmla="*/ 26 h 713"/>
                <a:gd name="T62" fmla="*/ 439 w 1095"/>
                <a:gd name="T63" fmla="*/ 11 h 713"/>
                <a:gd name="T64" fmla="*/ 502 w 1095"/>
                <a:gd name="T65" fmla="*/ 2 h 713"/>
                <a:gd name="T66" fmla="*/ 544 w 1095"/>
                <a:gd name="T67" fmla="*/ 0 h 713"/>
                <a:gd name="T68" fmla="*/ 604 w 1095"/>
                <a:gd name="T69" fmla="*/ 4 h 713"/>
                <a:gd name="T70" fmla="*/ 662 w 1095"/>
                <a:gd name="T71" fmla="*/ 14 h 713"/>
                <a:gd name="T72" fmla="*/ 717 w 1095"/>
                <a:gd name="T73" fmla="*/ 29 h 713"/>
                <a:gd name="T74" fmla="*/ 769 w 1095"/>
                <a:gd name="T75" fmla="*/ 50 h 713"/>
                <a:gd name="T76" fmla="*/ 818 w 1095"/>
                <a:gd name="T77" fmla="*/ 76 h 713"/>
                <a:gd name="T78" fmla="*/ 862 w 1095"/>
                <a:gd name="T79" fmla="*/ 107 h 713"/>
                <a:gd name="T80" fmla="*/ 903 w 1095"/>
                <a:gd name="T81" fmla="*/ 143 h 713"/>
                <a:gd name="T82" fmla="*/ 938 w 1095"/>
                <a:gd name="T83" fmla="*/ 181 h 713"/>
                <a:gd name="T84" fmla="*/ 968 w 1095"/>
                <a:gd name="T85" fmla="*/ 224 h 713"/>
                <a:gd name="T86" fmla="*/ 992 w 1095"/>
                <a:gd name="T87" fmla="*/ 270 h 713"/>
                <a:gd name="T88" fmla="*/ 1005 w 1095"/>
                <a:gd name="T89" fmla="*/ 302 h 713"/>
                <a:gd name="T90" fmla="*/ 1095 w 1095"/>
                <a:gd name="T91" fmla="*/ 550 h 713"/>
                <a:gd name="T92" fmla="*/ 1066 w 1095"/>
                <a:gd name="T93" fmla="*/ 578 h 713"/>
                <a:gd name="T94" fmla="*/ 1029 w 1095"/>
                <a:gd name="T95" fmla="*/ 606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5" h="713">
                  <a:moveTo>
                    <a:pt x="1000" y="622"/>
                  </a:moveTo>
                  <a:lnTo>
                    <a:pt x="1000" y="622"/>
                  </a:lnTo>
                  <a:lnTo>
                    <a:pt x="955" y="464"/>
                  </a:lnTo>
                  <a:lnTo>
                    <a:pt x="955" y="464"/>
                  </a:lnTo>
                  <a:lnTo>
                    <a:pt x="949" y="442"/>
                  </a:lnTo>
                  <a:lnTo>
                    <a:pt x="942" y="423"/>
                  </a:lnTo>
                  <a:lnTo>
                    <a:pt x="934" y="405"/>
                  </a:lnTo>
                  <a:lnTo>
                    <a:pt x="925" y="390"/>
                  </a:lnTo>
                  <a:lnTo>
                    <a:pt x="915" y="375"/>
                  </a:lnTo>
                  <a:lnTo>
                    <a:pt x="904" y="364"/>
                  </a:lnTo>
                  <a:lnTo>
                    <a:pt x="892" y="352"/>
                  </a:lnTo>
                  <a:lnTo>
                    <a:pt x="881" y="344"/>
                  </a:lnTo>
                  <a:lnTo>
                    <a:pt x="867" y="337"/>
                  </a:lnTo>
                  <a:lnTo>
                    <a:pt x="855" y="332"/>
                  </a:lnTo>
                  <a:lnTo>
                    <a:pt x="840" y="327"/>
                  </a:lnTo>
                  <a:lnTo>
                    <a:pt x="827" y="325"/>
                  </a:lnTo>
                  <a:lnTo>
                    <a:pt x="812" y="324"/>
                  </a:lnTo>
                  <a:lnTo>
                    <a:pt x="797" y="325"/>
                  </a:lnTo>
                  <a:lnTo>
                    <a:pt x="782" y="327"/>
                  </a:lnTo>
                  <a:lnTo>
                    <a:pt x="767" y="332"/>
                  </a:lnTo>
                  <a:lnTo>
                    <a:pt x="767" y="332"/>
                  </a:lnTo>
                  <a:lnTo>
                    <a:pt x="759" y="335"/>
                  </a:lnTo>
                  <a:lnTo>
                    <a:pt x="752" y="338"/>
                  </a:lnTo>
                  <a:lnTo>
                    <a:pt x="746" y="342"/>
                  </a:lnTo>
                  <a:lnTo>
                    <a:pt x="741" y="347"/>
                  </a:lnTo>
                  <a:lnTo>
                    <a:pt x="735" y="352"/>
                  </a:lnTo>
                  <a:lnTo>
                    <a:pt x="731" y="358"/>
                  </a:lnTo>
                  <a:lnTo>
                    <a:pt x="727" y="364"/>
                  </a:lnTo>
                  <a:lnTo>
                    <a:pt x="723" y="371"/>
                  </a:lnTo>
                  <a:lnTo>
                    <a:pt x="718" y="386"/>
                  </a:lnTo>
                  <a:lnTo>
                    <a:pt x="714" y="401"/>
                  </a:lnTo>
                  <a:lnTo>
                    <a:pt x="710" y="419"/>
                  </a:lnTo>
                  <a:lnTo>
                    <a:pt x="709" y="438"/>
                  </a:lnTo>
                  <a:lnTo>
                    <a:pt x="708" y="458"/>
                  </a:lnTo>
                  <a:lnTo>
                    <a:pt x="709" y="478"/>
                  </a:lnTo>
                  <a:lnTo>
                    <a:pt x="713" y="519"/>
                  </a:lnTo>
                  <a:lnTo>
                    <a:pt x="716" y="561"/>
                  </a:lnTo>
                  <a:lnTo>
                    <a:pt x="719" y="600"/>
                  </a:lnTo>
                  <a:lnTo>
                    <a:pt x="719" y="600"/>
                  </a:lnTo>
                  <a:lnTo>
                    <a:pt x="728" y="700"/>
                  </a:lnTo>
                  <a:lnTo>
                    <a:pt x="728" y="700"/>
                  </a:lnTo>
                  <a:lnTo>
                    <a:pt x="687" y="706"/>
                  </a:lnTo>
                  <a:lnTo>
                    <a:pt x="643" y="710"/>
                  </a:lnTo>
                  <a:lnTo>
                    <a:pt x="598" y="712"/>
                  </a:lnTo>
                  <a:lnTo>
                    <a:pt x="552" y="713"/>
                  </a:lnTo>
                  <a:lnTo>
                    <a:pt x="552" y="713"/>
                  </a:lnTo>
                  <a:lnTo>
                    <a:pt x="505" y="712"/>
                  </a:lnTo>
                  <a:lnTo>
                    <a:pt x="458" y="709"/>
                  </a:lnTo>
                  <a:lnTo>
                    <a:pt x="412" y="705"/>
                  </a:lnTo>
                  <a:lnTo>
                    <a:pt x="367" y="699"/>
                  </a:lnTo>
                  <a:lnTo>
                    <a:pt x="325" y="692"/>
                  </a:lnTo>
                  <a:lnTo>
                    <a:pt x="283" y="684"/>
                  </a:lnTo>
                  <a:lnTo>
                    <a:pt x="245" y="674"/>
                  </a:lnTo>
                  <a:lnTo>
                    <a:pt x="207" y="663"/>
                  </a:lnTo>
                  <a:lnTo>
                    <a:pt x="172" y="651"/>
                  </a:lnTo>
                  <a:lnTo>
                    <a:pt x="140" y="638"/>
                  </a:lnTo>
                  <a:lnTo>
                    <a:pt x="109" y="623"/>
                  </a:lnTo>
                  <a:lnTo>
                    <a:pt x="82" y="609"/>
                  </a:lnTo>
                  <a:lnTo>
                    <a:pt x="57" y="592"/>
                  </a:lnTo>
                  <a:lnTo>
                    <a:pt x="35" y="575"/>
                  </a:lnTo>
                  <a:lnTo>
                    <a:pt x="24" y="566"/>
                  </a:lnTo>
                  <a:lnTo>
                    <a:pt x="16" y="558"/>
                  </a:lnTo>
                  <a:lnTo>
                    <a:pt x="8" y="548"/>
                  </a:lnTo>
                  <a:lnTo>
                    <a:pt x="0" y="539"/>
                  </a:lnTo>
                  <a:lnTo>
                    <a:pt x="0" y="539"/>
                  </a:lnTo>
                  <a:lnTo>
                    <a:pt x="44" y="416"/>
                  </a:lnTo>
                  <a:lnTo>
                    <a:pt x="72" y="341"/>
                  </a:lnTo>
                  <a:lnTo>
                    <a:pt x="72" y="341"/>
                  </a:lnTo>
                  <a:lnTo>
                    <a:pt x="72" y="341"/>
                  </a:lnTo>
                  <a:lnTo>
                    <a:pt x="77" y="323"/>
                  </a:lnTo>
                  <a:lnTo>
                    <a:pt x="83" y="305"/>
                  </a:lnTo>
                  <a:lnTo>
                    <a:pt x="89" y="288"/>
                  </a:lnTo>
                  <a:lnTo>
                    <a:pt x="96" y="270"/>
                  </a:lnTo>
                  <a:lnTo>
                    <a:pt x="104" y="253"/>
                  </a:lnTo>
                  <a:lnTo>
                    <a:pt x="114" y="238"/>
                  </a:lnTo>
                  <a:lnTo>
                    <a:pt x="123" y="221"/>
                  </a:lnTo>
                  <a:lnTo>
                    <a:pt x="133" y="205"/>
                  </a:lnTo>
                  <a:lnTo>
                    <a:pt x="144" y="191"/>
                  </a:lnTo>
                  <a:lnTo>
                    <a:pt x="155" y="176"/>
                  </a:lnTo>
                  <a:lnTo>
                    <a:pt x="168" y="162"/>
                  </a:lnTo>
                  <a:lnTo>
                    <a:pt x="181" y="148"/>
                  </a:lnTo>
                  <a:lnTo>
                    <a:pt x="195" y="135"/>
                  </a:lnTo>
                  <a:lnTo>
                    <a:pt x="208" y="122"/>
                  </a:lnTo>
                  <a:lnTo>
                    <a:pt x="223" y="110"/>
                  </a:lnTo>
                  <a:lnTo>
                    <a:pt x="239" y="98"/>
                  </a:lnTo>
                  <a:lnTo>
                    <a:pt x="254" y="87"/>
                  </a:lnTo>
                  <a:lnTo>
                    <a:pt x="271" y="76"/>
                  </a:lnTo>
                  <a:lnTo>
                    <a:pt x="287" y="66"/>
                  </a:lnTo>
                  <a:lnTo>
                    <a:pt x="305" y="57"/>
                  </a:lnTo>
                  <a:lnTo>
                    <a:pt x="323" y="48"/>
                  </a:lnTo>
                  <a:lnTo>
                    <a:pt x="341" y="41"/>
                  </a:lnTo>
                  <a:lnTo>
                    <a:pt x="360" y="34"/>
                  </a:lnTo>
                  <a:lnTo>
                    <a:pt x="379" y="26"/>
                  </a:lnTo>
                  <a:lnTo>
                    <a:pt x="399" y="21"/>
                  </a:lnTo>
                  <a:lnTo>
                    <a:pt x="418" y="16"/>
                  </a:lnTo>
                  <a:lnTo>
                    <a:pt x="439" y="11"/>
                  </a:lnTo>
                  <a:lnTo>
                    <a:pt x="459" y="7"/>
                  </a:lnTo>
                  <a:lnTo>
                    <a:pt x="480" y="4"/>
                  </a:lnTo>
                  <a:lnTo>
                    <a:pt x="502" y="2"/>
                  </a:lnTo>
                  <a:lnTo>
                    <a:pt x="522" y="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565" y="1"/>
                  </a:lnTo>
                  <a:lnTo>
                    <a:pt x="585" y="2"/>
                  </a:lnTo>
                  <a:lnTo>
                    <a:pt x="604" y="4"/>
                  </a:lnTo>
                  <a:lnTo>
                    <a:pt x="624" y="6"/>
                  </a:lnTo>
                  <a:lnTo>
                    <a:pt x="643" y="10"/>
                  </a:lnTo>
                  <a:lnTo>
                    <a:pt x="662" y="14"/>
                  </a:lnTo>
                  <a:lnTo>
                    <a:pt x="680" y="18"/>
                  </a:lnTo>
                  <a:lnTo>
                    <a:pt x="699" y="23"/>
                  </a:lnTo>
                  <a:lnTo>
                    <a:pt x="717" y="29"/>
                  </a:lnTo>
                  <a:lnTo>
                    <a:pt x="734" y="36"/>
                  </a:lnTo>
                  <a:lnTo>
                    <a:pt x="752" y="43"/>
                  </a:lnTo>
                  <a:lnTo>
                    <a:pt x="769" y="50"/>
                  </a:lnTo>
                  <a:lnTo>
                    <a:pt x="785" y="59"/>
                  </a:lnTo>
                  <a:lnTo>
                    <a:pt x="802" y="67"/>
                  </a:lnTo>
                  <a:lnTo>
                    <a:pt x="818" y="76"/>
                  </a:lnTo>
                  <a:lnTo>
                    <a:pt x="833" y="86"/>
                  </a:lnTo>
                  <a:lnTo>
                    <a:pt x="848" y="96"/>
                  </a:lnTo>
                  <a:lnTo>
                    <a:pt x="862" y="107"/>
                  </a:lnTo>
                  <a:lnTo>
                    <a:pt x="876" y="119"/>
                  </a:lnTo>
                  <a:lnTo>
                    <a:pt x="889" y="130"/>
                  </a:lnTo>
                  <a:lnTo>
                    <a:pt x="903" y="143"/>
                  </a:lnTo>
                  <a:lnTo>
                    <a:pt x="914" y="155"/>
                  </a:lnTo>
                  <a:lnTo>
                    <a:pt x="927" y="168"/>
                  </a:lnTo>
                  <a:lnTo>
                    <a:pt x="938" y="181"/>
                  </a:lnTo>
                  <a:lnTo>
                    <a:pt x="949" y="196"/>
                  </a:lnTo>
                  <a:lnTo>
                    <a:pt x="958" y="210"/>
                  </a:lnTo>
                  <a:lnTo>
                    <a:pt x="968" y="224"/>
                  </a:lnTo>
                  <a:lnTo>
                    <a:pt x="977" y="240"/>
                  </a:lnTo>
                  <a:lnTo>
                    <a:pt x="985" y="254"/>
                  </a:lnTo>
                  <a:lnTo>
                    <a:pt x="992" y="270"/>
                  </a:lnTo>
                  <a:lnTo>
                    <a:pt x="998" y="287"/>
                  </a:lnTo>
                  <a:lnTo>
                    <a:pt x="1005" y="302"/>
                  </a:lnTo>
                  <a:lnTo>
                    <a:pt x="1005" y="302"/>
                  </a:lnTo>
                  <a:lnTo>
                    <a:pt x="1039" y="395"/>
                  </a:lnTo>
                  <a:lnTo>
                    <a:pt x="1095" y="550"/>
                  </a:lnTo>
                  <a:lnTo>
                    <a:pt x="1095" y="550"/>
                  </a:lnTo>
                  <a:lnTo>
                    <a:pt x="1087" y="560"/>
                  </a:lnTo>
                  <a:lnTo>
                    <a:pt x="1076" y="570"/>
                  </a:lnTo>
                  <a:lnTo>
                    <a:pt x="1066" y="578"/>
                  </a:lnTo>
                  <a:lnTo>
                    <a:pt x="1055" y="588"/>
                  </a:lnTo>
                  <a:lnTo>
                    <a:pt x="1042" y="597"/>
                  </a:lnTo>
                  <a:lnTo>
                    <a:pt x="1029" y="606"/>
                  </a:lnTo>
                  <a:lnTo>
                    <a:pt x="1000" y="622"/>
                  </a:lnTo>
                  <a:lnTo>
                    <a:pt x="1000" y="6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2" name="Freeform 76"/>
            <p:cNvSpPr>
              <a:spLocks/>
            </p:cNvSpPr>
            <p:nvPr/>
          </p:nvSpPr>
          <p:spPr bwMode="auto">
            <a:xfrm flipH="1">
              <a:off x="7082363" y="2067602"/>
              <a:ext cx="54184" cy="54177"/>
            </a:xfrm>
            <a:custGeom>
              <a:avLst/>
              <a:gdLst>
                <a:gd name="T0" fmla="*/ 59 w 292"/>
                <a:gd name="T1" fmla="*/ 8 h 376"/>
                <a:gd name="T2" fmla="*/ 59 w 292"/>
                <a:gd name="T3" fmla="*/ 8 h 376"/>
                <a:gd name="T4" fmla="*/ 74 w 292"/>
                <a:gd name="T5" fmla="*/ 3 h 376"/>
                <a:gd name="T6" fmla="*/ 89 w 292"/>
                <a:gd name="T7" fmla="*/ 1 h 376"/>
                <a:gd name="T8" fmla="*/ 104 w 292"/>
                <a:gd name="T9" fmla="*/ 0 h 376"/>
                <a:gd name="T10" fmla="*/ 119 w 292"/>
                <a:gd name="T11" fmla="*/ 1 h 376"/>
                <a:gd name="T12" fmla="*/ 132 w 292"/>
                <a:gd name="T13" fmla="*/ 3 h 376"/>
                <a:gd name="T14" fmla="*/ 147 w 292"/>
                <a:gd name="T15" fmla="*/ 8 h 376"/>
                <a:gd name="T16" fmla="*/ 159 w 292"/>
                <a:gd name="T17" fmla="*/ 13 h 376"/>
                <a:gd name="T18" fmla="*/ 173 w 292"/>
                <a:gd name="T19" fmla="*/ 20 h 376"/>
                <a:gd name="T20" fmla="*/ 184 w 292"/>
                <a:gd name="T21" fmla="*/ 28 h 376"/>
                <a:gd name="T22" fmla="*/ 196 w 292"/>
                <a:gd name="T23" fmla="*/ 40 h 376"/>
                <a:gd name="T24" fmla="*/ 207 w 292"/>
                <a:gd name="T25" fmla="*/ 51 h 376"/>
                <a:gd name="T26" fmla="*/ 217 w 292"/>
                <a:gd name="T27" fmla="*/ 66 h 376"/>
                <a:gd name="T28" fmla="*/ 226 w 292"/>
                <a:gd name="T29" fmla="*/ 81 h 376"/>
                <a:gd name="T30" fmla="*/ 234 w 292"/>
                <a:gd name="T31" fmla="*/ 99 h 376"/>
                <a:gd name="T32" fmla="*/ 241 w 292"/>
                <a:gd name="T33" fmla="*/ 118 h 376"/>
                <a:gd name="T34" fmla="*/ 247 w 292"/>
                <a:gd name="T35" fmla="*/ 140 h 376"/>
                <a:gd name="T36" fmla="*/ 247 w 292"/>
                <a:gd name="T37" fmla="*/ 140 h 376"/>
                <a:gd name="T38" fmla="*/ 292 w 292"/>
                <a:gd name="T39" fmla="*/ 298 h 376"/>
                <a:gd name="T40" fmla="*/ 292 w 292"/>
                <a:gd name="T41" fmla="*/ 298 h 376"/>
                <a:gd name="T42" fmla="*/ 264 w 292"/>
                <a:gd name="T43" fmla="*/ 311 h 376"/>
                <a:gd name="T44" fmla="*/ 235 w 292"/>
                <a:gd name="T45" fmla="*/ 323 h 376"/>
                <a:gd name="T46" fmla="*/ 203 w 292"/>
                <a:gd name="T47" fmla="*/ 335 h 376"/>
                <a:gd name="T48" fmla="*/ 170 w 292"/>
                <a:gd name="T49" fmla="*/ 345 h 376"/>
                <a:gd name="T50" fmla="*/ 136 w 292"/>
                <a:gd name="T51" fmla="*/ 354 h 376"/>
                <a:gd name="T52" fmla="*/ 98 w 292"/>
                <a:gd name="T53" fmla="*/ 363 h 376"/>
                <a:gd name="T54" fmla="*/ 60 w 292"/>
                <a:gd name="T55" fmla="*/ 370 h 376"/>
                <a:gd name="T56" fmla="*/ 20 w 292"/>
                <a:gd name="T57" fmla="*/ 376 h 376"/>
                <a:gd name="T58" fmla="*/ 20 w 292"/>
                <a:gd name="T59" fmla="*/ 376 h 376"/>
                <a:gd name="T60" fmla="*/ 11 w 292"/>
                <a:gd name="T61" fmla="*/ 276 h 376"/>
                <a:gd name="T62" fmla="*/ 11 w 292"/>
                <a:gd name="T63" fmla="*/ 276 h 376"/>
                <a:gd name="T64" fmla="*/ 8 w 292"/>
                <a:gd name="T65" fmla="*/ 237 h 376"/>
                <a:gd name="T66" fmla="*/ 5 w 292"/>
                <a:gd name="T67" fmla="*/ 195 h 376"/>
                <a:gd name="T68" fmla="*/ 1 w 292"/>
                <a:gd name="T69" fmla="*/ 154 h 376"/>
                <a:gd name="T70" fmla="*/ 0 w 292"/>
                <a:gd name="T71" fmla="*/ 134 h 376"/>
                <a:gd name="T72" fmla="*/ 1 w 292"/>
                <a:gd name="T73" fmla="*/ 114 h 376"/>
                <a:gd name="T74" fmla="*/ 2 w 292"/>
                <a:gd name="T75" fmla="*/ 95 h 376"/>
                <a:gd name="T76" fmla="*/ 6 w 292"/>
                <a:gd name="T77" fmla="*/ 77 h 376"/>
                <a:gd name="T78" fmla="*/ 10 w 292"/>
                <a:gd name="T79" fmla="*/ 62 h 376"/>
                <a:gd name="T80" fmla="*/ 15 w 292"/>
                <a:gd name="T81" fmla="*/ 47 h 376"/>
                <a:gd name="T82" fmla="*/ 19 w 292"/>
                <a:gd name="T83" fmla="*/ 40 h 376"/>
                <a:gd name="T84" fmla="*/ 23 w 292"/>
                <a:gd name="T85" fmla="*/ 34 h 376"/>
                <a:gd name="T86" fmla="*/ 27 w 292"/>
                <a:gd name="T87" fmla="*/ 28 h 376"/>
                <a:gd name="T88" fmla="*/ 33 w 292"/>
                <a:gd name="T89" fmla="*/ 23 h 376"/>
                <a:gd name="T90" fmla="*/ 38 w 292"/>
                <a:gd name="T91" fmla="*/ 18 h 376"/>
                <a:gd name="T92" fmla="*/ 44 w 292"/>
                <a:gd name="T93" fmla="*/ 14 h 376"/>
                <a:gd name="T94" fmla="*/ 51 w 292"/>
                <a:gd name="T95" fmla="*/ 11 h 376"/>
                <a:gd name="T96" fmla="*/ 59 w 292"/>
                <a:gd name="T97" fmla="*/ 8 h 376"/>
                <a:gd name="T98" fmla="*/ 59 w 292"/>
                <a:gd name="T99" fmla="*/ 8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376">
                  <a:moveTo>
                    <a:pt x="59" y="8"/>
                  </a:moveTo>
                  <a:lnTo>
                    <a:pt x="59" y="8"/>
                  </a:lnTo>
                  <a:lnTo>
                    <a:pt x="74" y="3"/>
                  </a:lnTo>
                  <a:lnTo>
                    <a:pt x="89" y="1"/>
                  </a:lnTo>
                  <a:lnTo>
                    <a:pt x="104" y="0"/>
                  </a:lnTo>
                  <a:lnTo>
                    <a:pt x="119" y="1"/>
                  </a:lnTo>
                  <a:lnTo>
                    <a:pt x="132" y="3"/>
                  </a:lnTo>
                  <a:lnTo>
                    <a:pt x="147" y="8"/>
                  </a:lnTo>
                  <a:lnTo>
                    <a:pt x="159" y="13"/>
                  </a:lnTo>
                  <a:lnTo>
                    <a:pt x="173" y="20"/>
                  </a:lnTo>
                  <a:lnTo>
                    <a:pt x="184" y="28"/>
                  </a:lnTo>
                  <a:lnTo>
                    <a:pt x="196" y="40"/>
                  </a:lnTo>
                  <a:lnTo>
                    <a:pt x="207" y="51"/>
                  </a:lnTo>
                  <a:lnTo>
                    <a:pt x="217" y="66"/>
                  </a:lnTo>
                  <a:lnTo>
                    <a:pt x="226" y="81"/>
                  </a:lnTo>
                  <a:lnTo>
                    <a:pt x="234" y="99"/>
                  </a:lnTo>
                  <a:lnTo>
                    <a:pt x="241" y="118"/>
                  </a:lnTo>
                  <a:lnTo>
                    <a:pt x="247" y="140"/>
                  </a:lnTo>
                  <a:lnTo>
                    <a:pt x="247" y="140"/>
                  </a:lnTo>
                  <a:lnTo>
                    <a:pt x="292" y="298"/>
                  </a:lnTo>
                  <a:lnTo>
                    <a:pt x="292" y="298"/>
                  </a:lnTo>
                  <a:lnTo>
                    <a:pt x="264" y="311"/>
                  </a:lnTo>
                  <a:lnTo>
                    <a:pt x="235" y="323"/>
                  </a:lnTo>
                  <a:lnTo>
                    <a:pt x="203" y="335"/>
                  </a:lnTo>
                  <a:lnTo>
                    <a:pt x="170" y="345"/>
                  </a:lnTo>
                  <a:lnTo>
                    <a:pt x="136" y="354"/>
                  </a:lnTo>
                  <a:lnTo>
                    <a:pt x="98" y="363"/>
                  </a:lnTo>
                  <a:lnTo>
                    <a:pt x="60" y="370"/>
                  </a:lnTo>
                  <a:lnTo>
                    <a:pt x="20" y="376"/>
                  </a:lnTo>
                  <a:lnTo>
                    <a:pt x="20" y="3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8" y="237"/>
                  </a:lnTo>
                  <a:lnTo>
                    <a:pt x="5" y="195"/>
                  </a:lnTo>
                  <a:lnTo>
                    <a:pt x="1" y="154"/>
                  </a:lnTo>
                  <a:lnTo>
                    <a:pt x="0" y="134"/>
                  </a:lnTo>
                  <a:lnTo>
                    <a:pt x="1" y="114"/>
                  </a:lnTo>
                  <a:lnTo>
                    <a:pt x="2" y="95"/>
                  </a:lnTo>
                  <a:lnTo>
                    <a:pt x="6" y="77"/>
                  </a:lnTo>
                  <a:lnTo>
                    <a:pt x="10" y="62"/>
                  </a:lnTo>
                  <a:lnTo>
                    <a:pt x="15" y="47"/>
                  </a:lnTo>
                  <a:lnTo>
                    <a:pt x="19" y="40"/>
                  </a:lnTo>
                  <a:lnTo>
                    <a:pt x="23" y="34"/>
                  </a:lnTo>
                  <a:lnTo>
                    <a:pt x="27" y="28"/>
                  </a:lnTo>
                  <a:lnTo>
                    <a:pt x="33" y="23"/>
                  </a:lnTo>
                  <a:lnTo>
                    <a:pt x="38" y="18"/>
                  </a:lnTo>
                  <a:lnTo>
                    <a:pt x="44" y="14"/>
                  </a:lnTo>
                  <a:lnTo>
                    <a:pt x="51" y="11"/>
                  </a:lnTo>
                  <a:lnTo>
                    <a:pt x="59" y="8"/>
                  </a:lnTo>
                  <a:lnTo>
                    <a:pt x="59" y="8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3" name="Freeform 77"/>
            <p:cNvSpPr>
              <a:spLocks noEditPoints="1"/>
            </p:cNvSpPr>
            <p:nvPr/>
          </p:nvSpPr>
          <p:spPr bwMode="auto">
            <a:xfrm flipH="1">
              <a:off x="6793383" y="2067602"/>
              <a:ext cx="740511" cy="877144"/>
            </a:xfrm>
            <a:custGeom>
              <a:avLst/>
              <a:gdLst>
                <a:gd name="T0" fmla="*/ 1012 w 4017"/>
                <a:gd name="T1" fmla="*/ 3103 h 6116"/>
                <a:gd name="T2" fmla="*/ 883 w 4017"/>
                <a:gd name="T3" fmla="*/ 3044 h 6116"/>
                <a:gd name="T4" fmla="*/ 627 w 4017"/>
                <a:gd name="T5" fmla="*/ 3975 h 6116"/>
                <a:gd name="T6" fmla="*/ 775 w 4017"/>
                <a:gd name="T7" fmla="*/ 4047 h 6116"/>
                <a:gd name="T8" fmla="*/ 318 w 4017"/>
                <a:gd name="T9" fmla="*/ 5869 h 6116"/>
                <a:gd name="T10" fmla="*/ 234 w 4017"/>
                <a:gd name="T11" fmla="*/ 5834 h 6116"/>
                <a:gd name="T12" fmla="*/ 75 w 4017"/>
                <a:gd name="T13" fmla="*/ 5753 h 6116"/>
                <a:gd name="T14" fmla="*/ 0 w 4017"/>
                <a:gd name="T15" fmla="*/ 5709 h 6116"/>
                <a:gd name="T16" fmla="*/ 358 w 4017"/>
                <a:gd name="T17" fmla="*/ 4837 h 6116"/>
                <a:gd name="T18" fmla="*/ 484 w 4017"/>
                <a:gd name="T19" fmla="*/ 4905 h 6116"/>
                <a:gd name="T20" fmla="*/ 2645 w 4017"/>
                <a:gd name="T21" fmla="*/ 5153 h 6116"/>
                <a:gd name="T22" fmla="*/ 2806 w 4017"/>
                <a:gd name="T23" fmla="*/ 6107 h 6116"/>
                <a:gd name="T24" fmla="*/ 3084 w 4017"/>
                <a:gd name="T25" fmla="*/ 6055 h 6116"/>
                <a:gd name="T26" fmla="*/ 3296 w 4017"/>
                <a:gd name="T27" fmla="*/ 6000 h 6116"/>
                <a:gd name="T28" fmla="*/ 3321 w 4017"/>
                <a:gd name="T29" fmla="*/ 5992 h 6116"/>
                <a:gd name="T30" fmla="*/ 3342 w 4017"/>
                <a:gd name="T31" fmla="*/ 5986 h 6116"/>
                <a:gd name="T32" fmla="*/ 3626 w 4017"/>
                <a:gd name="T33" fmla="*/ 5884 h 6116"/>
                <a:gd name="T34" fmla="*/ 3799 w 4017"/>
                <a:gd name="T35" fmla="*/ 5809 h 6116"/>
                <a:gd name="T36" fmla="*/ 3974 w 4017"/>
                <a:gd name="T37" fmla="*/ 5719 h 6116"/>
                <a:gd name="T38" fmla="*/ 3746 w 4017"/>
                <a:gd name="T39" fmla="*/ 4764 h 6116"/>
                <a:gd name="T40" fmla="*/ 3674 w 4017"/>
                <a:gd name="T41" fmla="*/ 4814 h 6116"/>
                <a:gd name="T42" fmla="*/ 3537 w 4017"/>
                <a:gd name="T43" fmla="*/ 4892 h 6116"/>
                <a:gd name="T44" fmla="*/ 3279 w 4017"/>
                <a:gd name="T45" fmla="*/ 5001 h 6116"/>
                <a:gd name="T46" fmla="*/ 2980 w 4017"/>
                <a:gd name="T47" fmla="*/ 5089 h 6116"/>
                <a:gd name="T48" fmla="*/ 2645 w 4017"/>
                <a:gd name="T49" fmla="*/ 5153 h 6116"/>
                <a:gd name="T50" fmla="*/ 2517 w 4017"/>
                <a:gd name="T51" fmla="*/ 3231 h 6116"/>
                <a:gd name="T52" fmla="*/ 2743 w 4017"/>
                <a:gd name="T53" fmla="*/ 3184 h 6116"/>
                <a:gd name="T54" fmla="*/ 2944 w 4017"/>
                <a:gd name="T55" fmla="*/ 3122 h 6116"/>
                <a:gd name="T56" fmla="*/ 3118 w 4017"/>
                <a:gd name="T57" fmla="*/ 3045 h 6116"/>
                <a:gd name="T58" fmla="*/ 3227 w 4017"/>
                <a:gd name="T59" fmla="*/ 2979 h 6116"/>
                <a:gd name="T60" fmla="*/ 3409 w 4017"/>
                <a:gd name="T61" fmla="*/ 3951 h 6116"/>
                <a:gd name="T62" fmla="*/ 3208 w 4017"/>
                <a:gd name="T63" fmla="*/ 4051 h 6116"/>
                <a:gd name="T64" fmla="*/ 2970 w 4017"/>
                <a:gd name="T65" fmla="*/ 4136 h 6116"/>
                <a:gd name="T66" fmla="*/ 2700 w 4017"/>
                <a:gd name="T67" fmla="*/ 4200 h 6116"/>
                <a:gd name="T68" fmla="*/ 2457 w 4017"/>
                <a:gd name="T69" fmla="*/ 3241 h 6116"/>
                <a:gd name="T70" fmla="*/ 2333 w 4017"/>
                <a:gd name="T71" fmla="*/ 1314 h 6116"/>
                <a:gd name="T72" fmla="*/ 2565 w 4017"/>
                <a:gd name="T73" fmla="*/ 1261 h 6116"/>
                <a:gd name="T74" fmla="*/ 2712 w 4017"/>
                <a:gd name="T75" fmla="*/ 1206 h 6116"/>
                <a:gd name="T76" fmla="*/ 2919 w 4017"/>
                <a:gd name="T77" fmla="*/ 2150 h 6116"/>
                <a:gd name="T78" fmla="*/ 2786 w 4017"/>
                <a:gd name="T79" fmla="*/ 2211 h 6116"/>
                <a:gd name="T80" fmla="*/ 2633 w 4017"/>
                <a:gd name="T81" fmla="*/ 2262 h 6116"/>
                <a:gd name="T82" fmla="*/ 2459 w 4017"/>
                <a:gd name="T83" fmla="*/ 2302 h 6116"/>
                <a:gd name="T84" fmla="*/ 2270 w 4017"/>
                <a:gd name="T85" fmla="*/ 1323 h 6116"/>
                <a:gd name="T86" fmla="*/ 2231 w 4017"/>
                <a:gd name="T87" fmla="*/ 3 h 6116"/>
                <a:gd name="T88" fmla="*/ 2289 w 4017"/>
                <a:gd name="T89" fmla="*/ 3 h 6116"/>
                <a:gd name="T90" fmla="*/ 2341 w 4017"/>
                <a:gd name="T91" fmla="*/ 28 h 6116"/>
                <a:gd name="T92" fmla="*/ 2383 w 4017"/>
                <a:gd name="T93" fmla="*/ 81 h 6116"/>
                <a:gd name="T94" fmla="*/ 2404 w 4017"/>
                <a:gd name="T95" fmla="*/ 140 h 6116"/>
                <a:gd name="T96" fmla="*/ 2392 w 4017"/>
                <a:gd name="T97" fmla="*/ 323 h 6116"/>
                <a:gd name="T98" fmla="*/ 2255 w 4017"/>
                <a:gd name="T99" fmla="*/ 363 h 6116"/>
                <a:gd name="T100" fmla="*/ 2168 w 4017"/>
                <a:gd name="T101" fmla="*/ 276 h 6116"/>
                <a:gd name="T102" fmla="*/ 2158 w 4017"/>
                <a:gd name="T103" fmla="*/ 154 h 6116"/>
                <a:gd name="T104" fmla="*/ 2163 w 4017"/>
                <a:gd name="T105" fmla="*/ 77 h 6116"/>
                <a:gd name="T106" fmla="*/ 2180 w 4017"/>
                <a:gd name="T107" fmla="*/ 34 h 6116"/>
                <a:gd name="T108" fmla="*/ 2201 w 4017"/>
                <a:gd name="T109" fmla="*/ 14 h 6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017" h="6116">
                  <a:moveTo>
                    <a:pt x="775" y="4047"/>
                  </a:moveTo>
                  <a:lnTo>
                    <a:pt x="775" y="4047"/>
                  </a:lnTo>
                  <a:lnTo>
                    <a:pt x="1012" y="3103"/>
                  </a:lnTo>
                  <a:lnTo>
                    <a:pt x="1012" y="3103"/>
                  </a:lnTo>
                  <a:lnTo>
                    <a:pt x="977" y="3089"/>
                  </a:lnTo>
                  <a:lnTo>
                    <a:pt x="945" y="3074"/>
                  </a:lnTo>
                  <a:lnTo>
                    <a:pt x="913" y="3059"/>
                  </a:lnTo>
                  <a:lnTo>
                    <a:pt x="883" y="3044"/>
                  </a:lnTo>
                  <a:lnTo>
                    <a:pt x="883" y="3044"/>
                  </a:lnTo>
                  <a:lnTo>
                    <a:pt x="582" y="3949"/>
                  </a:lnTo>
                  <a:lnTo>
                    <a:pt x="582" y="3949"/>
                  </a:lnTo>
                  <a:lnTo>
                    <a:pt x="627" y="3975"/>
                  </a:lnTo>
                  <a:lnTo>
                    <a:pt x="674" y="4000"/>
                  </a:lnTo>
                  <a:lnTo>
                    <a:pt x="723" y="4024"/>
                  </a:lnTo>
                  <a:lnTo>
                    <a:pt x="775" y="4047"/>
                  </a:lnTo>
                  <a:lnTo>
                    <a:pt x="775" y="4047"/>
                  </a:lnTo>
                  <a:close/>
                  <a:moveTo>
                    <a:pt x="552" y="4937"/>
                  </a:moveTo>
                  <a:lnTo>
                    <a:pt x="552" y="4937"/>
                  </a:lnTo>
                  <a:lnTo>
                    <a:pt x="319" y="5869"/>
                  </a:lnTo>
                  <a:lnTo>
                    <a:pt x="318" y="5869"/>
                  </a:lnTo>
                  <a:lnTo>
                    <a:pt x="318" y="5869"/>
                  </a:lnTo>
                  <a:lnTo>
                    <a:pt x="276" y="5852"/>
                  </a:lnTo>
                  <a:lnTo>
                    <a:pt x="234" y="5834"/>
                  </a:lnTo>
                  <a:lnTo>
                    <a:pt x="234" y="5834"/>
                  </a:lnTo>
                  <a:lnTo>
                    <a:pt x="190" y="5813"/>
                  </a:lnTo>
                  <a:lnTo>
                    <a:pt x="149" y="5792"/>
                  </a:lnTo>
                  <a:lnTo>
                    <a:pt x="110" y="5772"/>
                  </a:lnTo>
                  <a:lnTo>
                    <a:pt x="75" y="5753"/>
                  </a:lnTo>
                  <a:lnTo>
                    <a:pt x="23" y="5723"/>
                  </a:lnTo>
                  <a:lnTo>
                    <a:pt x="0" y="5710"/>
                  </a:lnTo>
                  <a:lnTo>
                    <a:pt x="0" y="5709"/>
                  </a:lnTo>
                  <a:lnTo>
                    <a:pt x="0" y="5709"/>
                  </a:lnTo>
                  <a:lnTo>
                    <a:pt x="301" y="4801"/>
                  </a:lnTo>
                  <a:lnTo>
                    <a:pt x="301" y="4801"/>
                  </a:lnTo>
                  <a:lnTo>
                    <a:pt x="329" y="4819"/>
                  </a:lnTo>
                  <a:lnTo>
                    <a:pt x="358" y="4837"/>
                  </a:lnTo>
                  <a:lnTo>
                    <a:pt x="388" y="4855"/>
                  </a:lnTo>
                  <a:lnTo>
                    <a:pt x="418" y="4871"/>
                  </a:lnTo>
                  <a:lnTo>
                    <a:pt x="450" y="4888"/>
                  </a:lnTo>
                  <a:lnTo>
                    <a:pt x="484" y="4905"/>
                  </a:lnTo>
                  <a:lnTo>
                    <a:pt x="517" y="4921"/>
                  </a:lnTo>
                  <a:lnTo>
                    <a:pt x="552" y="4937"/>
                  </a:lnTo>
                  <a:lnTo>
                    <a:pt x="552" y="4937"/>
                  </a:lnTo>
                  <a:close/>
                  <a:moveTo>
                    <a:pt x="2645" y="5153"/>
                  </a:moveTo>
                  <a:lnTo>
                    <a:pt x="2645" y="5153"/>
                  </a:lnTo>
                  <a:lnTo>
                    <a:pt x="2740" y="6116"/>
                  </a:lnTo>
                  <a:lnTo>
                    <a:pt x="2740" y="6116"/>
                  </a:lnTo>
                  <a:lnTo>
                    <a:pt x="2806" y="6107"/>
                  </a:lnTo>
                  <a:lnTo>
                    <a:pt x="2875" y="6096"/>
                  </a:lnTo>
                  <a:lnTo>
                    <a:pt x="2943" y="6083"/>
                  </a:lnTo>
                  <a:lnTo>
                    <a:pt x="3013" y="6070"/>
                  </a:lnTo>
                  <a:lnTo>
                    <a:pt x="3084" y="6055"/>
                  </a:lnTo>
                  <a:lnTo>
                    <a:pt x="3154" y="6038"/>
                  </a:lnTo>
                  <a:lnTo>
                    <a:pt x="3225" y="6020"/>
                  </a:lnTo>
                  <a:lnTo>
                    <a:pt x="3296" y="6000"/>
                  </a:lnTo>
                  <a:lnTo>
                    <a:pt x="3296" y="6000"/>
                  </a:lnTo>
                  <a:lnTo>
                    <a:pt x="3307" y="5997"/>
                  </a:lnTo>
                  <a:lnTo>
                    <a:pt x="3307" y="5997"/>
                  </a:lnTo>
                  <a:lnTo>
                    <a:pt x="3321" y="5992"/>
                  </a:lnTo>
                  <a:lnTo>
                    <a:pt x="3321" y="5992"/>
                  </a:lnTo>
                  <a:lnTo>
                    <a:pt x="3338" y="5987"/>
                  </a:lnTo>
                  <a:lnTo>
                    <a:pt x="3338" y="5987"/>
                  </a:lnTo>
                  <a:lnTo>
                    <a:pt x="3342" y="5986"/>
                  </a:lnTo>
                  <a:lnTo>
                    <a:pt x="3342" y="5986"/>
                  </a:lnTo>
                  <a:lnTo>
                    <a:pt x="3421" y="5960"/>
                  </a:lnTo>
                  <a:lnTo>
                    <a:pt x="3502" y="5932"/>
                  </a:lnTo>
                  <a:lnTo>
                    <a:pt x="3585" y="5901"/>
                  </a:lnTo>
                  <a:lnTo>
                    <a:pt x="3626" y="5884"/>
                  </a:lnTo>
                  <a:lnTo>
                    <a:pt x="3669" y="5866"/>
                  </a:lnTo>
                  <a:lnTo>
                    <a:pt x="3713" y="5849"/>
                  </a:lnTo>
                  <a:lnTo>
                    <a:pt x="3755" y="5829"/>
                  </a:lnTo>
                  <a:lnTo>
                    <a:pt x="3799" y="5809"/>
                  </a:lnTo>
                  <a:lnTo>
                    <a:pt x="3843" y="5787"/>
                  </a:lnTo>
                  <a:lnTo>
                    <a:pt x="3886" y="5765"/>
                  </a:lnTo>
                  <a:lnTo>
                    <a:pt x="3930" y="5742"/>
                  </a:lnTo>
                  <a:lnTo>
                    <a:pt x="3974" y="5719"/>
                  </a:lnTo>
                  <a:lnTo>
                    <a:pt x="4016" y="5694"/>
                  </a:lnTo>
                  <a:lnTo>
                    <a:pt x="4017" y="5694"/>
                  </a:lnTo>
                  <a:lnTo>
                    <a:pt x="4017" y="5694"/>
                  </a:lnTo>
                  <a:lnTo>
                    <a:pt x="3746" y="4764"/>
                  </a:lnTo>
                  <a:lnTo>
                    <a:pt x="3746" y="4764"/>
                  </a:lnTo>
                  <a:lnTo>
                    <a:pt x="3723" y="4782"/>
                  </a:lnTo>
                  <a:lnTo>
                    <a:pt x="3699" y="4798"/>
                  </a:lnTo>
                  <a:lnTo>
                    <a:pt x="3674" y="4814"/>
                  </a:lnTo>
                  <a:lnTo>
                    <a:pt x="3648" y="4831"/>
                  </a:lnTo>
                  <a:lnTo>
                    <a:pt x="3621" y="4846"/>
                  </a:lnTo>
                  <a:lnTo>
                    <a:pt x="3594" y="4862"/>
                  </a:lnTo>
                  <a:lnTo>
                    <a:pt x="3537" y="4892"/>
                  </a:lnTo>
                  <a:lnTo>
                    <a:pt x="3477" y="4921"/>
                  </a:lnTo>
                  <a:lnTo>
                    <a:pt x="3414" y="4948"/>
                  </a:lnTo>
                  <a:lnTo>
                    <a:pt x="3348" y="4976"/>
                  </a:lnTo>
                  <a:lnTo>
                    <a:pt x="3279" y="5001"/>
                  </a:lnTo>
                  <a:lnTo>
                    <a:pt x="3208" y="5024"/>
                  </a:lnTo>
                  <a:lnTo>
                    <a:pt x="3135" y="5047"/>
                  </a:lnTo>
                  <a:lnTo>
                    <a:pt x="3059" y="5069"/>
                  </a:lnTo>
                  <a:lnTo>
                    <a:pt x="2980" y="5089"/>
                  </a:lnTo>
                  <a:lnTo>
                    <a:pt x="2900" y="5107"/>
                  </a:lnTo>
                  <a:lnTo>
                    <a:pt x="2817" y="5123"/>
                  </a:lnTo>
                  <a:lnTo>
                    <a:pt x="2731" y="5139"/>
                  </a:lnTo>
                  <a:lnTo>
                    <a:pt x="2645" y="5153"/>
                  </a:lnTo>
                  <a:lnTo>
                    <a:pt x="2645" y="5153"/>
                  </a:lnTo>
                  <a:close/>
                  <a:moveTo>
                    <a:pt x="2457" y="3241"/>
                  </a:moveTo>
                  <a:lnTo>
                    <a:pt x="2457" y="3241"/>
                  </a:lnTo>
                  <a:lnTo>
                    <a:pt x="2517" y="3231"/>
                  </a:lnTo>
                  <a:lnTo>
                    <a:pt x="2575" y="3221"/>
                  </a:lnTo>
                  <a:lnTo>
                    <a:pt x="2633" y="3210"/>
                  </a:lnTo>
                  <a:lnTo>
                    <a:pt x="2689" y="3198"/>
                  </a:lnTo>
                  <a:lnTo>
                    <a:pt x="2743" y="3184"/>
                  </a:lnTo>
                  <a:lnTo>
                    <a:pt x="2796" y="3170"/>
                  </a:lnTo>
                  <a:lnTo>
                    <a:pt x="2847" y="3154"/>
                  </a:lnTo>
                  <a:lnTo>
                    <a:pt x="2897" y="3139"/>
                  </a:lnTo>
                  <a:lnTo>
                    <a:pt x="2944" y="3122"/>
                  </a:lnTo>
                  <a:lnTo>
                    <a:pt x="2991" y="3103"/>
                  </a:lnTo>
                  <a:lnTo>
                    <a:pt x="3035" y="3084"/>
                  </a:lnTo>
                  <a:lnTo>
                    <a:pt x="3077" y="3066"/>
                  </a:lnTo>
                  <a:lnTo>
                    <a:pt x="3118" y="3045"/>
                  </a:lnTo>
                  <a:lnTo>
                    <a:pt x="3157" y="3024"/>
                  </a:lnTo>
                  <a:lnTo>
                    <a:pt x="3193" y="3002"/>
                  </a:lnTo>
                  <a:lnTo>
                    <a:pt x="3227" y="2979"/>
                  </a:lnTo>
                  <a:lnTo>
                    <a:pt x="3227" y="2979"/>
                  </a:lnTo>
                  <a:lnTo>
                    <a:pt x="3493" y="3895"/>
                  </a:lnTo>
                  <a:lnTo>
                    <a:pt x="3493" y="3895"/>
                  </a:lnTo>
                  <a:lnTo>
                    <a:pt x="3453" y="3923"/>
                  </a:lnTo>
                  <a:lnTo>
                    <a:pt x="3409" y="3951"/>
                  </a:lnTo>
                  <a:lnTo>
                    <a:pt x="3363" y="3977"/>
                  </a:lnTo>
                  <a:lnTo>
                    <a:pt x="3315" y="4003"/>
                  </a:lnTo>
                  <a:lnTo>
                    <a:pt x="3263" y="4027"/>
                  </a:lnTo>
                  <a:lnTo>
                    <a:pt x="3208" y="4051"/>
                  </a:lnTo>
                  <a:lnTo>
                    <a:pt x="3152" y="4074"/>
                  </a:lnTo>
                  <a:lnTo>
                    <a:pt x="3094" y="4095"/>
                  </a:lnTo>
                  <a:lnTo>
                    <a:pt x="3034" y="4116"/>
                  </a:lnTo>
                  <a:lnTo>
                    <a:pt x="2970" y="4136"/>
                  </a:lnTo>
                  <a:lnTo>
                    <a:pt x="2906" y="4153"/>
                  </a:lnTo>
                  <a:lnTo>
                    <a:pt x="2838" y="4170"/>
                  </a:lnTo>
                  <a:lnTo>
                    <a:pt x="2770" y="4186"/>
                  </a:lnTo>
                  <a:lnTo>
                    <a:pt x="2700" y="4200"/>
                  </a:lnTo>
                  <a:lnTo>
                    <a:pt x="2627" y="4213"/>
                  </a:lnTo>
                  <a:lnTo>
                    <a:pt x="2554" y="4224"/>
                  </a:lnTo>
                  <a:lnTo>
                    <a:pt x="2554" y="4224"/>
                  </a:lnTo>
                  <a:lnTo>
                    <a:pt x="2457" y="3241"/>
                  </a:lnTo>
                  <a:lnTo>
                    <a:pt x="2457" y="3241"/>
                  </a:lnTo>
                  <a:close/>
                  <a:moveTo>
                    <a:pt x="2270" y="1323"/>
                  </a:moveTo>
                  <a:lnTo>
                    <a:pt x="2270" y="1323"/>
                  </a:lnTo>
                  <a:lnTo>
                    <a:pt x="2333" y="1314"/>
                  </a:lnTo>
                  <a:lnTo>
                    <a:pt x="2394" y="1304"/>
                  </a:lnTo>
                  <a:lnTo>
                    <a:pt x="2454" y="1291"/>
                  </a:lnTo>
                  <a:lnTo>
                    <a:pt x="2511" y="1277"/>
                  </a:lnTo>
                  <a:lnTo>
                    <a:pt x="2565" y="1261"/>
                  </a:lnTo>
                  <a:lnTo>
                    <a:pt x="2617" y="1244"/>
                  </a:lnTo>
                  <a:lnTo>
                    <a:pt x="2666" y="1226"/>
                  </a:lnTo>
                  <a:lnTo>
                    <a:pt x="2712" y="1206"/>
                  </a:lnTo>
                  <a:lnTo>
                    <a:pt x="2712" y="1206"/>
                  </a:lnTo>
                  <a:lnTo>
                    <a:pt x="2976" y="2116"/>
                  </a:lnTo>
                  <a:lnTo>
                    <a:pt x="2976" y="2116"/>
                  </a:lnTo>
                  <a:lnTo>
                    <a:pt x="2949" y="2133"/>
                  </a:lnTo>
                  <a:lnTo>
                    <a:pt x="2919" y="2150"/>
                  </a:lnTo>
                  <a:lnTo>
                    <a:pt x="2888" y="2166"/>
                  </a:lnTo>
                  <a:lnTo>
                    <a:pt x="2856" y="2182"/>
                  </a:lnTo>
                  <a:lnTo>
                    <a:pt x="2822" y="2197"/>
                  </a:lnTo>
                  <a:lnTo>
                    <a:pt x="2786" y="2211"/>
                  </a:lnTo>
                  <a:lnTo>
                    <a:pt x="2750" y="2225"/>
                  </a:lnTo>
                  <a:lnTo>
                    <a:pt x="2713" y="2238"/>
                  </a:lnTo>
                  <a:lnTo>
                    <a:pt x="2673" y="2251"/>
                  </a:lnTo>
                  <a:lnTo>
                    <a:pt x="2633" y="2262"/>
                  </a:lnTo>
                  <a:lnTo>
                    <a:pt x="2591" y="2274"/>
                  </a:lnTo>
                  <a:lnTo>
                    <a:pt x="2548" y="2284"/>
                  </a:lnTo>
                  <a:lnTo>
                    <a:pt x="2505" y="2294"/>
                  </a:lnTo>
                  <a:lnTo>
                    <a:pt x="2459" y="2302"/>
                  </a:lnTo>
                  <a:lnTo>
                    <a:pt x="2413" y="2310"/>
                  </a:lnTo>
                  <a:lnTo>
                    <a:pt x="2366" y="2316"/>
                  </a:lnTo>
                  <a:lnTo>
                    <a:pt x="2366" y="2316"/>
                  </a:lnTo>
                  <a:lnTo>
                    <a:pt x="2270" y="1323"/>
                  </a:lnTo>
                  <a:lnTo>
                    <a:pt x="2270" y="1323"/>
                  </a:lnTo>
                  <a:close/>
                  <a:moveTo>
                    <a:pt x="2216" y="8"/>
                  </a:moveTo>
                  <a:lnTo>
                    <a:pt x="2216" y="8"/>
                  </a:lnTo>
                  <a:lnTo>
                    <a:pt x="2231" y="3"/>
                  </a:lnTo>
                  <a:lnTo>
                    <a:pt x="2246" y="1"/>
                  </a:lnTo>
                  <a:lnTo>
                    <a:pt x="2261" y="0"/>
                  </a:lnTo>
                  <a:lnTo>
                    <a:pt x="2276" y="1"/>
                  </a:lnTo>
                  <a:lnTo>
                    <a:pt x="2289" y="3"/>
                  </a:lnTo>
                  <a:lnTo>
                    <a:pt x="2304" y="8"/>
                  </a:lnTo>
                  <a:lnTo>
                    <a:pt x="2316" y="13"/>
                  </a:lnTo>
                  <a:lnTo>
                    <a:pt x="2330" y="20"/>
                  </a:lnTo>
                  <a:lnTo>
                    <a:pt x="2341" y="28"/>
                  </a:lnTo>
                  <a:lnTo>
                    <a:pt x="2353" y="40"/>
                  </a:lnTo>
                  <a:lnTo>
                    <a:pt x="2364" y="51"/>
                  </a:lnTo>
                  <a:lnTo>
                    <a:pt x="2374" y="66"/>
                  </a:lnTo>
                  <a:lnTo>
                    <a:pt x="2383" y="81"/>
                  </a:lnTo>
                  <a:lnTo>
                    <a:pt x="2391" y="99"/>
                  </a:lnTo>
                  <a:lnTo>
                    <a:pt x="2398" y="118"/>
                  </a:lnTo>
                  <a:lnTo>
                    <a:pt x="2404" y="140"/>
                  </a:lnTo>
                  <a:lnTo>
                    <a:pt x="2404" y="140"/>
                  </a:lnTo>
                  <a:lnTo>
                    <a:pt x="2449" y="298"/>
                  </a:lnTo>
                  <a:lnTo>
                    <a:pt x="2449" y="298"/>
                  </a:lnTo>
                  <a:lnTo>
                    <a:pt x="2421" y="311"/>
                  </a:lnTo>
                  <a:lnTo>
                    <a:pt x="2392" y="323"/>
                  </a:lnTo>
                  <a:lnTo>
                    <a:pt x="2360" y="335"/>
                  </a:lnTo>
                  <a:lnTo>
                    <a:pt x="2327" y="345"/>
                  </a:lnTo>
                  <a:lnTo>
                    <a:pt x="2293" y="354"/>
                  </a:lnTo>
                  <a:lnTo>
                    <a:pt x="2255" y="363"/>
                  </a:lnTo>
                  <a:lnTo>
                    <a:pt x="2217" y="370"/>
                  </a:lnTo>
                  <a:lnTo>
                    <a:pt x="2177" y="376"/>
                  </a:lnTo>
                  <a:lnTo>
                    <a:pt x="2177" y="376"/>
                  </a:lnTo>
                  <a:lnTo>
                    <a:pt x="2168" y="276"/>
                  </a:lnTo>
                  <a:lnTo>
                    <a:pt x="2168" y="276"/>
                  </a:lnTo>
                  <a:lnTo>
                    <a:pt x="2165" y="237"/>
                  </a:lnTo>
                  <a:lnTo>
                    <a:pt x="2162" y="195"/>
                  </a:lnTo>
                  <a:lnTo>
                    <a:pt x="2158" y="154"/>
                  </a:lnTo>
                  <a:lnTo>
                    <a:pt x="2157" y="134"/>
                  </a:lnTo>
                  <a:lnTo>
                    <a:pt x="2158" y="114"/>
                  </a:lnTo>
                  <a:lnTo>
                    <a:pt x="2159" y="95"/>
                  </a:lnTo>
                  <a:lnTo>
                    <a:pt x="2163" y="77"/>
                  </a:lnTo>
                  <a:lnTo>
                    <a:pt x="2167" y="62"/>
                  </a:lnTo>
                  <a:lnTo>
                    <a:pt x="2172" y="47"/>
                  </a:lnTo>
                  <a:lnTo>
                    <a:pt x="2176" y="40"/>
                  </a:lnTo>
                  <a:lnTo>
                    <a:pt x="2180" y="34"/>
                  </a:lnTo>
                  <a:lnTo>
                    <a:pt x="2184" y="28"/>
                  </a:lnTo>
                  <a:lnTo>
                    <a:pt x="2190" y="23"/>
                  </a:lnTo>
                  <a:lnTo>
                    <a:pt x="2195" y="18"/>
                  </a:lnTo>
                  <a:lnTo>
                    <a:pt x="2201" y="14"/>
                  </a:lnTo>
                  <a:lnTo>
                    <a:pt x="2208" y="11"/>
                  </a:lnTo>
                  <a:lnTo>
                    <a:pt x="2216" y="8"/>
                  </a:lnTo>
                  <a:lnTo>
                    <a:pt x="2216" y="8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4" name="Freeform 78"/>
            <p:cNvSpPr>
              <a:spLocks/>
            </p:cNvSpPr>
            <p:nvPr/>
          </p:nvSpPr>
          <p:spPr bwMode="auto">
            <a:xfrm flipH="1">
              <a:off x="7033339" y="2110170"/>
              <a:ext cx="99337" cy="147051"/>
            </a:xfrm>
            <a:custGeom>
              <a:avLst/>
              <a:gdLst>
                <a:gd name="T0" fmla="*/ 272 w 535"/>
                <a:gd name="T1" fmla="*/ 0 h 1025"/>
                <a:gd name="T2" fmla="*/ 272 w 535"/>
                <a:gd name="T3" fmla="*/ 0 h 1025"/>
                <a:gd name="T4" fmla="*/ 535 w 535"/>
                <a:gd name="T5" fmla="*/ 908 h 1025"/>
                <a:gd name="T6" fmla="*/ 535 w 535"/>
                <a:gd name="T7" fmla="*/ 908 h 1025"/>
                <a:gd name="T8" fmla="*/ 489 w 535"/>
                <a:gd name="T9" fmla="*/ 928 h 1025"/>
                <a:gd name="T10" fmla="*/ 440 w 535"/>
                <a:gd name="T11" fmla="*/ 946 h 1025"/>
                <a:gd name="T12" fmla="*/ 388 w 535"/>
                <a:gd name="T13" fmla="*/ 963 h 1025"/>
                <a:gd name="T14" fmla="*/ 334 w 535"/>
                <a:gd name="T15" fmla="*/ 979 h 1025"/>
                <a:gd name="T16" fmla="*/ 277 w 535"/>
                <a:gd name="T17" fmla="*/ 993 h 1025"/>
                <a:gd name="T18" fmla="*/ 217 w 535"/>
                <a:gd name="T19" fmla="*/ 1006 h 1025"/>
                <a:gd name="T20" fmla="*/ 156 w 535"/>
                <a:gd name="T21" fmla="*/ 1016 h 1025"/>
                <a:gd name="T22" fmla="*/ 93 w 535"/>
                <a:gd name="T23" fmla="*/ 1025 h 1025"/>
                <a:gd name="T24" fmla="*/ 93 w 535"/>
                <a:gd name="T25" fmla="*/ 1025 h 1025"/>
                <a:gd name="T26" fmla="*/ 0 w 535"/>
                <a:gd name="T27" fmla="*/ 78 h 1025"/>
                <a:gd name="T28" fmla="*/ 0 w 535"/>
                <a:gd name="T29" fmla="*/ 78 h 1025"/>
                <a:gd name="T30" fmla="*/ 40 w 535"/>
                <a:gd name="T31" fmla="*/ 72 h 1025"/>
                <a:gd name="T32" fmla="*/ 78 w 535"/>
                <a:gd name="T33" fmla="*/ 65 h 1025"/>
                <a:gd name="T34" fmla="*/ 116 w 535"/>
                <a:gd name="T35" fmla="*/ 56 h 1025"/>
                <a:gd name="T36" fmla="*/ 150 w 535"/>
                <a:gd name="T37" fmla="*/ 47 h 1025"/>
                <a:gd name="T38" fmla="*/ 183 w 535"/>
                <a:gd name="T39" fmla="*/ 37 h 1025"/>
                <a:gd name="T40" fmla="*/ 215 w 535"/>
                <a:gd name="T41" fmla="*/ 25 h 1025"/>
                <a:gd name="T42" fmla="*/ 244 w 535"/>
                <a:gd name="T43" fmla="*/ 13 h 1025"/>
                <a:gd name="T44" fmla="*/ 272 w 535"/>
                <a:gd name="T45" fmla="*/ 0 h 1025"/>
                <a:gd name="T46" fmla="*/ 272 w 535"/>
                <a:gd name="T47" fmla="*/ 0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5" h="1025">
                  <a:moveTo>
                    <a:pt x="272" y="0"/>
                  </a:moveTo>
                  <a:lnTo>
                    <a:pt x="272" y="0"/>
                  </a:lnTo>
                  <a:lnTo>
                    <a:pt x="535" y="908"/>
                  </a:lnTo>
                  <a:lnTo>
                    <a:pt x="535" y="908"/>
                  </a:lnTo>
                  <a:lnTo>
                    <a:pt x="489" y="928"/>
                  </a:lnTo>
                  <a:lnTo>
                    <a:pt x="440" y="946"/>
                  </a:lnTo>
                  <a:lnTo>
                    <a:pt x="388" y="963"/>
                  </a:lnTo>
                  <a:lnTo>
                    <a:pt x="334" y="979"/>
                  </a:lnTo>
                  <a:lnTo>
                    <a:pt x="277" y="993"/>
                  </a:lnTo>
                  <a:lnTo>
                    <a:pt x="217" y="1006"/>
                  </a:lnTo>
                  <a:lnTo>
                    <a:pt x="156" y="1016"/>
                  </a:lnTo>
                  <a:lnTo>
                    <a:pt x="93" y="1025"/>
                  </a:lnTo>
                  <a:lnTo>
                    <a:pt x="93" y="102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0" y="72"/>
                  </a:lnTo>
                  <a:lnTo>
                    <a:pt x="78" y="65"/>
                  </a:lnTo>
                  <a:lnTo>
                    <a:pt x="116" y="56"/>
                  </a:lnTo>
                  <a:lnTo>
                    <a:pt x="150" y="47"/>
                  </a:lnTo>
                  <a:lnTo>
                    <a:pt x="183" y="37"/>
                  </a:lnTo>
                  <a:lnTo>
                    <a:pt x="215" y="25"/>
                  </a:lnTo>
                  <a:lnTo>
                    <a:pt x="244" y="13"/>
                  </a:lnTo>
                  <a:lnTo>
                    <a:pt x="272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5" name="Freeform 79"/>
            <p:cNvSpPr>
              <a:spLocks noEditPoints="1"/>
            </p:cNvSpPr>
            <p:nvPr/>
          </p:nvSpPr>
          <p:spPr bwMode="auto">
            <a:xfrm flipH="1">
              <a:off x="6843696" y="2110170"/>
              <a:ext cx="634724" cy="696555"/>
            </a:xfrm>
            <a:custGeom>
              <a:avLst/>
              <a:gdLst>
                <a:gd name="T0" fmla="*/ 612 w 3445"/>
                <a:gd name="T1" fmla="*/ 2761 h 4855"/>
                <a:gd name="T2" fmla="*/ 711 w 3445"/>
                <a:gd name="T3" fmla="*/ 2805 h 4855"/>
                <a:gd name="T4" fmla="*/ 806 w 3445"/>
                <a:gd name="T5" fmla="*/ 2430 h 4855"/>
                <a:gd name="T6" fmla="*/ 817 w 3445"/>
                <a:gd name="T7" fmla="*/ 2381 h 4855"/>
                <a:gd name="T8" fmla="*/ 821 w 3445"/>
                <a:gd name="T9" fmla="*/ 2341 h 4855"/>
                <a:gd name="T10" fmla="*/ 818 w 3445"/>
                <a:gd name="T11" fmla="*/ 2313 h 4855"/>
                <a:gd name="T12" fmla="*/ 810 w 3445"/>
                <a:gd name="T13" fmla="*/ 2295 h 4855"/>
                <a:gd name="T14" fmla="*/ 798 w 3445"/>
                <a:gd name="T15" fmla="*/ 2285 h 4855"/>
                <a:gd name="T16" fmla="*/ 782 w 3445"/>
                <a:gd name="T17" fmla="*/ 2285 h 4855"/>
                <a:gd name="T18" fmla="*/ 765 w 3445"/>
                <a:gd name="T19" fmla="*/ 2294 h 4855"/>
                <a:gd name="T20" fmla="*/ 746 w 3445"/>
                <a:gd name="T21" fmla="*/ 2310 h 4855"/>
                <a:gd name="T22" fmla="*/ 711 w 3445"/>
                <a:gd name="T23" fmla="*/ 2369 h 4855"/>
                <a:gd name="T24" fmla="*/ 661 w 3445"/>
                <a:gd name="T25" fmla="*/ 2509 h 4855"/>
                <a:gd name="T26" fmla="*/ 474 w 3445"/>
                <a:gd name="T27" fmla="*/ 3749 h 4855"/>
                <a:gd name="T28" fmla="*/ 251 w 3445"/>
                <a:gd name="T29" fmla="*/ 4639 h 4855"/>
                <a:gd name="T30" fmla="*/ 149 w 3445"/>
                <a:gd name="T31" fmla="*/ 4590 h 4855"/>
                <a:gd name="T32" fmla="*/ 57 w 3445"/>
                <a:gd name="T33" fmla="*/ 4539 h 4855"/>
                <a:gd name="T34" fmla="*/ 0 w 3445"/>
                <a:gd name="T35" fmla="*/ 4503 h 4855"/>
                <a:gd name="T36" fmla="*/ 326 w 3445"/>
                <a:gd name="T37" fmla="*/ 3677 h 4855"/>
                <a:gd name="T38" fmla="*/ 474 w 3445"/>
                <a:gd name="T39" fmla="*/ 3749 h 4855"/>
                <a:gd name="T40" fmla="*/ 2156 w 3445"/>
                <a:gd name="T41" fmla="*/ 2943 h 4855"/>
                <a:gd name="T42" fmla="*/ 2332 w 3445"/>
                <a:gd name="T43" fmla="*/ 2912 h 4855"/>
                <a:gd name="T44" fmla="*/ 2495 w 3445"/>
                <a:gd name="T45" fmla="*/ 2872 h 4855"/>
                <a:gd name="T46" fmla="*/ 2643 w 3445"/>
                <a:gd name="T47" fmla="*/ 2824 h 4855"/>
                <a:gd name="T48" fmla="*/ 2776 w 3445"/>
                <a:gd name="T49" fmla="*/ 2768 h 4855"/>
                <a:gd name="T50" fmla="*/ 2892 w 3445"/>
                <a:gd name="T51" fmla="*/ 2704 h 4855"/>
                <a:gd name="T52" fmla="*/ 2675 w 3445"/>
                <a:gd name="T53" fmla="*/ 1818 h 4855"/>
                <a:gd name="T54" fmla="*/ 2618 w 3445"/>
                <a:gd name="T55" fmla="*/ 1852 h 4855"/>
                <a:gd name="T56" fmla="*/ 2521 w 3445"/>
                <a:gd name="T57" fmla="*/ 1899 h 4855"/>
                <a:gd name="T58" fmla="*/ 2412 w 3445"/>
                <a:gd name="T59" fmla="*/ 1940 h 4855"/>
                <a:gd name="T60" fmla="*/ 2290 w 3445"/>
                <a:gd name="T61" fmla="*/ 1976 h 4855"/>
                <a:gd name="T62" fmla="*/ 2158 w 3445"/>
                <a:gd name="T63" fmla="*/ 2004 h 4855"/>
                <a:gd name="T64" fmla="*/ 2065 w 3445"/>
                <a:gd name="T65" fmla="*/ 2018 h 4855"/>
                <a:gd name="T66" fmla="*/ 3192 w 3445"/>
                <a:gd name="T67" fmla="*/ 3597 h 4855"/>
                <a:gd name="T68" fmla="*/ 3445 w 3445"/>
                <a:gd name="T69" fmla="*/ 4466 h 4855"/>
                <a:gd name="T70" fmla="*/ 3373 w 3445"/>
                <a:gd name="T71" fmla="*/ 4516 h 4855"/>
                <a:gd name="T72" fmla="*/ 3293 w 3445"/>
                <a:gd name="T73" fmla="*/ 4564 h 4855"/>
                <a:gd name="T74" fmla="*/ 3113 w 3445"/>
                <a:gd name="T75" fmla="*/ 4650 h 4855"/>
                <a:gd name="T76" fmla="*/ 2907 w 3445"/>
                <a:gd name="T77" fmla="*/ 4726 h 4855"/>
                <a:gd name="T78" fmla="*/ 2679 w 3445"/>
                <a:gd name="T79" fmla="*/ 4791 h 4855"/>
                <a:gd name="T80" fmla="*/ 2430 w 3445"/>
                <a:gd name="T81" fmla="*/ 4841 h 4855"/>
                <a:gd name="T82" fmla="*/ 2253 w 3445"/>
                <a:gd name="T83" fmla="*/ 3926 h 4855"/>
                <a:gd name="T84" fmla="*/ 2399 w 3445"/>
                <a:gd name="T85" fmla="*/ 3902 h 4855"/>
                <a:gd name="T86" fmla="*/ 2605 w 3445"/>
                <a:gd name="T87" fmla="*/ 3855 h 4855"/>
                <a:gd name="T88" fmla="*/ 2793 w 3445"/>
                <a:gd name="T89" fmla="*/ 3797 h 4855"/>
                <a:gd name="T90" fmla="*/ 2962 w 3445"/>
                <a:gd name="T91" fmla="*/ 3729 h 4855"/>
                <a:gd name="T92" fmla="*/ 3108 w 3445"/>
                <a:gd name="T93" fmla="*/ 3653 h 4855"/>
                <a:gd name="T94" fmla="*/ 3192 w 3445"/>
                <a:gd name="T95" fmla="*/ 3597 h 4855"/>
                <a:gd name="T96" fmla="*/ 2411 w 3445"/>
                <a:gd name="T97" fmla="*/ 908 h 4855"/>
                <a:gd name="T98" fmla="*/ 2316 w 3445"/>
                <a:gd name="T99" fmla="*/ 946 h 4855"/>
                <a:gd name="T100" fmla="*/ 2153 w 3445"/>
                <a:gd name="T101" fmla="*/ 993 h 4855"/>
                <a:gd name="T102" fmla="*/ 1969 w 3445"/>
                <a:gd name="T103" fmla="*/ 1025 h 4855"/>
                <a:gd name="T104" fmla="*/ 1876 w 3445"/>
                <a:gd name="T105" fmla="*/ 78 h 4855"/>
                <a:gd name="T106" fmla="*/ 1992 w 3445"/>
                <a:gd name="T107" fmla="*/ 56 h 4855"/>
                <a:gd name="T108" fmla="*/ 2091 w 3445"/>
                <a:gd name="T109" fmla="*/ 25 h 4855"/>
                <a:gd name="T110" fmla="*/ 2148 w 3445"/>
                <a:gd name="T111" fmla="*/ 0 h 4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45" h="4855">
                  <a:moveTo>
                    <a:pt x="582" y="2746"/>
                  </a:moveTo>
                  <a:lnTo>
                    <a:pt x="582" y="2746"/>
                  </a:lnTo>
                  <a:lnTo>
                    <a:pt x="612" y="2761"/>
                  </a:lnTo>
                  <a:lnTo>
                    <a:pt x="644" y="2776"/>
                  </a:lnTo>
                  <a:lnTo>
                    <a:pt x="676" y="2791"/>
                  </a:lnTo>
                  <a:lnTo>
                    <a:pt x="711" y="2805"/>
                  </a:lnTo>
                  <a:lnTo>
                    <a:pt x="711" y="2805"/>
                  </a:lnTo>
                  <a:lnTo>
                    <a:pt x="773" y="2557"/>
                  </a:lnTo>
                  <a:lnTo>
                    <a:pt x="806" y="2430"/>
                  </a:lnTo>
                  <a:lnTo>
                    <a:pt x="806" y="2430"/>
                  </a:lnTo>
                  <a:lnTo>
                    <a:pt x="815" y="2396"/>
                  </a:lnTo>
                  <a:lnTo>
                    <a:pt x="817" y="2381"/>
                  </a:lnTo>
                  <a:lnTo>
                    <a:pt x="819" y="2366"/>
                  </a:lnTo>
                  <a:lnTo>
                    <a:pt x="820" y="2354"/>
                  </a:lnTo>
                  <a:lnTo>
                    <a:pt x="821" y="2341"/>
                  </a:lnTo>
                  <a:lnTo>
                    <a:pt x="820" y="2331"/>
                  </a:lnTo>
                  <a:lnTo>
                    <a:pt x="820" y="2322"/>
                  </a:lnTo>
                  <a:lnTo>
                    <a:pt x="818" y="2313"/>
                  </a:lnTo>
                  <a:lnTo>
                    <a:pt x="816" y="2306"/>
                  </a:lnTo>
                  <a:lnTo>
                    <a:pt x="813" y="2300"/>
                  </a:lnTo>
                  <a:lnTo>
                    <a:pt x="810" y="2295"/>
                  </a:lnTo>
                  <a:lnTo>
                    <a:pt x="806" y="2290"/>
                  </a:lnTo>
                  <a:lnTo>
                    <a:pt x="802" y="2287"/>
                  </a:lnTo>
                  <a:lnTo>
                    <a:pt x="798" y="2285"/>
                  </a:lnTo>
                  <a:lnTo>
                    <a:pt x="793" y="2284"/>
                  </a:lnTo>
                  <a:lnTo>
                    <a:pt x="788" y="2284"/>
                  </a:lnTo>
                  <a:lnTo>
                    <a:pt x="782" y="2285"/>
                  </a:lnTo>
                  <a:lnTo>
                    <a:pt x="776" y="2286"/>
                  </a:lnTo>
                  <a:lnTo>
                    <a:pt x="771" y="2289"/>
                  </a:lnTo>
                  <a:lnTo>
                    <a:pt x="765" y="2294"/>
                  </a:lnTo>
                  <a:lnTo>
                    <a:pt x="759" y="2298"/>
                  </a:lnTo>
                  <a:lnTo>
                    <a:pt x="752" y="2304"/>
                  </a:lnTo>
                  <a:lnTo>
                    <a:pt x="746" y="2310"/>
                  </a:lnTo>
                  <a:lnTo>
                    <a:pt x="734" y="2327"/>
                  </a:lnTo>
                  <a:lnTo>
                    <a:pt x="722" y="2346"/>
                  </a:lnTo>
                  <a:lnTo>
                    <a:pt x="711" y="2369"/>
                  </a:lnTo>
                  <a:lnTo>
                    <a:pt x="700" y="2395"/>
                  </a:lnTo>
                  <a:lnTo>
                    <a:pt x="700" y="2395"/>
                  </a:lnTo>
                  <a:lnTo>
                    <a:pt x="661" y="2509"/>
                  </a:lnTo>
                  <a:lnTo>
                    <a:pt x="582" y="2746"/>
                  </a:lnTo>
                  <a:lnTo>
                    <a:pt x="582" y="2746"/>
                  </a:lnTo>
                  <a:close/>
                  <a:moveTo>
                    <a:pt x="474" y="3749"/>
                  </a:moveTo>
                  <a:lnTo>
                    <a:pt x="474" y="3749"/>
                  </a:lnTo>
                  <a:lnTo>
                    <a:pt x="251" y="4639"/>
                  </a:lnTo>
                  <a:lnTo>
                    <a:pt x="251" y="4639"/>
                  </a:lnTo>
                  <a:lnTo>
                    <a:pt x="216" y="4623"/>
                  </a:lnTo>
                  <a:lnTo>
                    <a:pt x="183" y="4607"/>
                  </a:lnTo>
                  <a:lnTo>
                    <a:pt x="149" y="4590"/>
                  </a:lnTo>
                  <a:lnTo>
                    <a:pt x="117" y="4573"/>
                  </a:lnTo>
                  <a:lnTo>
                    <a:pt x="87" y="4557"/>
                  </a:lnTo>
                  <a:lnTo>
                    <a:pt x="57" y="4539"/>
                  </a:lnTo>
                  <a:lnTo>
                    <a:pt x="28" y="4521"/>
                  </a:lnTo>
                  <a:lnTo>
                    <a:pt x="0" y="4503"/>
                  </a:lnTo>
                  <a:lnTo>
                    <a:pt x="0" y="4503"/>
                  </a:lnTo>
                  <a:lnTo>
                    <a:pt x="281" y="3651"/>
                  </a:lnTo>
                  <a:lnTo>
                    <a:pt x="281" y="3651"/>
                  </a:lnTo>
                  <a:lnTo>
                    <a:pt x="326" y="3677"/>
                  </a:lnTo>
                  <a:lnTo>
                    <a:pt x="373" y="3702"/>
                  </a:lnTo>
                  <a:lnTo>
                    <a:pt x="422" y="3726"/>
                  </a:lnTo>
                  <a:lnTo>
                    <a:pt x="474" y="3749"/>
                  </a:lnTo>
                  <a:lnTo>
                    <a:pt x="474" y="3749"/>
                  </a:lnTo>
                  <a:close/>
                  <a:moveTo>
                    <a:pt x="2156" y="2943"/>
                  </a:moveTo>
                  <a:lnTo>
                    <a:pt x="2156" y="2943"/>
                  </a:lnTo>
                  <a:lnTo>
                    <a:pt x="2216" y="2933"/>
                  </a:lnTo>
                  <a:lnTo>
                    <a:pt x="2274" y="2923"/>
                  </a:lnTo>
                  <a:lnTo>
                    <a:pt x="2332" y="2912"/>
                  </a:lnTo>
                  <a:lnTo>
                    <a:pt x="2388" y="2900"/>
                  </a:lnTo>
                  <a:lnTo>
                    <a:pt x="2442" y="2886"/>
                  </a:lnTo>
                  <a:lnTo>
                    <a:pt x="2495" y="2872"/>
                  </a:lnTo>
                  <a:lnTo>
                    <a:pt x="2546" y="2856"/>
                  </a:lnTo>
                  <a:lnTo>
                    <a:pt x="2596" y="2841"/>
                  </a:lnTo>
                  <a:lnTo>
                    <a:pt x="2643" y="2824"/>
                  </a:lnTo>
                  <a:lnTo>
                    <a:pt x="2690" y="2805"/>
                  </a:lnTo>
                  <a:lnTo>
                    <a:pt x="2734" y="2786"/>
                  </a:lnTo>
                  <a:lnTo>
                    <a:pt x="2776" y="2768"/>
                  </a:lnTo>
                  <a:lnTo>
                    <a:pt x="2817" y="2747"/>
                  </a:lnTo>
                  <a:lnTo>
                    <a:pt x="2856" y="2726"/>
                  </a:lnTo>
                  <a:lnTo>
                    <a:pt x="2892" y="2704"/>
                  </a:lnTo>
                  <a:lnTo>
                    <a:pt x="2926" y="2681"/>
                  </a:lnTo>
                  <a:lnTo>
                    <a:pt x="2926" y="2681"/>
                  </a:lnTo>
                  <a:lnTo>
                    <a:pt x="2675" y="1818"/>
                  </a:lnTo>
                  <a:lnTo>
                    <a:pt x="2675" y="1818"/>
                  </a:lnTo>
                  <a:lnTo>
                    <a:pt x="2648" y="1835"/>
                  </a:lnTo>
                  <a:lnTo>
                    <a:pt x="2618" y="1852"/>
                  </a:lnTo>
                  <a:lnTo>
                    <a:pt x="2587" y="1868"/>
                  </a:lnTo>
                  <a:lnTo>
                    <a:pt x="2555" y="1884"/>
                  </a:lnTo>
                  <a:lnTo>
                    <a:pt x="2521" y="1899"/>
                  </a:lnTo>
                  <a:lnTo>
                    <a:pt x="2485" y="1913"/>
                  </a:lnTo>
                  <a:lnTo>
                    <a:pt x="2449" y="1927"/>
                  </a:lnTo>
                  <a:lnTo>
                    <a:pt x="2412" y="1940"/>
                  </a:lnTo>
                  <a:lnTo>
                    <a:pt x="2372" y="1953"/>
                  </a:lnTo>
                  <a:lnTo>
                    <a:pt x="2332" y="1964"/>
                  </a:lnTo>
                  <a:lnTo>
                    <a:pt x="2290" y="1976"/>
                  </a:lnTo>
                  <a:lnTo>
                    <a:pt x="2247" y="1986"/>
                  </a:lnTo>
                  <a:lnTo>
                    <a:pt x="2204" y="1996"/>
                  </a:lnTo>
                  <a:lnTo>
                    <a:pt x="2158" y="2004"/>
                  </a:lnTo>
                  <a:lnTo>
                    <a:pt x="2112" y="2012"/>
                  </a:lnTo>
                  <a:lnTo>
                    <a:pt x="2065" y="2018"/>
                  </a:lnTo>
                  <a:lnTo>
                    <a:pt x="2065" y="2018"/>
                  </a:lnTo>
                  <a:lnTo>
                    <a:pt x="2156" y="2943"/>
                  </a:lnTo>
                  <a:lnTo>
                    <a:pt x="2156" y="2943"/>
                  </a:lnTo>
                  <a:close/>
                  <a:moveTo>
                    <a:pt x="3192" y="3597"/>
                  </a:moveTo>
                  <a:lnTo>
                    <a:pt x="3192" y="3597"/>
                  </a:lnTo>
                  <a:lnTo>
                    <a:pt x="3445" y="4466"/>
                  </a:lnTo>
                  <a:lnTo>
                    <a:pt x="3445" y="4466"/>
                  </a:lnTo>
                  <a:lnTo>
                    <a:pt x="3422" y="4484"/>
                  </a:lnTo>
                  <a:lnTo>
                    <a:pt x="3398" y="4500"/>
                  </a:lnTo>
                  <a:lnTo>
                    <a:pt x="3373" y="4516"/>
                  </a:lnTo>
                  <a:lnTo>
                    <a:pt x="3347" y="4533"/>
                  </a:lnTo>
                  <a:lnTo>
                    <a:pt x="3320" y="4548"/>
                  </a:lnTo>
                  <a:lnTo>
                    <a:pt x="3293" y="4564"/>
                  </a:lnTo>
                  <a:lnTo>
                    <a:pt x="3236" y="4594"/>
                  </a:lnTo>
                  <a:lnTo>
                    <a:pt x="3176" y="4623"/>
                  </a:lnTo>
                  <a:lnTo>
                    <a:pt x="3113" y="4650"/>
                  </a:lnTo>
                  <a:lnTo>
                    <a:pt x="3047" y="4678"/>
                  </a:lnTo>
                  <a:lnTo>
                    <a:pt x="2978" y="4703"/>
                  </a:lnTo>
                  <a:lnTo>
                    <a:pt x="2907" y="4726"/>
                  </a:lnTo>
                  <a:lnTo>
                    <a:pt x="2834" y="4749"/>
                  </a:lnTo>
                  <a:lnTo>
                    <a:pt x="2758" y="4771"/>
                  </a:lnTo>
                  <a:lnTo>
                    <a:pt x="2679" y="4791"/>
                  </a:lnTo>
                  <a:lnTo>
                    <a:pt x="2599" y="4809"/>
                  </a:lnTo>
                  <a:lnTo>
                    <a:pt x="2516" y="4825"/>
                  </a:lnTo>
                  <a:lnTo>
                    <a:pt x="2430" y="4841"/>
                  </a:lnTo>
                  <a:lnTo>
                    <a:pt x="2344" y="4855"/>
                  </a:lnTo>
                  <a:lnTo>
                    <a:pt x="2344" y="4855"/>
                  </a:lnTo>
                  <a:lnTo>
                    <a:pt x="2253" y="3926"/>
                  </a:lnTo>
                  <a:lnTo>
                    <a:pt x="2253" y="3926"/>
                  </a:lnTo>
                  <a:lnTo>
                    <a:pt x="2326" y="3915"/>
                  </a:lnTo>
                  <a:lnTo>
                    <a:pt x="2399" y="3902"/>
                  </a:lnTo>
                  <a:lnTo>
                    <a:pt x="2469" y="3888"/>
                  </a:lnTo>
                  <a:lnTo>
                    <a:pt x="2537" y="3872"/>
                  </a:lnTo>
                  <a:lnTo>
                    <a:pt x="2605" y="3855"/>
                  </a:lnTo>
                  <a:lnTo>
                    <a:pt x="2669" y="3838"/>
                  </a:lnTo>
                  <a:lnTo>
                    <a:pt x="2733" y="3818"/>
                  </a:lnTo>
                  <a:lnTo>
                    <a:pt x="2793" y="3797"/>
                  </a:lnTo>
                  <a:lnTo>
                    <a:pt x="2851" y="3776"/>
                  </a:lnTo>
                  <a:lnTo>
                    <a:pt x="2907" y="3753"/>
                  </a:lnTo>
                  <a:lnTo>
                    <a:pt x="2962" y="3729"/>
                  </a:lnTo>
                  <a:lnTo>
                    <a:pt x="3014" y="3705"/>
                  </a:lnTo>
                  <a:lnTo>
                    <a:pt x="3062" y="3679"/>
                  </a:lnTo>
                  <a:lnTo>
                    <a:pt x="3108" y="3653"/>
                  </a:lnTo>
                  <a:lnTo>
                    <a:pt x="3152" y="3625"/>
                  </a:lnTo>
                  <a:lnTo>
                    <a:pt x="3192" y="3597"/>
                  </a:lnTo>
                  <a:lnTo>
                    <a:pt x="3192" y="3597"/>
                  </a:lnTo>
                  <a:close/>
                  <a:moveTo>
                    <a:pt x="2148" y="0"/>
                  </a:moveTo>
                  <a:lnTo>
                    <a:pt x="2148" y="0"/>
                  </a:lnTo>
                  <a:lnTo>
                    <a:pt x="2411" y="908"/>
                  </a:lnTo>
                  <a:lnTo>
                    <a:pt x="2411" y="908"/>
                  </a:lnTo>
                  <a:lnTo>
                    <a:pt x="2365" y="928"/>
                  </a:lnTo>
                  <a:lnTo>
                    <a:pt x="2316" y="946"/>
                  </a:lnTo>
                  <a:lnTo>
                    <a:pt x="2264" y="963"/>
                  </a:lnTo>
                  <a:lnTo>
                    <a:pt x="2210" y="979"/>
                  </a:lnTo>
                  <a:lnTo>
                    <a:pt x="2153" y="993"/>
                  </a:lnTo>
                  <a:lnTo>
                    <a:pt x="2093" y="1006"/>
                  </a:lnTo>
                  <a:lnTo>
                    <a:pt x="2032" y="1016"/>
                  </a:lnTo>
                  <a:lnTo>
                    <a:pt x="1969" y="1025"/>
                  </a:lnTo>
                  <a:lnTo>
                    <a:pt x="1969" y="1025"/>
                  </a:lnTo>
                  <a:lnTo>
                    <a:pt x="1876" y="78"/>
                  </a:lnTo>
                  <a:lnTo>
                    <a:pt x="1876" y="78"/>
                  </a:lnTo>
                  <a:lnTo>
                    <a:pt x="1916" y="72"/>
                  </a:lnTo>
                  <a:lnTo>
                    <a:pt x="1954" y="65"/>
                  </a:lnTo>
                  <a:lnTo>
                    <a:pt x="1992" y="56"/>
                  </a:lnTo>
                  <a:lnTo>
                    <a:pt x="2026" y="47"/>
                  </a:lnTo>
                  <a:lnTo>
                    <a:pt x="2059" y="37"/>
                  </a:lnTo>
                  <a:lnTo>
                    <a:pt x="2091" y="25"/>
                  </a:lnTo>
                  <a:lnTo>
                    <a:pt x="2120" y="13"/>
                  </a:lnTo>
                  <a:lnTo>
                    <a:pt x="2148" y="0"/>
                  </a:lnTo>
                  <a:lnTo>
                    <a:pt x="2148" y="0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6" name="Freeform 80"/>
            <p:cNvSpPr>
              <a:spLocks noEditPoints="1"/>
            </p:cNvSpPr>
            <p:nvPr/>
          </p:nvSpPr>
          <p:spPr bwMode="auto">
            <a:xfrm flipH="1">
              <a:off x="6793383" y="2030195"/>
              <a:ext cx="1063034" cy="1071921"/>
            </a:xfrm>
            <a:custGeom>
              <a:avLst/>
              <a:gdLst>
                <a:gd name="T0" fmla="*/ 3292 w 5765"/>
                <a:gd name="T1" fmla="*/ 6405 h 7478"/>
                <a:gd name="T2" fmla="*/ 2428 w 5765"/>
                <a:gd name="T3" fmla="*/ 6250 h 7478"/>
                <a:gd name="T4" fmla="*/ 1985 w 5765"/>
                <a:gd name="T5" fmla="*/ 6088 h 7478"/>
                <a:gd name="T6" fmla="*/ 1611 w 5765"/>
                <a:gd name="T7" fmla="*/ 5851 h 7478"/>
                <a:gd name="T8" fmla="*/ 1479 w 5765"/>
                <a:gd name="T9" fmla="*/ 5664 h 7478"/>
                <a:gd name="T10" fmla="*/ 1454 w 5765"/>
                <a:gd name="T11" fmla="*/ 5448 h 7478"/>
                <a:gd name="T12" fmla="*/ 79 w 5765"/>
                <a:gd name="T13" fmla="*/ 5569 h 7478"/>
                <a:gd name="T14" fmla="*/ 5 w 5765"/>
                <a:gd name="T15" fmla="*/ 5685 h 7478"/>
                <a:gd name="T16" fmla="*/ 32 w 5765"/>
                <a:gd name="T17" fmla="*/ 5817 h 7478"/>
                <a:gd name="T18" fmla="*/ 3352 w 5765"/>
                <a:gd name="T19" fmla="*/ 7411 h 7478"/>
                <a:gd name="T20" fmla="*/ 3699 w 5765"/>
                <a:gd name="T21" fmla="*/ 7477 h 7478"/>
                <a:gd name="T22" fmla="*/ 1921 w 5765"/>
                <a:gd name="T23" fmla="*/ 4965 h 7478"/>
                <a:gd name="T24" fmla="*/ 1738 w 5765"/>
                <a:gd name="T25" fmla="*/ 4683 h 7478"/>
                <a:gd name="T26" fmla="*/ 2057 w 5765"/>
                <a:gd name="T27" fmla="*/ 3950 h 7478"/>
                <a:gd name="T28" fmla="*/ 2298 w 5765"/>
                <a:gd name="T29" fmla="*/ 4192 h 7478"/>
                <a:gd name="T30" fmla="*/ 2446 w 5765"/>
                <a:gd name="T31" fmla="*/ 5259 h 7478"/>
                <a:gd name="T32" fmla="*/ 3334 w 5765"/>
                <a:gd name="T33" fmla="*/ 5445 h 7478"/>
                <a:gd name="T34" fmla="*/ 4160 w 5765"/>
                <a:gd name="T35" fmla="*/ 5445 h 7478"/>
                <a:gd name="T36" fmla="*/ 4033 w 5765"/>
                <a:gd name="T37" fmla="*/ 4518 h 7478"/>
                <a:gd name="T38" fmla="*/ 3316 w 5765"/>
                <a:gd name="T39" fmla="*/ 4505 h 7478"/>
                <a:gd name="T40" fmla="*/ 2585 w 5765"/>
                <a:gd name="T41" fmla="*/ 4336 h 7478"/>
                <a:gd name="T42" fmla="*/ 5456 w 5765"/>
                <a:gd name="T43" fmla="*/ 3909 h 7478"/>
                <a:gd name="T44" fmla="*/ 5293 w 5765"/>
                <a:gd name="T45" fmla="*/ 4121 h 7478"/>
                <a:gd name="T46" fmla="*/ 5628 w 5765"/>
                <a:gd name="T47" fmla="*/ 4912 h 7478"/>
                <a:gd name="T48" fmla="*/ 5762 w 5765"/>
                <a:gd name="T49" fmla="*/ 4652 h 7478"/>
                <a:gd name="T50" fmla="*/ 4029 w 5765"/>
                <a:gd name="T51" fmla="*/ 2593 h 7478"/>
                <a:gd name="T52" fmla="*/ 3928 w 5765"/>
                <a:gd name="T53" fmla="*/ 3533 h 7478"/>
                <a:gd name="T54" fmla="*/ 3338 w 5765"/>
                <a:gd name="T55" fmla="*/ 3512 h 7478"/>
                <a:gd name="T56" fmla="*/ 2762 w 5765"/>
                <a:gd name="T57" fmla="*/ 3368 h 7478"/>
                <a:gd name="T58" fmla="*/ 2871 w 5765"/>
                <a:gd name="T59" fmla="*/ 2894 h 7478"/>
                <a:gd name="T60" fmla="*/ 2839 w 5765"/>
                <a:gd name="T61" fmla="*/ 2847 h 7478"/>
                <a:gd name="T62" fmla="*/ 2762 w 5765"/>
                <a:gd name="T63" fmla="*/ 2932 h 7478"/>
                <a:gd name="T64" fmla="*/ 2485 w 5765"/>
                <a:gd name="T65" fmla="*/ 3214 h 7478"/>
                <a:gd name="T66" fmla="*/ 2320 w 5765"/>
                <a:gd name="T67" fmla="*/ 2993 h 7478"/>
                <a:gd name="T68" fmla="*/ 2681 w 5765"/>
                <a:gd name="T69" fmla="*/ 2304 h 7478"/>
                <a:gd name="T70" fmla="*/ 2980 w 5765"/>
                <a:gd name="T71" fmla="*/ 2481 h 7478"/>
                <a:gd name="T72" fmla="*/ 3432 w 5765"/>
                <a:gd name="T73" fmla="*/ 2588 h 7478"/>
                <a:gd name="T74" fmla="*/ 4901 w 5765"/>
                <a:gd name="T75" fmla="*/ 2190 h 7478"/>
                <a:gd name="T76" fmla="*/ 4813 w 5765"/>
                <a:gd name="T77" fmla="*/ 2314 h 7478"/>
                <a:gd name="T78" fmla="*/ 5052 w 5765"/>
                <a:gd name="T79" fmla="*/ 3186 h 7478"/>
                <a:gd name="T80" fmla="*/ 5174 w 5765"/>
                <a:gd name="T81" fmla="*/ 3023 h 7478"/>
                <a:gd name="T82" fmla="*/ 4580 w 5765"/>
                <a:gd name="T83" fmla="*/ 1402 h 7478"/>
                <a:gd name="T84" fmla="*/ 4228 w 5765"/>
                <a:gd name="T85" fmla="*/ 547 h 7478"/>
                <a:gd name="T86" fmla="*/ 2897 w 5765"/>
                <a:gd name="T87" fmla="*/ 1381 h 7478"/>
                <a:gd name="T88" fmla="*/ 3099 w 5765"/>
                <a:gd name="T89" fmla="*/ 1495 h 7478"/>
                <a:gd name="T90" fmla="*/ 3680 w 5765"/>
                <a:gd name="T91" fmla="*/ 1604 h 7478"/>
                <a:gd name="T92" fmla="*/ 3886 w 5765"/>
                <a:gd name="T93" fmla="*/ 647 h 7478"/>
                <a:gd name="T94" fmla="*/ 3482 w 5765"/>
                <a:gd name="T95" fmla="*/ 625 h 7478"/>
                <a:gd name="T96" fmla="*/ 3215 w 5765"/>
                <a:gd name="T97" fmla="*/ 499 h 7478"/>
                <a:gd name="T98" fmla="*/ 3435 w 5765"/>
                <a:gd name="T99" fmla="*/ 151 h 7478"/>
                <a:gd name="T100" fmla="*/ 3550 w 5765"/>
                <a:gd name="T101" fmla="*/ 241 h 7478"/>
                <a:gd name="T102" fmla="*/ 3816 w 5765"/>
                <a:gd name="T103" fmla="*/ 270 h 7478"/>
                <a:gd name="T104" fmla="*/ 4045 w 5765"/>
                <a:gd name="T105" fmla="*/ 189 h 7478"/>
                <a:gd name="T106" fmla="*/ 4068 w 5765"/>
                <a:gd name="T107" fmla="*/ 122 h 7478"/>
                <a:gd name="T108" fmla="*/ 3954 w 5765"/>
                <a:gd name="T109" fmla="*/ 31 h 7478"/>
                <a:gd name="T110" fmla="*/ 3688 w 5765"/>
                <a:gd name="T111" fmla="*/ 3 h 7478"/>
                <a:gd name="T112" fmla="*/ 3459 w 5765"/>
                <a:gd name="T113" fmla="*/ 83 h 7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65" h="7478">
                  <a:moveTo>
                    <a:pt x="3747" y="7478"/>
                  </a:moveTo>
                  <a:lnTo>
                    <a:pt x="3747" y="6431"/>
                  </a:lnTo>
                  <a:lnTo>
                    <a:pt x="3747" y="6431"/>
                  </a:lnTo>
                  <a:lnTo>
                    <a:pt x="3730" y="6431"/>
                  </a:lnTo>
                  <a:lnTo>
                    <a:pt x="3679" y="6430"/>
                  </a:lnTo>
                  <a:lnTo>
                    <a:pt x="3598" y="6427"/>
                  </a:lnTo>
                  <a:lnTo>
                    <a:pt x="3492" y="6421"/>
                  </a:lnTo>
                  <a:lnTo>
                    <a:pt x="3430" y="6417"/>
                  </a:lnTo>
                  <a:lnTo>
                    <a:pt x="3364" y="6412"/>
                  </a:lnTo>
                  <a:lnTo>
                    <a:pt x="3292" y="6405"/>
                  </a:lnTo>
                  <a:lnTo>
                    <a:pt x="3217" y="6397"/>
                  </a:lnTo>
                  <a:lnTo>
                    <a:pt x="3138" y="6388"/>
                  </a:lnTo>
                  <a:lnTo>
                    <a:pt x="3056" y="6377"/>
                  </a:lnTo>
                  <a:lnTo>
                    <a:pt x="2971" y="6365"/>
                  </a:lnTo>
                  <a:lnTo>
                    <a:pt x="2883" y="6351"/>
                  </a:lnTo>
                  <a:lnTo>
                    <a:pt x="2794" y="6335"/>
                  </a:lnTo>
                  <a:lnTo>
                    <a:pt x="2704" y="6317"/>
                  </a:lnTo>
                  <a:lnTo>
                    <a:pt x="2612" y="6297"/>
                  </a:lnTo>
                  <a:lnTo>
                    <a:pt x="2520" y="6274"/>
                  </a:lnTo>
                  <a:lnTo>
                    <a:pt x="2428" y="6250"/>
                  </a:lnTo>
                  <a:lnTo>
                    <a:pt x="2382" y="6237"/>
                  </a:lnTo>
                  <a:lnTo>
                    <a:pt x="2337" y="6223"/>
                  </a:lnTo>
                  <a:lnTo>
                    <a:pt x="2291" y="6208"/>
                  </a:lnTo>
                  <a:lnTo>
                    <a:pt x="2246" y="6193"/>
                  </a:lnTo>
                  <a:lnTo>
                    <a:pt x="2201" y="6177"/>
                  </a:lnTo>
                  <a:lnTo>
                    <a:pt x="2157" y="6161"/>
                  </a:lnTo>
                  <a:lnTo>
                    <a:pt x="2113" y="6144"/>
                  </a:lnTo>
                  <a:lnTo>
                    <a:pt x="2069" y="6126"/>
                  </a:lnTo>
                  <a:lnTo>
                    <a:pt x="2027" y="6107"/>
                  </a:lnTo>
                  <a:lnTo>
                    <a:pt x="1985" y="6088"/>
                  </a:lnTo>
                  <a:lnTo>
                    <a:pt x="1944" y="6068"/>
                  </a:lnTo>
                  <a:lnTo>
                    <a:pt x="1903" y="6047"/>
                  </a:lnTo>
                  <a:lnTo>
                    <a:pt x="1862" y="6025"/>
                  </a:lnTo>
                  <a:lnTo>
                    <a:pt x="1824" y="6003"/>
                  </a:lnTo>
                  <a:lnTo>
                    <a:pt x="1786" y="5979"/>
                  </a:lnTo>
                  <a:lnTo>
                    <a:pt x="1748" y="5955"/>
                  </a:lnTo>
                  <a:lnTo>
                    <a:pt x="1713" y="5930"/>
                  </a:lnTo>
                  <a:lnTo>
                    <a:pt x="1677" y="5905"/>
                  </a:lnTo>
                  <a:lnTo>
                    <a:pt x="1644" y="5878"/>
                  </a:lnTo>
                  <a:lnTo>
                    <a:pt x="1611" y="5851"/>
                  </a:lnTo>
                  <a:lnTo>
                    <a:pt x="1580" y="5822"/>
                  </a:lnTo>
                  <a:lnTo>
                    <a:pt x="1550" y="5793"/>
                  </a:lnTo>
                  <a:lnTo>
                    <a:pt x="1550" y="5793"/>
                  </a:lnTo>
                  <a:lnTo>
                    <a:pt x="1543" y="5784"/>
                  </a:lnTo>
                  <a:lnTo>
                    <a:pt x="1535" y="5774"/>
                  </a:lnTo>
                  <a:lnTo>
                    <a:pt x="1526" y="5759"/>
                  </a:lnTo>
                  <a:lnTo>
                    <a:pt x="1514" y="5741"/>
                  </a:lnTo>
                  <a:lnTo>
                    <a:pt x="1503" y="5719"/>
                  </a:lnTo>
                  <a:lnTo>
                    <a:pt x="1490" y="5693"/>
                  </a:lnTo>
                  <a:lnTo>
                    <a:pt x="1479" y="5664"/>
                  </a:lnTo>
                  <a:lnTo>
                    <a:pt x="1469" y="5631"/>
                  </a:lnTo>
                  <a:lnTo>
                    <a:pt x="1464" y="5614"/>
                  </a:lnTo>
                  <a:lnTo>
                    <a:pt x="1461" y="5595"/>
                  </a:lnTo>
                  <a:lnTo>
                    <a:pt x="1457" y="5576"/>
                  </a:lnTo>
                  <a:lnTo>
                    <a:pt x="1455" y="5556"/>
                  </a:lnTo>
                  <a:lnTo>
                    <a:pt x="1453" y="5536"/>
                  </a:lnTo>
                  <a:lnTo>
                    <a:pt x="1452" y="5515"/>
                  </a:lnTo>
                  <a:lnTo>
                    <a:pt x="1452" y="5493"/>
                  </a:lnTo>
                  <a:lnTo>
                    <a:pt x="1453" y="5471"/>
                  </a:lnTo>
                  <a:lnTo>
                    <a:pt x="1454" y="5448"/>
                  </a:lnTo>
                  <a:lnTo>
                    <a:pt x="1457" y="5424"/>
                  </a:lnTo>
                  <a:lnTo>
                    <a:pt x="1461" y="5399"/>
                  </a:lnTo>
                  <a:lnTo>
                    <a:pt x="1467" y="5374"/>
                  </a:lnTo>
                  <a:lnTo>
                    <a:pt x="1475" y="5349"/>
                  </a:lnTo>
                  <a:lnTo>
                    <a:pt x="1483" y="5323"/>
                  </a:lnTo>
                  <a:lnTo>
                    <a:pt x="1483" y="5323"/>
                  </a:lnTo>
                  <a:lnTo>
                    <a:pt x="1612" y="4955"/>
                  </a:lnTo>
                  <a:lnTo>
                    <a:pt x="1667" y="4799"/>
                  </a:lnTo>
                  <a:lnTo>
                    <a:pt x="79" y="5569"/>
                  </a:lnTo>
                  <a:lnTo>
                    <a:pt x="79" y="5569"/>
                  </a:lnTo>
                  <a:lnTo>
                    <a:pt x="76" y="5572"/>
                  </a:lnTo>
                  <a:lnTo>
                    <a:pt x="66" y="5581"/>
                  </a:lnTo>
                  <a:lnTo>
                    <a:pt x="52" y="5597"/>
                  </a:lnTo>
                  <a:lnTo>
                    <a:pt x="45" y="5606"/>
                  </a:lnTo>
                  <a:lnTo>
                    <a:pt x="37" y="5618"/>
                  </a:lnTo>
                  <a:lnTo>
                    <a:pt x="30" y="5629"/>
                  </a:lnTo>
                  <a:lnTo>
                    <a:pt x="22" y="5642"/>
                  </a:lnTo>
                  <a:lnTo>
                    <a:pt x="15" y="5655"/>
                  </a:lnTo>
                  <a:lnTo>
                    <a:pt x="10" y="5670"/>
                  </a:lnTo>
                  <a:lnTo>
                    <a:pt x="5" y="5685"/>
                  </a:lnTo>
                  <a:lnTo>
                    <a:pt x="1" y="5701"/>
                  </a:lnTo>
                  <a:lnTo>
                    <a:pt x="0" y="5718"/>
                  </a:lnTo>
                  <a:lnTo>
                    <a:pt x="1" y="5734"/>
                  </a:lnTo>
                  <a:lnTo>
                    <a:pt x="1" y="5734"/>
                  </a:lnTo>
                  <a:lnTo>
                    <a:pt x="4" y="5751"/>
                  </a:lnTo>
                  <a:lnTo>
                    <a:pt x="8" y="5767"/>
                  </a:lnTo>
                  <a:lnTo>
                    <a:pt x="12" y="5781"/>
                  </a:lnTo>
                  <a:lnTo>
                    <a:pt x="18" y="5794"/>
                  </a:lnTo>
                  <a:lnTo>
                    <a:pt x="24" y="5806"/>
                  </a:lnTo>
                  <a:lnTo>
                    <a:pt x="32" y="5817"/>
                  </a:lnTo>
                  <a:lnTo>
                    <a:pt x="39" y="5826"/>
                  </a:lnTo>
                  <a:lnTo>
                    <a:pt x="46" y="5834"/>
                  </a:lnTo>
                  <a:lnTo>
                    <a:pt x="61" y="5848"/>
                  </a:lnTo>
                  <a:lnTo>
                    <a:pt x="73" y="5857"/>
                  </a:lnTo>
                  <a:lnTo>
                    <a:pt x="82" y="5864"/>
                  </a:lnTo>
                  <a:lnTo>
                    <a:pt x="85" y="5866"/>
                  </a:lnTo>
                  <a:lnTo>
                    <a:pt x="3323" y="7398"/>
                  </a:lnTo>
                  <a:lnTo>
                    <a:pt x="3323" y="7398"/>
                  </a:lnTo>
                  <a:lnTo>
                    <a:pt x="3330" y="7401"/>
                  </a:lnTo>
                  <a:lnTo>
                    <a:pt x="3352" y="7411"/>
                  </a:lnTo>
                  <a:lnTo>
                    <a:pt x="3388" y="7422"/>
                  </a:lnTo>
                  <a:lnTo>
                    <a:pt x="3410" y="7430"/>
                  </a:lnTo>
                  <a:lnTo>
                    <a:pt x="3436" y="7437"/>
                  </a:lnTo>
                  <a:lnTo>
                    <a:pt x="3466" y="7444"/>
                  </a:lnTo>
                  <a:lnTo>
                    <a:pt x="3498" y="7452"/>
                  </a:lnTo>
                  <a:lnTo>
                    <a:pt x="3532" y="7458"/>
                  </a:lnTo>
                  <a:lnTo>
                    <a:pt x="3571" y="7464"/>
                  </a:lnTo>
                  <a:lnTo>
                    <a:pt x="3611" y="7469"/>
                  </a:lnTo>
                  <a:lnTo>
                    <a:pt x="3654" y="7473"/>
                  </a:lnTo>
                  <a:lnTo>
                    <a:pt x="3699" y="7477"/>
                  </a:lnTo>
                  <a:lnTo>
                    <a:pt x="3747" y="7478"/>
                  </a:lnTo>
                  <a:lnTo>
                    <a:pt x="3747" y="7478"/>
                  </a:lnTo>
                  <a:close/>
                  <a:moveTo>
                    <a:pt x="2332" y="4214"/>
                  </a:moveTo>
                  <a:lnTo>
                    <a:pt x="2332" y="4214"/>
                  </a:lnTo>
                  <a:lnTo>
                    <a:pt x="2051" y="5066"/>
                  </a:lnTo>
                  <a:lnTo>
                    <a:pt x="2051" y="5066"/>
                  </a:lnTo>
                  <a:lnTo>
                    <a:pt x="2015" y="5041"/>
                  </a:lnTo>
                  <a:lnTo>
                    <a:pt x="1982" y="5018"/>
                  </a:lnTo>
                  <a:lnTo>
                    <a:pt x="1950" y="4991"/>
                  </a:lnTo>
                  <a:lnTo>
                    <a:pt x="1921" y="4965"/>
                  </a:lnTo>
                  <a:lnTo>
                    <a:pt x="1893" y="4939"/>
                  </a:lnTo>
                  <a:lnTo>
                    <a:pt x="1867" y="4912"/>
                  </a:lnTo>
                  <a:lnTo>
                    <a:pt x="1843" y="4885"/>
                  </a:lnTo>
                  <a:lnTo>
                    <a:pt x="1822" y="4858"/>
                  </a:lnTo>
                  <a:lnTo>
                    <a:pt x="1802" y="4830"/>
                  </a:lnTo>
                  <a:lnTo>
                    <a:pt x="1784" y="4801"/>
                  </a:lnTo>
                  <a:lnTo>
                    <a:pt x="1770" y="4773"/>
                  </a:lnTo>
                  <a:lnTo>
                    <a:pt x="1756" y="4742"/>
                  </a:lnTo>
                  <a:lnTo>
                    <a:pt x="1746" y="4713"/>
                  </a:lnTo>
                  <a:lnTo>
                    <a:pt x="1738" y="4683"/>
                  </a:lnTo>
                  <a:lnTo>
                    <a:pt x="1732" y="4653"/>
                  </a:lnTo>
                  <a:lnTo>
                    <a:pt x="1728" y="4623"/>
                  </a:lnTo>
                  <a:lnTo>
                    <a:pt x="1728" y="4623"/>
                  </a:lnTo>
                  <a:lnTo>
                    <a:pt x="2015" y="3813"/>
                  </a:lnTo>
                  <a:lnTo>
                    <a:pt x="2015" y="3813"/>
                  </a:lnTo>
                  <a:lnTo>
                    <a:pt x="2018" y="3841"/>
                  </a:lnTo>
                  <a:lnTo>
                    <a:pt x="2025" y="3868"/>
                  </a:lnTo>
                  <a:lnTo>
                    <a:pt x="2033" y="3895"/>
                  </a:lnTo>
                  <a:lnTo>
                    <a:pt x="2043" y="3922"/>
                  </a:lnTo>
                  <a:lnTo>
                    <a:pt x="2057" y="3950"/>
                  </a:lnTo>
                  <a:lnTo>
                    <a:pt x="2071" y="3976"/>
                  </a:lnTo>
                  <a:lnTo>
                    <a:pt x="2089" y="4002"/>
                  </a:lnTo>
                  <a:lnTo>
                    <a:pt x="2108" y="4027"/>
                  </a:lnTo>
                  <a:lnTo>
                    <a:pt x="2130" y="4052"/>
                  </a:lnTo>
                  <a:lnTo>
                    <a:pt x="2153" y="4077"/>
                  </a:lnTo>
                  <a:lnTo>
                    <a:pt x="2178" y="4101"/>
                  </a:lnTo>
                  <a:lnTo>
                    <a:pt x="2206" y="4125"/>
                  </a:lnTo>
                  <a:lnTo>
                    <a:pt x="2235" y="4148"/>
                  </a:lnTo>
                  <a:lnTo>
                    <a:pt x="2265" y="4170"/>
                  </a:lnTo>
                  <a:lnTo>
                    <a:pt x="2298" y="4192"/>
                  </a:lnTo>
                  <a:lnTo>
                    <a:pt x="2332" y="4214"/>
                  </a:lnTo>
                  <a:lnTo>
                    <a:pt x="2332" y="4214"/>
                  </a:lnTo>
                  <a:close/>
                  <a:moveTo>
                    <a:pt x="2525" y="4312"/>
                  </a:moveTo>
                  <a:lnTo>
                    <a:pt x="2525" y="4312"/>
                  </a:lnTo>
                  <a:lnTo>
                    <a:pt x="2302" y="5202"/>
                  </a:lnTo>
                  <a:lnTo>
                    <a:pt x="2302" y="5202"/>
                  </a:lnTo>
                  <a:lnTo>
                    <a:pt x="2337" y="5217"/>
                  </a:lnTo>
                  <a:lnTo>
                    <a:pt x="2373" y="5231"/>
                  </a:lnTo>
                  <a:lnTo>
                    <a:pt x="2409" y="5246"/>
                  </a:lnTo>
                  <a:lnTo>
                    <a:pt x="2446" y="5259"/>
                  </a:lnTo>
                  <a:lnTo>
                    <a:pt x="2523" y="5285"/>
                  </a:lnTo>
                  <a:lnTo>
                    <a:pt x="2603" y="5310"/>
                  </a:lnTo>
                  <a:lnTo>
                    <a:pt x="2686" y="5334"/>
                  </a:lnTo>
                  <a:lnTo>
                    <a:pt x="2771" y="5355"/>
                  </a:lnTo>
                  <a:lnTo>
                    <a:pt x="2859" y="5375"/>
                  </a:lnTo>
                  <a:lnTo>
                    <a:pt x="2950" y="5393"/>
                  </a:lnTo>
                  <a:lnTo>
                    <a:pt x="3042" y="5409"/>
                  </a:lnTo>
                  <a:lnTo>
                    <a:pt x="3138" y="5423"/>
                  </a:lnTo>
                  <a:lnTo>
                    <a:pt x="3235" y="5435"/>
                  </a:lnTo>
                  <a:lnTo>
                    <a:pt x="3334" y="5445"/>
                  </a:lnTo>
                  <a:lnTo>
                    <a:pt x="3435" y="5453"/>
                  </a:lnTo>
                  <a:lnTo>
                    <a:pt x="3537" y="5458"/>
                  </a:lnTo>
                  <a:lnTo>
                    <a:pt x="3641" y="5462"/>
                  </a:lnTo>
                  <a:lnTo>
                    <a:pt x="3747" y="5463"/>
                  </a:lnTo>
                  <a:lnTo>
                    <a:pt x="3747" y="5463"/>
                  </a:lnTo>
                  <a:lnTo>
                    <a:pt x="3832" y="5462"/>
                  </a:lnTo>
                  <a:lnTo>
                    <a:pt x="3916" y="5460"/>
                  </a:lnTo>
                  <a:lnTo>
                    <a:pt x="3998" y="5456"/>
                  </a:lnTo>
                  <a:lnTo>
                    <a:pt x="4080" y="5452"/>
                  </a:lnTo>
                  <a:lnTo>
                    <a:pt x="4160" y="5445"/>
                  </a:lnTo>
                  <a:lnTo>
                    <a:pt x="4240" y="5437"/>
                  </a:lnTo>
                  <a:lnTo>
                    <a:pt x="4318" y="5428"/>
                  </a:lnTo>
                  <a:lnTo>
                    <a:pt x="4395" y="5418"/>
                  </a:lnTo>
                  <a:lnTo>
                    <a:pt x="4395" y="5418"/>
                  </a:lnTo>
                  <a:lnTo>
                    <a:pt x="4304" y="4489"/>
                  </a:lnTo>
                  <a:lnTo>
                    <a:pt x="4304" y="4489"/>
                  </a:lnTo>
                  <a:lnTo>
                    <a:pt x="4238" y="4499"/>
                  </a:lnTo>
                  <a:lnTo>
                    <a:pt x="4170" y="4506"/>
                  </a:lnTo>
                  <a:lnTo>
                    <a:pt x="4102" y="4513"/>
                  </a:lnTo>
                  <a:lnTo>
                    <a:pt x="4033" y="4518"/>
                  </a:lnTo>
                  <a:lnTo>
                    <a:pt x="3963" y="4523"/>
                  </a:lnTo>
                  <a:lnTo>
                    <a:pt x="3892" y="4526"/>
                  </a:lnTo>
                  <a:lnTo>
                    <a:pt x="3820" y="4528"/>
                  </a:lnTo>
                  <a:lnTo>
                    <a:pt x="3747" y="4529"/>
                  </a:lnTo>
                  <a:lnTo>
                    <a:pt x="3747" y="4529"/>
                  </a:lnTo>
                  <a:lnTo>
                    <a:pt x="3658" y="4528"/>
                  </a:lnTo>
                  <a:lnTo>
                    <a:pt x="3571" y="4525"/>
                  </a:lnTo>
                  <a:lnTo>
                    <a:pt x="3484" y="4521"/>
                  </a:lnTo>
                  <a:lnTo>
                    <a:pt x="3399" y="4513"/>
                  </a:lnTo>
                  <a:lnTo>
                    <a:pt x="3316" y="4505"/>
                  </a:lnTo>
                  <a:lnTo>
                    <a:pt x="3234" y="4496"/>
                  </a:lnTo>
                  <a:lnTo>
                    <a:pt x="3153" y="4484"/>
                  </a:lnTo>
                  <a:lnTo>
                    <a:pt x="3075" y="4471"/>
                  </a:lnTo>
                  <a:lnTo>
                    <a:pt x="2998" y="4456"/>
                  </a:lnTo>
                  <a:lnTo>
                    <a:pt x="2924" y="4439"/>
                  </a:lnTo>
                  <a:lnTo>
                    <a:pt x="2851" y="4422"/>
                  </a:lnTo>
                  <a:lnTo>
                    <a:pt x="2780" y="4402"/>
                  </a:lnTo>
                  <a:lnTo>
                    <a:pt x="2713" y="4382"/>
                  </a:lnTo>
                  <a:lnTo>
                    <a:pt x="2647" y="4360"/>
                  </a:lnTo>
                  <a:lnTo>
                    <a:pt x="2585" y="4336"/>
                  </a:lnTo>
                  <a:lnTo>
                    <a:pt x="2525" y="4312"/>
                  </a:lnTo>
                  <a:lnTo>
                    <a:pt x="2525" y="4312"/>
                  </a:lnTo>
                  <a:close/>
                  <a:moveTo>
                    <a:pt x="5765" y="4625"/>
                  </a:moveTo>
                  <a:lnTo>
                    <a:pt x="5765" y="4625"/>
                  </a:lnTo>
                  <a:lnTo>
                    <a:pt x="5479" y="3817"/>
                  </a:lnTo>
                  <a:lnTo>
                    <a:pt x="5479" y="3817"/>
                  </a:lnTo>
                  <a:lnTo>
                    <a:pt x="5476" y="3840"/>
                  </a:lnTo>
                  <a:lnTo>
                    <a:pt x="5471" y="3863"/>
                  </a:lnTo>
                  <a:lnTo>
                    <a:pt x="5465" y="3886"/>
                  </a:lnTo>
                  <a:lnTo>
                    <a:pt x="5456" y="3909"/>
                  </a:lnTo>
                  <a:lnTo>
                    <a:pt x="5447" y="3932"/>
                  </a:lnTo>
                  <a:lnTo>
                    <a:pt x="5436" y="3954"/>
                  </a:lnTo>
                  <a:lnTo>
                    <a:pt x="5423" y="3976"/>
                  </a:lnTo>
                  <a:lnTo>
                    <a:pt x="5409" y="3997"/>
                  </a:lnTo>
                  <a:lnTo>
                    <a:pt x="5393" y="4018"/>
                  </a:lnTo>
                  <a:lnTo>
                    <a:pt x="5375" y="4040"/>
                  </a:lnTo>
                  <a:lnTo>
                    <a:pt x="5357" y="4061"/>
                  </a:lnTo>
                  <a:lnTo>
                    <a:pt x="5337" y="4081"/>
                  </a:lnTo>
                  <a:lnTo>
                    <a:pt x="5315" y="4102"/>
                  </a:lnTo>
                  <a:lnTo>
                    <a:pt x="5293" y="4121"/>
                  </a:lnTo>
                  <a:lnTo>
                    <a:pt x="5268" y="4141"/>
                  </a:lnTo>
                  <a:lnTo>
                    <a:pt x="5243" y="4160"/>
                  </a:lnTo>
                  <a:lnTo>
                    <a:pt x="5243" y="4160"/>
                  </a:lnTo>
                  <a:lnTo>
                    <a:pt x="5496" y="5029"/>
                  </a:lnTo>
                  <a:lnTo>
                    <a:pt x="5496" y="5029"/>
                  </a:lnTo>
                  <a:lnTo>
                    <a:pt x="5526" y="5007"/>
                  </a:lnTo>
                  <a:lnTo>
                    <a:pt x="5554" y="4984"/>
                  </a:lnTo>
                  <a:lnTo>
                    <a:pt x="5580" y="4960"/>
                  </a:lnTo>
                  <a:lnTo>
                    <a:pt x="5605" y="4936"/>
                  </a:lnTo>
                  <a:lnTo>
                    <a:pt x="5628" y="4912"/>
                  </a:lnTo>
                  <a:lnTo>
                    <a:pt x="5650" y="4887"/>
                  </a:lnTo>
                  <a:lnTo>
                    <a:pt x="5670" y="4862"/>
                  </a:lnTo>
                  <a:lnTo>
                    <a:pt x="5687" y="4837"/>
                  </a:lnTo>
                  <a:lnTo>
                    <a:pt x="5704" y="4812"/>
                  </a:lnTo>
                  <a:lnTo>
                    <a:pt x="5718" y="4786"/>
                  </a:lnTo>
                  <a:lnTo>
                    <a:pt x="5731" y="4760"/>
                  </a:lnTo>
                  <a:lnTo>
                    <a:pt x="5741" y="4733"/>
                  </a:lnTo>
                  <a:lnTo>
                    <a:pt x="5751" y="4706"/>
                  </a:lnTo>
                  <a:lnTo>
                    <a:pt x="5757" y="4680"/>
                  </a:lnTo>
                  <a:lnTo>
                    <a:pt x="5762" y="4652"/>
                  </a:lnTo>
                  <a:lnTo>
                    <a:pt x="5765" y="4625"/>
                  </a:lnTo>
                  <a:lnTo>
                    <a:pt x="5765" y="4625"/>
                  </a:lnTo>
                  <a:close/>
                  <a:moveTo>
                    <a:pt x="3751" y="2608"/>
                  </a:moveTo>
                  <a:lnTo>
                    <a:pt x="3751" y="2608"/>
                  </a:lnTo>
                  <a:lnTo>
                    <a:pt x="3799" y="2606"/>
                  </a:lnTo>
                  <a:lnTo>
                    <a:pt x="3846" y="2605"/>
                  </a:lnTo>
                  <a:lnTo>
                    <a:pt x="3893" y="2603"/>
                  </a:lnTo>
                  <a:lnTo>
                    <a:pt x="3939" y="2600"/>
                  </a:lnTo>
                  <a:lnTo>
                    <a:pt x="3984" y="2597"/>
                  </a:lnTo>
                  <a:lnTo>
                    <a:pt x="4029" y="2593"/>
                  </a:lnTo>
                  <a:lnTo>
                    <a:pt x="4073" y="2588"/>
                  </a:lnTo>
                  <a:lnTo>
                    <a:pt x="4116" y="2581"/>
                  </a:lnTo>
                  <a:lnTo>
                    <a:pt x="4116" y="2581"/>
                  </a:lnTo>
                  <a:lnTo>
                    <a:pt x="4207" y="3506"/>
                  </a:lnTo>
                  <a:lnTo>
                    <a:pt x="4207" y="3506"/>
                  </a:lnTo>
                  <a:lnTo>
                    <a:pt x="4153" y="3513"/>
                  </a:lnTo>
                  <a:lnTo>
                    <a:pt x="4098" y="3519"/>
                  </a:lnTo>
                  <a:lnTo>
                    <a:pt x="4043" y="3524"/>
                  </a:lnTo>
                  <a:lnTo>
                    <a:pt x="3985" y="3530"/>
                  </a:lnTo>
                  <a:lnTo>
                    <a:pt x="3928" y="3533"/>
                  </a:lnTo>
                  <a:lnTo>
                    <a:pt x="3870" y="3535"/>
                  </a:lnTo>
                  <a:lnTo>
                    <a:pt x="3811" y="3537"/>
                  </a:lnTo>
                  <a:lnTo>
                    <a:pt x="3751" y="3537"/>
                  </a:lnTo>
                  <a:lnTo>
                    <a:pt x="3751" y="3537"/>
                  </a:lnTo>
                  <a:lnTo>
                    <a:pt x="3680" y="3537"/>
                  </a:lnTo>
                  <a:lnTo>
                    <a:pt x="3610" y="3534"/>
                  </a:lnTo>
                  <a:lnTo>
                    <a:pt x="3540" y="3531"/>
                  </a:lnTo>
                  <a:lnTo>
                    <a:pt x="3472" y="3525"/>
                  </a:lnTo>
                  <a:lnTo>
                    <a:pt x="3404" y="3519"/>
                  </a:lnTo>
                  <a:lnTo>
                    <a:pt x="3338" y="3512"/>
                  </a:lnTo>
                  <a:lnTo>
                    <a:pt x="3273" y="3503"/>
                  </a:lnTo>
                  <a:lnTo>
                    <a:pt x="3210" y="3492"/>
                  </a:lnTo>
                  <a:lnTo>
                    <a:pt x="3147" y="3481"/>
                  </a:lnTo>
                  <a:lnTo>
                    <a:pt x="3087" y="3468"/>
                  </a:lnTo>
                  <a:lnTo>
                    <a:pt x="3029" y="3454"/>
                  </a:lnTo>
                  <a:lnTo>
                    <a:pt x="2972" y="3439"/>
                  </a:lnTo>
                  <a:lnTo>
                    <a:pt x="2916" y="3422"/>
                  </a:lnTo>
                  <a:lnTo>
                    <a:pt x="2863" y="3406"/>
                  </a:lnTo>
                  <a:lnTo>
                    <a:pt x="2811" y="3387"/>
                  </a:lnTo>
                  <a:lnTo>
                    <a:pt x="2762" y="3368"/>
                  </a:lnTo>
                  <a:lnTo>
                    <a:pt x="2762" y="3368"/>
                  </a:lnTo>
                  <a:lnTo>
                    <a:pt x="2824" y="3120"/>
                  </a:lnTo>
                  <a:lnTo>
                    <a:pt x="2857" y="2993"/>
                  </a:lnTo>
                  <a:lnTo>
                    <a:pt x="2857" y="2993"/>
                  </a:lnTo>
                  <a:lnTo>
                    <a:pt x="2866" y="2959"/>
                  </a:lnTo>
                  <a:lnTo>
                    <a:pt x="2868" y="2944"/>
                  </a:lnTo>
                  <a:lnTo>
                    <a:pt x="2870" y="2929"/>
                  </a:lnTo>
                  <a:lnTo>
                    <a:pt x="2871" y="2917"/>
                  </a:lnTo>
                  <a:lnTo>
                    <a:pt x="2872" y="2904"/>
                  </a:lnTo>
                  <a:lnTo>
                    <a:pt x="2871" y="2894"/>
                  </a:lnTo>
                  <a:lnTo>
                    <a:pt x="2871" y="2885"/>
                  </a:lnTo>
                  <a:lnTo>
                    <a:pt x="2869" y="2876"/>
                  </a:lnTo>
                  <a:lnTo>
                    <a:pt x="2867" y="2869"/>
                  </a:lnTo>
                  <a:lnTo>
                    <a:pt x="2864" y="2863"/>
                  </a:lnTo>
                  <a:lnTo>
                    <a:pt x="2861" y="2858"/>
                  </a:lnTo>
                  <a:lnTo>
                    <a:pt x="2857" y="2853"/>
                  </a:lnTo>
                  <a:lnTo>
                    <a:pt x="2853" y="2850"/>
                  </a:lnTo>
                  <a:lnTo>
                    <a:pt x="2849" y="2848"/>
                  </a:lnTo>
                  <a:lnTo>
                    <a:pt x="2844" y="2847"/>
                  </a:lnTo>
                  <a:lnTo>
                    <a:pt x="2839" y="2847"/>
                  </a:lnTo>
                  <a:lnTo>
                    <a:pt x="2833" y="2848"/>
                  </a:lnTo>
                  <a:lnTo>
                    <a:pt x="2827" y="2849"/>
                  </a:lnTo>
                  <a:lnTo>
                    <a:pt x="2822" y="2852"/>
                  </a:lnTo>
                  <a:lnTo>
                    <a:pt x="2816" y="2857"/>
                  </a:lnTo>
                  <a:lnTo>
                    <a:pt x="2810" y="2861"/>
                  </a:lnTo>
                  <a:lnTo>
                    <a:pt x="2803" y="2867"/>
                  </a:lnTo>
                  <a:lnTo>
                    <a:pt x="2797" y="2873"/>
                  </a:lnTo>
                  <a:lnTo>
                    <a:pt x="2785" y="2890"/>
                  </a:lnTo>
                  <a:lnTo>
                    <a:pt x="2773" y="2909"/>
                  </a:lnTo>
                  <a:lnTo>
                    <a:pt x="2762" y="2932"/>
                  </a:lnTo>
                  <a:lnTo>
                    <a:pt x="2751" y="2958"/>
                  </a:lnTo>
                  <a:lnTo>
                    <a:pt x="2751" y="2958"/>
                  </a:lnTo>
                  <a:lnTo>
                    <a:pt x="2712" y="3072"/>
                  </a:lnTo>
                  <a:lnTo>
                    <a:pt x="2633" y="3309"/>
                  </a:lnTo>
                  <a:lnTo>
                    <a:pt x="2633" y="3309"/>
                  </a:lnTo>
                  <a:lnTo>
                    <a:pt x="2601" y="3291"/>
                  </a:lnTo>
                  <a:lnTo>
                    <a:pt x="2569" y="3272"/>
                  </a:lnTo>
                  <a:lnTo>
                    <a:pt x="2539" y="3254"/>
                  </a:lnTo>
                  <a:lnTo>
                    <a:pt x="2511" y="3234"/>
                  </a:lnTo>
                  <a:lnTo>
                    <a:pt x="2485" y="3214"/>
                  </a:lnTo>
                  <a:lnTo>
                    <a:pt x="2460" y="3194"/>
                  </a:lnTo>
                  <a:lnTo>
                    <a:pt x="2437" y="3173"/>
                  </a:lnTo>
                  <a:lnTo>
                    <a:pt x="2416" y="3151"/>
                  </a:lnTo>
                  <a:lnTo>
                    <a:pt x="2396" y="3130"/>
                  </a:lnTo>
                  <a:lnTo>
                    <a:pt x="2378" y="3108"/>
                  </a:lnTo>
                  <a:lnTo>
                    <a:pt x="2363" y="3086"/>
                  </a:lnTo>
                  <a:lnTo>
                    <a:pt x="2349" y="3063"/>
                  </a:lnTo>
                  <a:lnTo>
                    <a:pt x="2338" y="3040"/>
                  </a:lnTo>
                  <a:lnTo>
                    <a:pt x="2327" y="3016"/>
                  </a:lnTo>
                  <a:lnTo>
                    <a:pt x="2320" y="2993"/>
                  </a:lnTo>
                  <a:lnTo>
                    <a:pt x="2314" y="2969"/>
                  </a:lnTo>
                  <a:lnTo>
                    <a:pt x="2314" y="2969"/>
                  </a:lnTo>
                  <a:lnTo>
                    <a:pt x="2596" y="2173"/>
                  </a:lnTo>
                  <a:lnTo>
                    <a:pt x="2596" y="2173"/>
                  </a:lnTo>
                  <a:lnTo>
                    <a:pt x="2605" y="2196"/>
                  </a:lnTo>
                  <a:lnTo>
                    <a:pt x="2615" y="2218"/>
                  </a:lnTo>
                  <a:lnTo>
                    <a:pt x="2628" y="2240"/>
                  </a:lnTo>
                  <a:lnTo>
                    <a:pt x="2643" y="2262"/>
                  </a:lnTo>
                  <a:lnTo>
                    <a:pt x="2661" y="2283"/>
                  </a:lnTo>
                  <a:lnTo>
                    <a:pt x="2681" y="2304"/>
                  </a:lnTo>
                  <a:lnTo>
                    <a:pt x="2701" y="2324"/>
                  </a:lnTo>
                  <a:lnTo>
                    <a:pt x="2725" y="2344"/>
                  </a:lnTo>
                  <a:lnTo>
                    <a:pt x="2751" y="2364"/>
                  </a:lnTo>
                  <a:lnTo>
                    <a:pt x="2778" y="2382"/>
                  </a:lnTo>
                  <a:lnTo>
                    <a:pt x="2807" y="2400"/>
                  </a:lnTo>
                  <a:lnTo>
                    <a:pt x="2839" y="2418"/>
                  </a:lnTo>
                  <a:lnTo>
                    <a:pt x="2872" y="2435"/>
                  </a:lnTo>
                  <a:lnTo>
                    <a:pt x="2906" y="2451"/>
                  </a:lnTo>
                  <a:lnTo>
                    <a:pt x="2943" y="2467"/>
                  </a:lnTo>
                  <a:lnTo>
                    <a:pt x="2980" y="2481"/>
                  </a:lnTo>
                  <a:lnTo>
                    <a:pt x="3020" y="2496"/>
                  </a:lnTo>
                  <a:lnTo>
                    <a:pt x="3060" y="2510"/>
                  </a:lnTo>
                  <a:lnTo>
                    <a:pt x="3103" y="2522"/>
                  </a:lnTo>
                  <a:lnTo>
                    <a:pt x="3146" y="2535"/>
                  </a:lnTo>
                  <a:lnTo>
                    <a:pt x="3191" y="2545"/>
                  </a:lnTo>
                  <a:lnTo>
                    <a:pt x="3237" y="2555"/>
                  </a:lnTo>
                  <a:lnTo>
                    <a:pt x="3284" y="2565"/>
                  </a:lnTo>
                  <a:lnTo>
                    <a:pt x="3332" y="2573"/>
                  </a:lnTo>
                  <a:lnTo>
                    <a:pt x="3381" y="2581"/>
                  </a:lnTo>
                  <a:lnTo>
                    <a:pt x="3432" y="2588"/>
                  </a:lnTo>
                  <a:lnTo>
                    <a:pt x="3483" y="2594"/>
                  </a:lnTo>
                  <a:lnTo>
                    <a:pt x="3535" y="2598"/>
                  </a:lnTo>
                  <a:lnTo>
                    <a:pt x="3588" y="2602"/>
                  </a:lnTo>
                  <a:lnTo>
                    <a:pt x="3642" y="2604"/>
                  </a:lnTo>
                  <a:lnTo>
                    <a:pt x="3696" y="2606"/>
                  </a:lnTo>
                  <a:lnTo>
                    <a:pt x="3751" y="2608"/>
                  </a:lnTo>
                  <a:lnTo>
                    <a:pt x="3751" y="2608"/>
                  </a:lnTo>
                  <a:close/>
                  <a:moveTo>
                    <a:pt x="5185" y="2988"/>
                  </a:moveTo>
                  <a:lnTo>
                    <a:pt x="5185" y="2988"/>
                  </a:lnTo>
                  <a:lnTo>
                    <a:pt x="4901" y="2190"/>
                  </a:lnTo>
                  <a:lnTo>
                    <a:pt x="4901" y="2190"/>
                  </a:lnTo>
                  <a:lnTo>
                    <a:pt x="4896" y="2203"/>
                  </a:lnTo>
                  <a:lnTo>
                    <a:pt x="4890" y="2216"/>
                  </a:lnTo>
                  <a:lnTo>
                    <a:pt x="4883" y="2228"/>
                  </a:lnTo>
                  <a:lnTo>
                    <a:pt x="4874" y="2242"/>
                  </a:lnTo>
                  <a:lnTo>
                    <a:pt x="4866" y="2254"/>
                  </a:lnTo>
                  <a:lnTo>
                    <a:pt x="4857" y="2266"/>
                  </a:lnTo>
                  <a:lnTo>
                    <a:pt x="4846" y="2278"/>
                  </a:lnTo>
                  <a:lnTo>
                    <a:pt x="4836" y="2291"/>
                  </a:lnTo>
                  <a:lnTo>
                    <a:pt x="4813" y="2314"/>
                  </a:lnTo>
                  <a:lnTo>
                    <a:pt x="4786" y="2338"/>
                  </a:lnTo>
                  <a:lnTo>
                    <a:pt x="4758" y="2360"/>
                  </a:lnTo>
                  <a:lnTo>
                    <a:pt x="4726" y="2381"/>
                  </a:lnTo>
                  <a:lnTo>
                    <a:pt x="4726" y="2381"/>
                  </a:lnTo>
                  <a:lnTo>
                    <a:pt x="4977" y="3244"/>
                  </a:lnTo>
                  <a:lnTo>
                    <a:pt x="4977" y="3244"/>
                  </a:lnTo>
                  <a:lnTo>
                    <a:pt x="4997" y="3231"/>
                  </a:lnTo>
                  <a:lnTo>
                    <a:pt x="5017" y="3216"/>
                  </a:lnTo>
                  <a:lnTo>
                    <a:pt x="5035" y="3200"/>
                  </a:lnTo>
                  <a:lnTo>
                    <a:pt x="5052" y="3186"/>
                  </a:lnTo>
                  <a:lnTo>
                    <a:pt x="5069" y="3170"/>
                  </a:lnTo>
                  <a:lnTo>
                    <a:pt x="5084" y="3155"/>
                  </a:lnTo>
                  <a:lnTo>
                    <a:pt x="5099" y="3139"/>
                  </a:lnTo>
                  <a:lnTo>
                    <a:pt x="5113" y="3123"/>
                  </a:lnTo>
                  <a:lnTo>
                    <a:pt x="5126" y="3107"/>
                  </a:lnTo>
                  <a:lnTo>
                    <a:pt x="5137" y="3090"/>
                  </a:lnTo>
                  <a:lnTo>
                    <a:pt x="5148" y="3074"/>
                  </a:lnTo>
                  <a:lnTo>
                    <a:pt x="5157" y="3057"/>
                  </a:lnTo>
                  <a:lnTo>
                    <a:pt x="5166" y="3040"/>
                  </a:lnTo>
                  <a:lnTo>
                    <a:pt x="5174" y="3023"/>
                  </a:lnTo>
                  <a:lnTo>
                    <a:pt x="5180" y="3006"/>
                  </a:lnTo>
                  <a:lnTo>
                    <a:pt x="5185" y="2988"/>
                  </a:lnTo>
                  <a:lnTo>
                    <a:pt x="5185" y="2988"/>
                  </a:lnTo>
                  <a:close/>
                  <a:moveTo>
                    <a:pt x="4294" y="491"/>
                  </a:moveTo>
                  <a:lnTo>
                    <a:pt x="4294" y="491"/>
                  </a:lnTo>
                  <a:lnTo>
                    <a:pt x="4432" y="874"/>
                  </a:lnTo>
                  <a:lnTo>
                    <a:pt x="4611" y="1377"/>
                  </a:lnTo>
                  <a:lnTo>
                    <a:pt x="4611" y="1377"/>
                  </a:lnTo>
                  <a:lnTo>
                    <a:pt x="4596" y="1389"/>
                  </a:lnTo>
                  <a:lnTo>
                    <a:pt x="4580" y="1402"/>
                  </a:lnTo>
                  <a:lnTo>
                    <a:pt x="4562" y="1414"/>
                  </a:lnTo>
                  <a:lnTo>
                    <a:pt x="4544" y="1426"/>
                  </a:lnTo>
                  <a:lnTo>
                    <a:pt x="4525" y="1437"/>
                  </a:lnTo>
                  <a:lnTo>
                    <a:pt x="4504" y="1449"/>
                  </a:lnTo>
                  <a:lnTo>
                    <a:pt x="4483" y="1459"/>
                  </a:lnTo>
                  <a:lnTo>
                    <a:pt x="4462" y="1471"/>
                  </a:lnTo>
                  <a:lnTo>
                    <a:pt x="4462" y="1471"/>
                  </a:lnTo>
                  <a:lnTo>
                    <a:pt x="4199" y="563"/>
                  </a:lnTo>
                  <a:lnTo>
                    <a:pt x="4199" y="563"/>
                  </a:lnTo>
                  <a:lnTo>
                    <a:pt x="4228" y="547"/>
                  </a:lnTo>
                  <a:lnTo>
                    <a:pt x="4241" y="538"/>
                  </a:lnTo>
                  <a:lnTo>
                    <a:pt x="4254" y="529"/>
                  </a:lnTo>
                  <a:lnTo>
                    <a:pt x="4265" y="519"/>
                  </a:lnTo>
                  <a:lnTo>
                    <a:pt x="4275" y="511"/>
                  </a:lnTo>
                  <a:lnTo>
                    <a:pt x="4286" y="501"/>
                  </a:lnTo>
                  <a:lnTo>
                    <a:pt x="4294" y="491"/>
                  </a:lnTo>
                  <a:lnTo>
                    <a:pt x="4294" y="491"/>
                  </a:lnTo>
                  <a:close/>
                  <a:moveTo>
                    <a:pt x="2881" y="1368"/>
                  </a:moveTo>
                  <a:lnTo>
                    <a:pt x="2881" y="1368"/>
                  </a:lnTo>
                  <a:lnTo>
                    <a:pt x="2897" y="1381"/>
                  </a:lnTo>
                  <a:lnTo>
                    <a:pt x="2912" y="1394"/>
                  </a:lnTo>
                  <a:lnTo>
                    <a:pt x="2929" y="1406"/>
                  </a:lnTo>
                  <a:lnTo>
                    <a:pt x="2948" y="1419"/>
                  </a:lnTo>
                  <a:lnTo>
                    <a:pt x="2967" y="1430"/>
                  </a:lnTo>
                  <a:lnTo>
                    <a:pt x="2986" y="1442"/>
                  </a:lnTo>
                  <a:lnTo>
                    <a:pt x="3007" y="1453"/>
                  </a:lnTo>
                  <a:lnTo>
                    <a:pt x="3029" y="1464"/>
                  </a:lnTo>
                  <a:lnTo>
                    <a:pt x="3051" y="1475"/>
                  </a:lnTo>
                  <a:lnTo>
                    <a:pt x="3075" y="1485"/>
                  </a:lnTo>
                  <a:lnTo>
                    <a:pt x="3099" y="1495"/>
                  </a:lnTo>
                  <a:lnTo>
                    <a:pt x="3124" y="1504"/>
                  </a:lnTo>
                  <a:lnTo>
                    <a:pt x="3176" y="1523"/>
                  </a:lnTo>
                  <a:lnTo>
                    <a:pt x="3231" y="1538"/>
                  </a:lnTo>
                  <a:lnTo>
                    <a:pt x="3288" y="1554"/>
                  </a:lnTo>
                  <a:lnTo>
                    <a:pt x="3348" y="1567"/>
                  </a:lnTo>
                  <a:lnTo>
                    <a:pt x="3410" y="1578"/>
                  </a:lnTo>
                  <a:lnTo>
                    <a:pt x="3475" y="1587"/>
                  </a:lnTo>
                  <a:lnTo>
                    <a:pt x="3541" y="1595"/>
                  </a:lnTo>
                  <a:lnTo>
                    <a:pt x="3610" y="1600"/>
                  </a:lnTo>
                  <a:lnTo>
                    <a:pt x="3680" y="1604"/>
                  </a:lnTo>
                  <a:lnTo>
                    <a:pt x="3751" y="1605"/>
                  </a:lnTo>
                  <a:lnTo>
                    <a:pt x="3751" y="1605"/>
                  </a:lnTo>
                  <a:lnTo>
                    <a:pt x="3821" y="1604"/>
                  </a:lnTo>
                  <a:lnTo>
                    <a:pt x="3889" y="1601"/>
                  </a:lnTo>
                  <a:lnTo>
                    <a:pt x="3955" y="1596"/>
                  </a:lnTo>
                  <a:lnTo>
                    <a:pt x="4020" y="1588"/>
                  </a:lnTo>
                  <a:lnTo>
                    <a:pt x="4020" y="1588"/>
                  </a:lnTo>
                  <a:lnTo>
                    <a:pt x="3927" y="641"/>
                  </a:lnTo>
                  <a:lnTo>
                    <a:pt x="3927" y="641"/>
                  </a:lnTo>
                  <a:lnTo>
                    <a:pt x="3886" y="647"/>
                  </a:lnTo>
                  <a:lnTo>
                    <a:pt x="3842" y="651"/>
                  </a:lnTo>
                  <a:lnTo>
                    <a:pt x="3797" y="653"/>
                  </a:lnTo>
                  <a:lnTo>
                    <a:pt x="3751" y="654"/>
                  </a:lnTo>
                  <a:lnTo>
                    <a:pt x="3751" y="654"/>
                  </a:lnTo>
                  <a:lnTo>
                    <a:pt x="3704" y="653"/>
                  </a:lnTo>
                  <a:lnTo>
                    <a:pt x="3657" y="650"/>
                  </a:lnTo>
                  <a:lnTo>
                    <a:pt x="3611" y="646"/>
                  </a:lnTo>
                  <a:lnTo>
                    <a:pt x="3566" y="640"/>
                  </a:lnTo>
                  <a:lnTo>
                    <a:pt x="3524" y="633"/>
                  </a:lnTo>
                  <a:lnTo>
                    <a:pt x="3482" y="625"/>
                  </a:lnTo>
                  <a:lnTo>
                    <a:pt x="3444" y="615"/>
                  </a:lnTo>
                  <a:lnTo>
                    <a:pt x="3406" y="604"/>
                  </a:lnTo>
                  <a:lnTo>
                    <a:pt x="3371" y="592"/>
                  </a:lnTo>
                  <a:lnTo>
                    <a:pt x="3339" y="579"/>
                  </a:lnTo>
                  <a:lnTo>
                    <a:pt x="3308" y="564"/>
                  </a:lnTo>
                  <a:lnTo>
                    <a:pt x="3281" y="550"/>
                  </a:lnTo>
                  <a:lnTo>
                    <a:pt x="3256" y="533"/>
                  </a:lnTo>
                  <a:lnTo>
                    <a:pt x="3234" y="516"/>
                  </a:lnTo>
                  <a:lnTo>
                    <a:pt x="3223" y="507"/>
                  </a:lnTo>
                  <a:lnTo>
                    <a:pt x="3215" y="499"/>
                  </a:lnTo>
                  <a:lnTo>
                    <a:pt x="3207" y="489"/>
                  </a:lnTo>
                  <a:lnTo>
                    <a:pt x="3199" y="480"/>
                  </a:lnTo>
                  <a:lnTo>
                    <a:pt x="3199" y="480"/>
                  </a:lnTo>
                  <a:lnTo>
                    <a:pt x="3064" y="856"/>
                  </a:lnTo>
                  <a:lnTo>
                    <a:pt x="2881" y="1368"/>
                  </a:lnTo>
                  <a:lnTo>
                    <a:pt x="2881" y="1368"/>
                  </a:lnTo>
                  <a:close/>
                  <a:moveTo>
                    <a:pt x="3434" y="136"/>
                  </a:moveTo>
                  <a:lnTo>
                    <a:pt x="3434" y="136"/>
                  </a:lnTo>
                  <a:lnTo>
                    <a:pt x="3434" y="143"/>
                  </a:lnTo>
                  <a:lnTo>
                    <a:pt x="3435" y="151"/>
                  </a:lnTo>
                  <a:lnTo>
                    <a:pt x="3438" y="157"/>
                  </a:lnTo>
                  <a:lnTo>
                    <a:pt x="3441" y="164"/>
                  </a:lnTo>
                  <a:lnTo>
                    <a:pt x="3444" y="170"/>
                  </a:lnTo>
                  <a:lnTo>
                    <a:pt x="3448" y="177"/>
                  </a:lnTo>
                  <a:lnTo>
                    <a:pt x="3459" y="189"/>
                  </a:lnTo>
                  <a:lnTo>
                    <a:pt x="3472" y="202"/>
                  </a:lnTo>
                  <a:lnTo>
                    <a:pt x="3488" y="213"/>
                  </a:lnTo>
                  <a:lnTo>
                    <a:pt x="3506" y="224"/>
                  </a:lnTo>
                  <a:lnTo>
                    <a:pt x="3527" y="233"/>
                  </a:lnTo>
                  <a:lnTo>
                    <a:pt x="3550" y="241"/>
                  </a:lnTo>
                  <a:lnTo>
                    <a:pt x="3574" y="250"/>
                  </a:lnTo>
                  <a:lnTo>
                    <a:pt x="3601" y="256"/>
                  </a:lnTo>
                  <a:lnTo>
                    <a:pt x="3628" y="262"/>
                  </a:lnTo>
                  <a:lnTo>
                    <a:pt x="3657" y="266"/>
                  </a:lnTo>
                  <a:lnTo>
                    <a:pt x="3688" y="270"/>
                  </a:lnTo>
                  <a:lnTo>
                    <a:pt x="3719" y="273"/>
                  </a:lnTo>
                  <a:lnTo>
                    <a:pt x="3751" y="273"/>
                  </a:lnTo>
                  <a:lnTo>
                    <a:pt x="3751" y="273"/>
                  </a:lnTo>
                  <a:lnTo>
                    <a:pt x="3784" y="273"/>
                  </a:lnTo>
                  <a:lnTo>
                    <a:pt x="3816" y="270"/>
                  </a:lnTo>
                  <a:lnTo>
                    <a:pt x="3846" y="266"/>
                  </a:lnTo>
                  <a:lnTo>
                    <a:pt x="3875" y="262"/>
                  </a:lnTo>
                  <a:lnTo>
                    <a:pt x="3903" y="256"/>
                  </a:lnTo>
                  <a:lnTo>
                    <a:pt x="3929" y="250"/>
                  </a:lnTo>
                  <a:lnTo>
                    <a:pt x="3954" y="241"/>
                  </a:lnTo>
                  <a:lnTo>
                    <a:pt x="3976" y="233"/>
                  </a:lnTo>
                  <a:lnTo>
                    <a:pt x="3997" y="224"/>
                  </a:lnTo>
                  <a:lnTo>
                    <a:pt x="4016" y="213"/>
                  </a:lnTo>
                  <a:lnTo>
                    <a:pt x="4031" y="202"/>
                  </a:lnTo>
                  <a:lnTo>
                    <a:pt x="4045" y="189"/>
                  </a:lnTo>
                  <a:lnTo>
                    <a:pt x="4055" y="177"/>
                  </a:lnTo>
                  <a:lnTo>
                    <a:pt x="4059" y="170"/>
                  </a:lnTo>
                  <a:lnTo>
                    <a:pt x="4062" y="164"/>
                  </a:lnTo>
                  <a:lnTo>
                    <a:pt x="4065" y="157"/>
                  </a:lnTo>
                  <a:lnTo>
                    <a:pt x="4068" y="151"/>
                  </a:lnTo>
                  <a:lnTo>
                    <a:pt x="4069" y="143"/>
                  </a:lnTo>
                  <a:lnTo>
                    <a:pt x="4070" y="136"/>
                  </a:lnTo>
                  <a:lnTo>
                    <a:pt x="4070" y="136"/>
                  </a:lnTo>
                  <a:lnTo>
                    <a:pt x="4069" y="130"/>
                  </a:lnTo>
                  <a:lnTo>
                    <a:pt x="4068" y="122"/>
                  </a:lnTo>
                  <a:lnTo>
                    <a:pt x="4065" y="115"/>
                  </a:lnTo>
                  <a:lnTo>
                    <a:pt x="4062" y="109"/>
                  </a:lnTo>
                  <a:lnTo>
                    <a:pt x="4059" y="103"/>
                  </a:lnTo>
                  <a:lnTo>
                    <a:pt x="4055" y="95"/>
                  </a:lnTo>
                  <a:lnTo>
                    <a:pt x="4045" y="83"/>
                  </a:lnTo>
                  <a:lnTo>
                    <a:pt x="4031" y="71"/>
                  </a:lnTo>
                  <a:lnTo>
                    <a:pt x="4016" y="60"/>
                  </a:lnTo>
                  <a:lnTo>
                    <a:pt x="3997" y="50"/>
                  </a:lnTo>
                  <a:lnTo>
                    <a:pt x="3976" y="40"/>
                  </a:lnTo>
                  <a:lnTo>
                    <a:pt x="3954" y="31"/>
                  </a:lnTo>
                  <a:lnTo>
                    <a:pt x="3929" y="23"/>
                  </a:lnTo>
                  <a:lnTo>
                    <a:pt x="3903" y="16"/>
                  </a:lnTo>
                  <a:lnTo>
                    <a:pt x="3875" y="11"/>
                  </a:lnTo>
                  <a:lnTo>
                    <a:pt x="3846" y="6"/>
                  </a:lnTo>
                  <a:lnTo>
                    <a:pt x="3816" y="3"/>
                  </a:lnTo>
                  <a:lnTo>
                    <a:pt x="3784" y="1"/>
                  </a:lnTo>
                  <a:lnTo>
                    <a:pt x="3751" y="0"/>
                  </a:lnTo>
                  <a:lnTo>
                    <a:pt x="3751" y="0"/>
                  </a:lnTo>
                  <a:lnTo>
                    <a:pt x="3719" y="1"/>
                  </a:lnTo>
                  <a:lnTo>
                    <a:pt x="3688" y="3"/>
                  </a:lnTo>
                  <a:lnTo>
                    <a:pt x="3657" y="6"/>
                  </a:lnTo>
                  <a:lnTo>
                    <a:pt x="3628" y="11"/>
                  </a:lnTo>
                  <a:lnTo>
                    <a:pt x="3601" y="16"/>
                  </a:lnTo>
                  <a:lnTo>
                    <a:pt x="3574" y="23"/>
                  </a:lnTo>
                  <a:lnTo>
                    <a:pt x="3550" y="31"/>
                  </a:lnTo>
                  <a:lnTo>
                    <a:pt x="3527" y="40"/>
                  </a:lnTo>
                  <a:lnTo>
                    <a:pt x="3506" y="50"/>
                  </a:lnTo>
                  <a:lnTo>
                    <a:pt x="3488" y="60"/>
                  </a:lnTo>
                  <a:lnTo>
                    <a:pt x="3472" y="71"/>
                  </a:lnTo>
                  <a:lnTo>
                    <a:pt x="3459" y="83"/>
                  </a:lnTo>
                  <a:lnTo>
                    <a:pt x="3448" y="95"/>
                  </a:lnTo>
                  <a:lnTo>
                    <a:pt x="3444" y="103"/>
                  </a:lnTo>
                  <a:lnTo>
                    <a:pt x="3441" y="109"/>
                  </a:lnTo>
                  <a:lnTo>
                    <a:pt x="3438" y="115"/>
                  </a:lnTo>
                  <a:lnTo>
                    <a:pt x="3435" y="122"/>
                  </a:lnTo>
                  <a:lnTo>
                    <a:pt x="3434" y="130"/>
                  </a:lnTo>
                  <a:lnTo>
                    <a:pt x="3434" y="136"/>
                  </a:lnTo>
                  <a:lnTo>
                    <a:pt x="3434" y="136"/>
                  </a:lnTo>
                  <a:close/>
                </a:path>
              </a:pathLst>
            </a:custGeom>
            <a:solidFill>
              <a:srgbClr val="F15A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87" name="Freeform 83"/>
            <p:cNvSpPr>
              <a:spLocks/>
            </p:cNvSpPr>
            <p:nvPr/>
          </p:nvSpPr>
          <p:spPr bwMode="auto">
            <a:xfrm flipH="1">
              <a:off x="6474731" y="2848002"/>
              <a:ext cx="1381686" cy="261854"/>
            </a:xfrm>
            <a:custGeom>
              <a:avLst/>
              <a:gdLst>
                <a:gd name="T0" fmla="*/ 1 w 7498"/>
                <a:gd name="T1" fmla="*/ 15 h 1827"/>
                <a:gd name="T2" fmla="*/ 14 w 7498"/>
                <a:gd name="T3" fmla="*/ 65 h 1827"/>
                <a:gd name="T4" fmla="*/ 32 w 7498"/>
                <a:gd name="T5" fmla="*/ 101 h 1827"/>
                <a:gd name="T6" fmla="*/ 60 w 7498"/>
                <a:gd name="T7" fmla="*/ 136 h 1827"/>
                <a:gd name="T8" fmla="*/ 102 w 7498"/>
                <a:gd name="T9" fmla="*/ 166 h 1827"/>
                <a:gd name="T10" fmla="*/ 273 w 7498"/>
                <a:gd name="T11" fmla="*/ 248 h 1827"/>
                <a:gd name="T12" fmla="*/ 3325 w 7498"/>
                <a:gd name="T13" fmla="*/ 1690 h 1827"/>
                <a:gd name="T14" fmla="*/ 3358 w 7498"/>
                <a:gd name="T15" fmla="*/ 1703 h 1827"/>
                <a:gd name="T16" fmla="*/ 3449 w 7498"/>
                <a:gd name="T17" fmla="*/ 1730 h 1827"/>
                <a:gd name="T18" fmla="*/ 3547 w 7498"/>
                <a:gd name="T19" fmla="*/ 1751 h 1827"/>
                <a:gd name="T20" fmla="*/ 3663 w 7498"/>
                <a:gd name="T21" fmla="*/ 1766 h 1827"/>
                <a:gd name="T22" fmla="*/ 3749 w 7498"/>
                <a:gd name="T23" fmla="*/ 1770 h 1827"/>
                <a:gd name="T24" fmla="*/ 3876 w 7498"/>
                <a:gd name="T25" fmla="*/ 1762 h 1827"/>
                <a:gd name="T26" fmla="*/ 3987 w 7498"/>
                <a:gd name="T27" fmla="*/ 1745 h 1827"/>
                <a:gd name="T28" fmla="*/ 4077 w 7498"/>
                <a:gd name="T29" fmla="*/ 1723 h 1827"/>
                <a:gd name="T30" fmla="*/ 4165 w 7498"/>
                <a:gd name="T31" fmla="*/ 1693 h 1827"/>
                <a:gd name="T32" fmla="*/ 5743 w 7498"/>
                <a:gd name="T33" fmla="*/ 951 h 1827"/>
                <a:gd name="T34" fmla="*/ 7342 w 7498"/>
                <a:gd name="T35" fmla="*/ 193 h 1827"/>
                <a:gd name="T36" fmla="*/ 7412 w 7498"/>
                <a:gd name="T37" fmla="*/ 157 h 1827"/>
                <a:gd name="T38" fmla="*/ 7449 w 7498"/>
                <a:gd name="T39" fmla="*/ 124 h 1827"/>
                <a:gd name="T40" fmla="*/ 7474 w 7498"/>
                <a:gd name="T41" fmla="*/ 89 h 1827"/>
                <a:gd name="T42" fmla="*/ 7489 w 7498"/>
                <a:gd name="T43" fmla="*/ 53 h 1827"/>
                <a:gd name="T44" fmla="*/ 7498 w 7498"/>
                <a:gd name="T45" fmla="*/ 0 h 1827"/>
                <a:gd name="T46" fmla="*/ 7498 w 7498"/>
                <a:gd name="T47" fmla="*/ 46 h 1827"/>
                <a:gd name="T48" fmla="*/ 7495 w 7498"/>
                <a:gd name="T49" fmla="*/ 87 h 1827"/>
                <a:gd name="T50" fmla="*/ 7484 w 7498"/>
                <a:gd name="T51" fmla="*/ 126 h 1827"/>
                <a:gd name="T52" fmla="*/ 7459 w 7498"/>
                <a:gd name="T53" fmla="*/ 171 h 1827"/>
                <a:gd name="T54" fmla="*/ 7415 w 7498"/>
                <a:gd name="T55" fmla="*/ 212 h 1827"/>
                <a:gd name="T56" fmla="*/ 7396 w 7498"/>
                <a:gd name="T57" fmla="*/ 223 h 1827"/>
                <a:gd name="T58" fmla="*/ 6846 w 7498"/>
                <a:gd name="T59" fmla="*/ 487 h 1827"/>
                <a:gd name="T60" fmla="*/ 4173 w 7498"/>
                <a:gd name="T61" fmla="*/ 1748 h 1827"/>
                <a:gd name="T62" fmla="*/ 4102 w 7498"/>
                <a:gd name="T63" fmla="*/ 1773 h 1827"/>
                <a:gd name="T64" fmla="*/ 4020 w 7498"/>
                <a:gd name="T65" fmla="*/ 1795 h 1827"/>
                <a:gd name="T66" fmla="*/ 3915 w 7498"/>
                <a:gd name="T67" fmla="*/ 1814 h 1827"/>
                <a:gd name="T68" fmla="*/ 3793 w 7498"/>
                <a:gd name="T69" fmla="*/ 1826 h 1827"/>
                <a:gd name="T70" fmla="*/ 3706 w 7498"/>
                <a:gd name="T71" fmla="*/ 1826 h 1827"/>
                <a:gd name="T72" fmla="*/ 3584 w 7498"/>
                <a:gd name="T73" fmla="*/ 1814 h 1827"/>
                <a:gd name="T74" fmla="*/ 3479 w 7498"/>
                <a:gd name="T75" fmla="*/ 1795 h 1827"/>
                <a:gd name="T76" fmla="*/ 3397 w 7498"/>
                <a:gd name="T77" fmla="*/ 1773 h 1827"/>
                <a:gd name="T78" fmla="*/ 3325 w 7498"/>
                <a:gd name="T79" fmla="*/ 1748 h 1827"/>
                <a:gd name="T80" fmla="*/ 652 w 7498"/>
                <a:gd name="T81" fmla="*/ 487 h 1827"/>
                <a:gd name="T82" fmla="*/ 102 w 7498"/>
                <a:gd name="T83" fmla="*/ 223 h 1827"/>
                <a:gd name="T84" fmla="*/ 84 w 7498"/>
                <a:gd name="T85" fmla="*/ 212 h 1827"/>
                <a:gd name="T86" fmla="*/ 40 w 7498"/>
                <a:gd name="T87" fmla="*/ 171 h 1827"/>
                <a:gd name="T88" fmla="*/ 15 w 7498"/>
                <a:gd name="T89" fmla="*/ 126 h 1827"/>
                <a:gd name="T90" fmla="*/ 3 w 7498"/>
                <a:gd name="T91" fmla="*/ 87 h 1827"/>
                <a:gd name="T92" fmla="*/ 0 w 7498"/>
                <a:gd name="T93" fmla="*/ 46 h 1827"/>
                <a:gd name="T94" fmla="*/ 0 w 7498"/>
                <a:gd name="T95" fmla="*/ 0 h 1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98" h="1827">
                  <a:moveTo>
                    <a:pt x="0" y="0"/>
                  </a:moveTo>
                  <a:lnTo>
                    <a:pt x="0" y="0"/>
                  </a:lnTo>
                  <a:lnTo>
                    <a:pt x="1" y="15"/>
                  </a:lnTo>
                  <a:lnTo>
                    <a:pt x="5" y="33"/>
                  </a:lnTo>
                  <a:lnTo>
                    <a:pt x="10" y="53"/>
                  </a:lnTo>
                  <a:lnTo>
                    <a:pt x="14" y="65"/>
                  </a:lnTo>
                  <a:lnTo>
                    <a:pt x="18" y="77"/>
                  </a:lnTo>
                  <a:lnTo>
                    <a:pt x="24" y="89"/>
                  </a:lnTo>
                  <a:lnTo>
                    <a:pt x="32" y="101"/>
                  </a:lnTo>
                  <a:lnTo>
                    <a:pt x="39" y="113"/>
                  </a:lnTo>
                  <a:lnTo>
                    <a:pt x="49" y="124"/>
                  </a:lnTo>
                  <a:lnTo>
                    <a:pt x="60" y="136"/>
                  </a:lnTo>
                  <a:lnTo>
                    <a:pt x="72" y="147"/>
                  </a:lnTo>
                  <a:lnTo>
                    <a:pt x="87" y="157"/>
                  </a:lnTo>
                  <a:lnTo>
                    <a:pt x="102" y="166"/>
                  </a:lnTo>
                  <a:lnTo>
                    <a:pt x="102" y="166"/>
                  </a:lnTo>
                  <a:lnTo>
                    <a:pt x="156" y="193"/>
                  </a:lnTo>
                  <a:lnTo>
                    <a:pt x="273" y="248"/>
                  </a:lnTo>
                  <a:lnTo>
                    <a:pt x="652" y="430"/>
                  </a:lnTo>
                  <a:lnTo>
                    <a:pt x="1755" y="951"/>
                  </a:lnTo>
                  <a:lnTo>
                    <a:pt x="3325" y="1690"/>
                  </a:lnTo>
                  <a:lnTo>
                    <a:pt x="3325" y="1690"/>
                  </a:lnTo>
                  <a:lnTo>
                    <a:pt x="3333" y="1693"/>
                  </a:lnTo>
                  <a:lnTo>
                    <a:pt x="3358" y="1703"/>
                  </a:lnTo>
                  <a:lnTo>
                    <a:pt x="3397" y="1715"/>
                  </a:lnTo>
                  <a:lnTo>
                    <a:pt x="3422" y="1723"/>
                  </a:lnTo>
                  <a:lnTo>
                    <a:pt x="3449" y="1730"/>
                  </a:lnTo>
                  <a:lnTo>
                    <a:pt x="3479" y="1737"/>
                  </a:lnTo>
                  <a:lnTo>
                    <a:pt x="3511" y="1745"/>
                  </a:lnTo>
                  <a:lnTo>
                    <a:pt x="3547" y="1751"/>
                  </a:lnTo>
                  <a:lnTo>
                    <a:pt x="3584" y="1757"/>
                  </a:lnTo>
                  <a:lnTo>
                    <a:pt x="3622" y="1762"/>
                  </a:lnTo>
                  <a:lnTo>
                    <a:pt x="3663" y="1766"/>
                  </a:lnTo>
                  <a:lnTo>
                    <a:pt x="3706" y="1769"/>
                  </a:lnTo>
                  <a:lnTo>
                    <a:pt x="3749" y="1770"/>
                  </a:lnTo>
                  <a:lnTo>
                    <a:pt x="3749" y="1770"/>
                  </a:lnTo>
                  <a:lnTo>
                    <a:pt x="3793" y="1769"/>
                  </a:lnTo>
                  <a:lnTo>
                    <a:pt x="3836" y="1766"/>
                  </a:lnTo>
                  <a:lnTo>
                    <a:pt x="3876" y="1762"/>
                  </a:lnTo>
                  <a:lnTo>
                    <a:pt x="3915" y="1757"/>
                  </a:lnTo>
                  <a:lnTo>
                    <a:pt x="3952" y="1751"/>
                  </a:lnTo>
                  <a:lnTo>
                    <a:pt x="3987" y="1745"/>
                  </a:lnTo>
                  <a:lnTo>
                    <a:pt x="4020" y="1737"/>
                  </a:lnTo>
                  <a:lnTo>
                    <a:pt x="4050" y="1730"/>
                  </a:lnTo>
                  <a:lnTo>
                    <a:pt x="4077" y="1723"/>
                  </a:lnTo>
                  <a:lnTo>
                    <a:pt x="4102" y="1715"/>
                  </a:lnTo>
                  <a:lnTo>
                    <a:pt x="4140" y="1703"/>
                  </a:lnTo>
                  <a:lnTo>
                    <a:pt x="4165" y="1693"/>
                  </a:lnTo>
                  <a:lnTo>
                    <a:pt x="4173" y="1690"/>
                  </a:lnTo>
                  <a:lnTo>
                    <a:pt x="4173" y="1690"/>
                  </a:lnTo>
                  <a:lnTo>
                    <a:pt x="5743" y="951"/>
                  </a:lnTo>
                  <a:lnTo>
                    <a:pt x="6846" y="430"/>
                  </a:lnTo>
                  <a:lnTo>
                    <a:pt x="7226" y="248"/>
                  </a:lnTo>
                  <a:lnTo>
                    <a:pt x="7342" y="193"/>
                  </a:lnTo>
                  <a:lnTo>
                    <a:pt x="7396" y="166"/>
                  </a:lnTo>
                  <a:lnTo>
                    <a:pt x="7396" y="166"/>
                  </a:lnTo>
                  <a:lnTo>
                    <a:pt x="7412" y="157"/>
                  </a:lnTo>
                  <a:lnTo>
                    <a:pt x="7427" y="146"/>
                  </a:lnTo>
                  <a:lnTo>
                    <a:pt x="7439" y="136"/>
                  </a:lnTo>
                  <a:lnTo>
                    <a:pt x="7449" y="124"/>
                  </a:lnTo>
                  <a:lnTo>
                    <a:pt x="7459" y="113"/>
                  </a:lnTo>
                  <a:lnTo>
                    <a:pt x="7467" y="101"/>
                  </a:lnTo>
                  <a:lnTo>
                    <a:pt x="7474" y="89"/>
                  </a:lnTo>
                  <a:lnTo>
                    <a:pt x="7481" y="77"/>
                  </a:lnTo>
                  <a:lnTo>
                    <a:pt x="7485" y="65"/>
                  </a:lnTo>
                  <a:lnTo>
                    <a:pt x="7489" y="53"/>
                  </a:lnTo>
                  <a:lnTo>
                    <a:pt x="7494" y="33"/>
                  </a:lnTo>
                  <a:lnTo>
                    <a:pt x="7497" y="15"/>
                  </a:lnTo>
                  <a:lnTo>
                    <a:pt x="7498" y="0"/>
                  </a:lnTo>
                  <a:lnTo>
                    <a:pt x="7498" y="0"/>
                  </a:lnTo>
                  <a:lnTo>
                    <a:pt x="7498" y="46"/>
                  </a:lnTo>
                  <a:lnTo>
                    <a:pt x="7498" y="46"/>
                  </a:lnTo>
                  <a:lnTo>
                    <a:pt x="7498" y="51"/>
                  </a:lnTo>
                  <a:lnTo>
                    <a:pt x="7498" y="66"/>
                  </a:lnTo>
                  <a:lnTo>
                    <a:pt x="7495" y="87"/>
                  </a:lnTo>
                  <a:lnTo>
                    <a:pt x="7492" y="99"/>
                  </a:lnTo>
                  <a:lnTo>
                    <a:pt x="7489" y="113"/>
                  </a:lnTo>
                  <a:lnTo>
                    <a:pt x="7484" y="126"/>
                  </a:lnTo>
                  <a:lnTo>
                    <a:pt x="7476" y="141"/>
                  </a:lnTo>
                  <a:lnTo>
                    <a:pt x="7469" y="157"/>
                  </a:lnTo>
                  <a:lnTo>
                    <a:pt x="7459" y="171"/>
                  </a:lnTo>
                  <a:lnTo>
                    <a:pt x="7446" y="185"/>
                  </a:lnTo>
                  <a:lnTo>
                    <a:pt x="7432" y="199"/>
                  </a:lnTo>
                  <a:lnTo>
                    <a:pt x="7415" y="212"/>
                  </a:lnTo>
                  <a:lnTo>
                    <a:pt x="7406" y="218"/>
                  </a:lnTo>
                  <a:lnTo>
                    <a:pt x="7396" y="223"/>
                  </a:lnTo>
                  <a:lnTo>
                    <a:pt x="7396" y="223"/>
                  </a:lnTo>
                  <a:lnTo>
                    <a:pt x="7342" y="250"/>
                  </a:lnTo>
                  <a:lnTo>
                    <a:pt x="7226" y="306"/>
                  </a:lnTo>
                  <a:lnTo>
                    <a:pt x="6846" y="487"/>
                  </a:lnTo>
                  <a:lnTo>
                    <a:pt x="5743" y="1008"/>
                  </a:lnTo>
                  <a:lnTo>
                    <a:pt x="4173" y="1748"/>
                  </a:lnTo>
                  <a:lnTo>
                    <a:pt x="4173" y="1748"/>
                  </a:lnTo>
                  <a:lnTo>
                    <a:pt x="4165" y="1751"/>
                  </a:lnTo>
                  <a:lnTo>
                    <a:pt x="4140" y="1760"/>
                  </a:lnTo>
                  <a:lnTo>
                    <a:pt x="4102" y="1773"/>
                  </a:lnTo>
                  <a:lnTo>
                    <a:pt x="4077" y="1780"/>
                  </a:lnTo>
                  <a:lnTo>
                    <a:pt x="4050" y="1787"/>
                  </a:lnTo>
                  <a:lnTo>
                    <a:pt x="4020" y="1795"/>
                  </a:lnTo>
                  <a:lnTo>
                    <a:pt x="3987" y="1802"/>
                  </a:lnTo>
                  <a:lnTo>
                    <a:pt x="3952" y="1808"/>
                  </a:lnTo>
                  <a:lnTo>
                    <a:pt x="3915" y="1814"/>
                  </a:lnTo>
                  <a:lnTo>
                    <a:pt x="3876" y="1820"/>
                  </a:lnTo>
                  <a:lnTo>
                    <a:pt x="3836" y="1823"/>
                  </a:lnTo>
                  <a:lnTo>
                    <a:pt x="3793" y="1826"/>
                  </a:lnTo>
                  <a:lnTo>
                    <a:pt x="3749" y="1827"/>
                  </a:lnTo>
                  <a:lnTo>
                    <a:pt x="3749" y="1827"/>
                  </a:lnTo>
                  <a:lnTo>
                    <a:pt x="3706" y="1826"/>
                  </a:lnTo>
                  <a:lnTo>
                    <a:pt x="3663" y="1823"/>
                  </a:lnTo>
                  <a:lnTo>
                    <a:pt x="3622" y="1820"/>
                  </a:lnTo>
                  <a:lnTo>
                    <a:pt x="3584" y="1814"/>
                  </a:lnTo>
                  <a:lnTo>
                    <a:pt x="3547" y="1808"/>
                  </a:lnTo>
                  <a:lnTo>
                    <a:pt x="3511" y="1802"/>
                  </a:lnTo>
                  <a:lnTo>
                    <a:pt x="3479" y="1795"/>
                  </a:lnTo>
                  <a:lnTo>
                    <a:pt x="3449" y="1787"/>
                  </a:lnTo>
                  <a:lnTo>
                    <a:pt x="3422" y="1780"/>
                  </a:lnTo>
                  <a:lnTo>
                    <a:pt x="3397" y="1773"/>
                  </a:lnTo>
                  <a:lnTo>
                    <a:pt x="3358" y="1760"/>
                  </a:lnTo>
                  <a:lnTo>
                    <a:pt x="3333" y="1751"/>
                  </a:lnTo>
                  <a:lnTo>
                    <a:pt x="3325" y="1748"/>
                  </a:lnTo>
                  <a:lnTo>
                    <a:pt x="3325" y="1748"/>
                  </a:lnTo>
                  <a:lnTo>
                    <a:pt x="1755" y="1008"/>
                  </a:lnTo>
                  <a:lnTo>
                    <a:pt x="652" y="487"/>
                  </a:lnTo>
                  <a:lnTo>
                    <a:pt x="273" y="306"/>
                  </a:lnTo>
                  <a:lnTo>
                    <a:pt x="156" y="250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93" y="218"/>
                  </a:lnTo>
                  <a:lnTo>
                    <a:pt x="84" y="212"/>
                  </a:lnTo>
                  <a:lnTo>
                    <a:pt x="67" y="199"/>
                  </a:lnTo>
                  <a:lnTo>
                    <a:pt x="52" y="185"/>
                  </a:lnTo>
                  <a:lnTo>
                    <a:pt x="40" y="171"/>
                  </a:lnTo>
                  <a:lnTo>
                    <a:pt x="29" y="157"/>
                  </a:lnTo>
                  <a:lnTo>
                    <a:pt x="21" y="141"/>
                  </a:lnTo>
                  <a:lnTo>
                    <a:pt x="15" y="126"/>
                  </a:lnTo>
                  <a:lnTo>
                    <a:pt x="10" y="113"/>
                  </a:lnTo>
                  <a:lnTo>
                    <a:pt x="7" y="99"/>
                  </a:lnTo>
                  <a:lnTo>
                    <a:pt x="3" y="87"/>
                  </a:lnTo>
                  <a:lnTo>
                    <a:pt x="0" y="66"/>
                  </a:lnTo>
                  <a:lnTo>
                    <a:pt x="0" y="51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388" name="Groupe 231"/>
          <p:cNvGrpSpPr/>
          <p:nvPr/>
        </p:nvGrpSpPr>
        <p:grpSpPr>
          <a:xfrm>
            <a:off x="8505999" y="1966951"/>
            <a:ext cx="422264" cy="305440"/>
            <a:chOff x="6474731" y="2021165"/>
            <a:chExt cx="1381686" cy="1127387"/>
          </a:xfrm>
        </p:grpSpPr>
        <p:sp>
          <p:nvSpPr>
            <p:cNvPr id="389" name="Freeform 45"/>
            <p:cNvSpPr>
              <a:spLocks/>
            </p:cNvSpPr>
            <p:nvPr/>
          </p:nvSpPr>
          <p:spPr bwMode="auto">
            <a:xfrm flipH="1">
              <a:off x="6474731" y="2717720"/>
              <a:ext cx="1381686" cy="430832"/>
            </a:xfrm>
            <a:custGeom>
              <a:avLst/>
              <a:gdLst>
                <a:gd name="T0" fmla="*/ 0 w 7498"/>
                <a:gd name="T1" fmla="*/ 1225 h 3005"/>
                <a:gd name="T2" fmla="*/ 0 w 7498"/>
                <a:gd name="T3" fmla="*/ 945 h 3005"/>
                <a:gd name="T4" fmla="*/ 5 w 7498"/>
                <a:gd name="T5" fmla="*/ 901 h 3005"/>
                <a:gd name="T6" fmla="*/ 15 w 7498"/>
                <a:gd name="T7" fmla="*/ 863 h 3005"/>
                <a:gd name="T8" fmla="*/ 31 w 7498"/>
                <a:gd name="T9" fmla="*/ 831 h 3005"/>
                <a:gd name="T10" fmla="*/ 47 w 7498"/>
                <a:gd name="T11" fmla="*/ 805 h 3005"/>
                <a:gd name="T12" fmla="*/ 65 w 7498"/>
                <a:gd name="T13" fmla="*/ 785 h 3005"/>
                <a:gd name="T14" fmla="*/ 91 w 7498"/>
                <a:gd name="T15" fmla="*/ 762 h 3005"/>
                <a:gd name="T16" fmla="*/ 1669 w 7498"/>
                <a:gd name="T17" fmla="*/ 0 h 3005"/>
                <a:gd name="T18" fmla="*/ 5830 w 7498"/>
                <a:gd name="T19" fmla="*/ 0 h 3005"/>
                <a:gd name="T20" fmla="*/ 7404 w 7498"/>
                <a:gd name="T21" fmla="*/ 760 h 3005"/>
                <a:gd name="T22" fmla="*/ 7419 w 7498"/>
                <a:gd name="T23" fmla="*/ 771 h 3005"/>
                <a:gd name="T24" fmla="*/ 7442 w 7498"/>
                <a:gd name="T25" fmla="*/ 795 h 3005"/>
                <a:gd name="T26" fmla="*/ 7460 w 7498"/>
                <a:gd name="T27" fmla="*/ 818 h 3005"/>
                <a:gd name="T28" fmla="*/ 7476 w 7498"/>
                <a:gd name="T29" fmla="*/ 847 h 3005"/>
                <a:gd name="T30" fmla="*/ 7490 w 7498"/>
                <a:gd name="T31" fmla="*/ 881 h 3005"/>
                <a:gd name="T32" fmla="*/ 7497 w 7498"/>
                <a:gd name="T33" fmla="*/ 922 h 3005"/>
                <a:gd name="T34" fmla="*/ 7498 w 7498"/>
                <a:gd name="T35" fmla="*/ 945 h 3005"/>
                <a:gd name="T36" fmla="*/ 7498 w 7498"/>
                <a:gd name="T37" fmla="*/ 1225 h 3005"/>
                <a:gd name="T38" fmla="*/ 7498 w 7498"/>
                <a:gd name="T39" fmla="*/ 1244 h 3005"/>
                <a:gd name="T40" fmla="*/ 7492 w 7498"/>
                <a:gd name="T41" fmla="*/ 1278 h 3005"/>
                <a:gd name="T42" fmla="*/ 7484 w 7498"/>
                <a:gd name="T43" fmla="*/ 1305 h 3005"/>
                <a:gd name="T44" fmla="*/ 7469 w 7498"/>
                <a:gd name="T45" fmla="*/ 1334 h 3005"/>
                <a:gd name="T46" fmla="*/ 7446 w 7498"/>
                <a:gd name="T47" fmla="*/ 1364 h 3005"/>
                <a:gd name="T48" fmla="*/ 7415 w 7498"/>
                <a:gd name="T49" fmla="*/ 1391 h 3005"/>
                <a:gd name="T50" fmla="*/ 7396 w 7498"/>
                <a:gd name="T51" fmla="*/ 1402 h 3005"/>
                <a:gd name="T52" fmla="*/ 7342 w 7498"/>
                <a:gd name="T53" fmla="*/ 1429 h 3005"/>
                <a:gd name="T54" fmla="*/ 6846 w 7498"/>
                <a:gd name="T55" fmla="*/ 1665 h 3005"/>
                <a:gd name="T56" fmla="*/ 4173 w 7498"/>
                <a:gd name="T57" fmla="*/ 2927 h 3005"/>
                <a:gd name="T58" fmla="*/ 4165 w 7498"/>
                <a:gd name="T59" fmla="*/ 2930 h 3005"/>
                <a:gd name="T60" fmla="*/ 4102 w 7498"/>
                <a:gd name="T61" fmla="*/ 2952 h 3005"/>
                <a:gd name="T62" fmla="*/ 4050 w 7498"/>
                <a:gd name="T63" fmla="*/ 2966 h 3005"/>
                <a:gd name="T64" fmla="*/ 3987 w 7498"/>
                <a:gd name="T65" fmla="*/ 2980 h 3005"/>
                <a:gd name="T66" fmla="*/ 3915 w 7498"/>
                <a:gd name="T67" fmla="*/ 2993 h 3005"/>
                <a:gd name="T68" fmla="*/ 3836 w 7498"/>
                <a:gd name="T69" fmla="*/ 3002 h 3005"/>
                <a:gd name="T70" fmla="*/ 3749 w 7498"/>
                <a:gd name="T71" fmla="*/ 3005 h 3005"/>
                <a:gd name="T72" fmla="*/ 3706 w 7498"/>
                <a:gd name="T73" fmla="*/ 3005 h 3005"/>
                <a:gd name="T74" fmla="*/ 3622 w 7498"/>
                <a:gd name="T75" fmla="*/ 2997 h 3005"/>
                <a:gd name="T76" fmla="*/ 3547 w 7498"/>
                <a:gd name="T77" fmla="*/ 2987 h 3005"/>
                <a:gd name="T78" fmla="*/ 3479 w 7498"/>
                <a:gd name="T79" fmla="*/ 2973 h 3005"/>
                <a:gd name="T80" fmla="*/ 3422 w 7498"/>
                <a:gd name="T81" fmla="*/ 2959 h 3005"/>
                <a:gd name="T82" fmla="*/ 3358 w 7498"/>
                <a:gd name="T83" fmla="*/ 2939 h 3005"/>
                <a:gd name="T84" fmla="*/ 3325 w 7498"/>
                <a:gd name="T85" fmla="*/ 2927 h 3005"/>
                <a:gd name="T86" fmla="*/ 1755 w 7498"/>
                <a:gd name="T87" fmla="*/ 2187 h 3005"/>
                <a:gd name="T88" fmla="*/ 273 w 7498"/>
                <a:gd name="T89" fmla="*/ 1484 h 3005"/>
                <a:gd name="T90" fmla="*/ 102 w 7498"/>
                <a:gd name="T91" fmla="*/ 1402 h 3005"/>
                <a:gd name="T92" fmla="*/ 93 w 7498"/>
                <a:gd name="T93" fmla="*/ 1396 h 3005"/>
                <a:gd name="T94" fmla="*/ 67 w 7498"/>
                <a:gd name="T95" fmla="*/ 1377 h 3005"/>
                <a:gd name="T96" fmla="*/ 40 w 7498"/>
                <a:gd name="T97" fmla="*/ 1349 h 3005"/>
                <a:gd name="T98" fmla="*/ 21 w 7498"/>
                <a:gd name="T99" fmla="*/ 1320 h 3005"/>
                <a:gd name="T100" fmla="*/ 10 w 7498"/>
                <a:gd name="T101" fmla="*/ 1292 h 3005"/>
                <a:gd name="T102" fmla="*/ 3 w 7498"/>
                <a:gd name="T103" fmla="*/ 1266 h 3005"/>
                <a:gd name="T104" fmla="*/ 0 w 7498"/>
                <a:gd name="T105" fmla="*/ 1230 h 3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98" h="3005">
                  <a:moveTo>
                    <a:pt x="0" y="1225"/>
                  </a:moveTo>
                  <a:lnTo>
                    <a:pt x="0" y="1225"/>
                  </a:lnTo>
                  <a:lnTo>
                    <a:pt x="0" y="945"/>
                  </a:lnTo>
                  <a:lnTo>
                    <a:pt x="0" y="945"/>
                  </a:lnTo>
                  <a:lnTo>
                    <a:pt x="1" y="922"/>
                  </a:lnTo>
                  <a:lnTo>
                    <a:pt x="5" y="901"/>
                  </a:lnTo>
                  <a:lnTo>
                    <a:pt x="9" y="881"/>
                  </a:lnTo>
                  <a:lnTo>
                    <a:pt x="15" y="863"/>
                  </a:lnTo>
                  <a:lnTo>
                    <a:pt x="22" y="847"/>
                  </a:lnTo>
                  <a:lnTo>
                    <a:pt x="31" y="831"/>
                  </a:lnTo>
                  <a:lnTo>
                    <a:pt x="39" y="818"/>
                  </a:lnTo>
                  <a:lnTo>
                    <a:pt x="47" y="805"/>
                  </a:lnTo>
                  <a:lnTo>
                    <a:pt x="57" y="795"/>
                  </a:lnTo>
                  <a:lnTo>
                    <a:pt x="65" y="785"/>
                  </a:lnTo>
                  <a:lnTo>
                    <a:pt x="79" y="771"/>
                  </a:lnTo>
                  <a:lnTo>
                    <a:pt x="91" y="762"/>
                  </a:lnTo>
                  <a:lnTo>
                    <a:pt x="95" y="760"/>
                  </a:lnTo>
                  <a:lnTo>
                    <a:pt x="1669" y="0"/>
                  </a:lnTo>
                  <a:lnTo>
                    <a:pt x="3749" y="1280"/>
                  </a:lnTo>
                  <a:lnTo>
                    <a:pt x="5830" y="0"/>
                  </a:lnTo>
                  <a:lnTo>
                    <a:pt x="7404" y="760"/>
                  </a:lnTo>
                  <a:lnTo>
                    <a:pt x="7404" y="760"/>
                  </a:lnTo>
                  <a:lnTo>
                    <a:pt x="7408" y="762"/>
                  </a:lnTo>
                  <a:lnTo>
                    <a:pt x="7419" y="771"/>
                  </a:lnTo>
                  <a:lnTo>
                    <a:pt x="7434" y="785"/>
                  </a:lnTo>
                  <a:lnTo>
                    <a:pt x="7442" y="795"/>
                  </a:lnTo>
                  <a:lnTo>
                    <a:pt x="7451" y="805"/>
                  </a:lnTo>
                  <a:lnTo>
                    <a:pt x="7460" y="818"/>
                  </a:lnTo>
                  <a:lnTo>
                    <a:pt x="7468" y="831"/>
                  </a:lnTo>
                  <a:lnTo>
                    <a:pt x="7476" y="847"/>
                  </a:lnTo>
                  <a:lnTo>
                    <a:pt x="7484" y="863"/>
                  </a:lnTo>
                  <a:lnTo>
                    <a:pt x="7490" y="881"/>
                  </a:lnTo>
                  <a:lnTo>
                    <a:pt x="7494" y="901"/>
                  </a:lnTo>
                  <a:lnTo>
                    <a:pt x="7497" y="922"/>
                  </a:lnTo>
                  <a:lnTo>
                    <a:pt x="7498" y="945"/>
                  </a:lnTo>
                  <a:lnTo>
                    <a:pt x="7498" y="945"/>
                  </a:lnTo>
                  <a:lnTo>
                    <a:pt x="7498" y="1225"/>
                  </a:lnTo>
                  <a:lnTo>
                    <a:pt x="7498" y="1225"/>
                  </a:lnTo>
                  <a:lnTo>
                    <a:pt x="7498" y="1230"/>
                  </a:lnTo>
                  <a:lnTo>
                    <a:pt x="7498" y="1244"/>
                  </a:lnTo>
                  <a:lnTo>
                    <a:pt x="7495" y="1266"/>
                  </a:lnTo>
                  <a:lnTo>
                    <a:pt x="7492" y="1278"/>
                  </a:lnTo>
                  <a:lnTo>
                    <a:pt x="7489" y="1292"/>
                  </a:lnTo>
                  <a:lnTo>
                    <a:pt x="7484" y="1305"/>
                  </a:lnTo>
                  <a:lnTo>
                    <a:pt x="7476" y="1320"/>
                  </a:lnTo>
                  <a:lnTo>
                    <a:pt x="7469" y="1334"/>
                  </a:lnTo>
                  <a:lnTo>
                    <a:pt x="7459" y="1349"/>
                  </a:lnTo>
                  <a:lnTo>
                    <a:pt x="7446" y="1364"/>
                  </a:lnTo>
                  <a:lnTo>
                    <a:pt x="7432" y="1377"/>
                  </a:lnTo>
                  <a:lnTo>
                    <a:pt x="7415" y="1391"/>
                  </a:lnTo>
                  <a:lnTo>
                    <a:pt x="7406" y="1396"/>
                  </a:lnTo>
                  <a:lnTo>
                    <a:pt x="7396" y="1402"/>
                  </a:lnTo>
                  <a:lnTo>
                    <a:pt x="7396" y="1402"/>
                  </a:lnTo>
                  <a:lnTo>
                    <a:pt x="7342" y="1429"/>
                  </a:lnTo>
                  <a:lnTo>
                    <a:pt x="7226" y="1484"/>
                  </a:lnTo>
                  <a:lnTo>
                    <a:pt x="6846" y="1665"/>
                  </a:lnTo>
                  <a:lnTo>
                    <a:pt x="5743" y="2187"/>
                  </a:lnTo>
                  <a:lnTo>
                    <a:pt x="4173" y="2927"/>
                  </a:lnTo>
                  <a:lnTo>
                    <a:pt x="4173" y="2927"/>
                  </a:lnTo>
                  <a:lnTo>
                    <a:pt x="4165" y="2930"/>
                  </a:lnTo>
                  <a:lnTo>
                    <a:pt x="4140" y="2939"/>
                  </a:lnTo>
                  <a:lnTo>
                    <a:pt x="4102" y="2952"/>
                  </a:lnTo>
                  <a:lnTo>
                    <a:pt x="4077" y="2959"/>
                  </a:lnTo>
                  <a:lnTo>
                    <a:pt x="4050" y="2966"/>
                  </a:lnTo>
                  <a:lnTo>
                    <a:pt x="4020" y="2973"/>
                  </a:lnTo>
                  <a:lnTo>
                    <a:pt x="3987" y="2980"/>
                  </a:lnTo>
                  <a:lnTo>
                    <a:pt x="3952" y="2987"/>
                  </a:lnTo>
                  <a:lnTo>
                    <a:pt x="3915" y="2993"/>
                  </a:lnTo>
                  <a:lnTo>
                    <a:pt x="3876" y="2997"/>
                  </a:lnTo>
                  <a:lnTo>
                    <a:pt x="3836" y="3002"/>
                  </a:lnTo>
                  <a:lnTo>
                    <a:pt x="3793" y="3005"/>
                  </a:lnTo>
                  <a:lnTo>
                    <a:pt x="3749" y="3005"/>
                  </a:lnTo>
                  <a:lnTo>
                    <a:pt x="3749" y="3005"/>
                  </a:lnTo>
                  <a:lnTo>
                    <a:pt x="3706" y="3005"/>
                  </a:lnTo>
                  <a:lnTo>
                    <a:pt x="3663" y="3002"/>
                  </a:lnTo>
                  <a:lnTo>
                    <a:pt x="3622" y="2997"/>
                  </a:lnTo>
                  <a:lnTo>
                    <a:pt x="3584" y="2993"/>
                  </a:lnTo>
                  <a:lnTo>
                    <a:pt x="3547" y="2987"/>
                  </a:lnTo>
                  <a:lnTo>
                    <a:pt x="3511" y="2980"/>
                  </a:lnTo>
                  <a:lnTo>
                    <a:pt x="3479" y="2973"/>
                  </a:lnTo>
                  <a:lnTo>
                    <a:pt x="3449" y="2966"/>
                  </a:lnTo>
                  <a:lnTo>
                    <a:pt x="3422" y="2959"/>
                  </a:lnTo>
                  <a:lnTo>
                    <a:pt x="3397" y="2952"/>
                  </a:lnTo>
                  <a:lnTo>
                    <a:pt x="3358" y="2939"/>
                  </a:lnTo>
                  <a:lnTo>
                    <a:pt x="3333" y="2930"/>
                  </a:lnTo>
                  <a:lnTo>
                    <a:pt x="3325" y="2927"/>
                  </a:lnTo>
                  <a:lnTo>
                    <a:pt x="3325" y="2927"/>
                  </a:lnTo>
                  <a:lnTo>
                    <a:pt x="1755" y="2187"/>
                  </a:lnTo>
                  <a:lnTo>
                    <a:pt x="652" y="1665"/>
                  </a:lnTo>
                  <a:lnTo>
                    <a:pt x="273" y="1484"/>
                  </a:lnTo>
                  <a:lnTo>
                    <a:pt x="156" y="1429"/>
                  </a:lnTo>
                  <a:lnTo>
                    <a:pt x="102" y="1402"/>
                  </a:lnTo>
                  <a:lnTo>
                    <a:pt x="102" y="1402"/>
                  </a:lnTo>
                  <a:lnTo>
                    <a:pt x="93" y="1396"/>
                  </a:lnTo>
                  <a:lnTo>
                    <a:pt x="84" y="1391"/>
                  </a:lnTo>
                  <a:lnTo>
                    <a:pt x="67" y="1377"/>
                  </a:lnTo>
                  <a:lnTo>
                    <a:pt x="52" y="1364"/>
                  </a:lnTo>
                  <a:lnTo>
                    <a:pt x="40" y="1349"/>
                  </a:lnTo>
                  <a:lnTo>
                    <a:pt x="29" y="1334"/>
                  </a:lnTo>
                  <a:lnTo>
                    <a:pt x="21" y="1320"/>
                  </a:lnTo>
                  <a:lnTo>
                    <a:pt x="15" y="1305"/>
                  </a:lnTo>
                  <a:lnTo>
                    <a:pt x="10" y="1292"/>
                  </a:lnTo>
                  <a:lnTo>
                    <a:pt x="7" y="1278"/>
                  </a:lnTo>
                  <a:lnTo>
                    <a:pt x="3" y="1266"/>
                  </a:lnTo>
                  <a:lnTo>
                    <a:pt x="0" y="1244"/>
                  </a:lnTo>
                  <a:lnTo>
                    <a:pt x="0" y="1230"/>
                  </a:lnTo>
                  <a:lnTo>
                    <a:pt x="0" y="1225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0" name="Freeform 46"/>
            <p:cNvSpPr>
              <a:spLocks/>
            </p:cNvSpPr>
            <p:nvPr/>
          </p:nvSpPr>
          <p:spPr bwMode="auto">
            <a:xfrm flipH="1">
              <a:off x="6474731" y="2717720"/>
              <a:ext cx="1381686" cy="430832"/>
            </a:xfrm>
            <a:custGeom>
              <a:avLst/>
              <a:gdLst>
                <a:gd name="T0" fmla="*/ 0 w 7498"/>
                <a:gd name="T1" fmla="*/ 1225 h 3005"/>
                <a:gd name="T2" fmla="*/ 0 w 7498"/>
                <a:gd name="T3" fmla="*/ 945 h 3005"/>
                <a:gd name="T4" fmla="*/ 5 w 7498"/>
                <a:gd name="T5" fmla="*/ 901 h 3005"/>
                <a:gd name="T6" fmla="*/ 15 w 7498"/>
                <a:gd name="T7" fmla="*/ 863 h 3005"/>
                <a:gd name="T8" fmla="*/ 31 w 7498"/>
                <a:gd name="T9" fmla="*/ 831 h 3005"/>
                <a:gd name="T10" fmla="*/ 47 w 7498"/>
                <a:gd name="T11" fmla="*/ 805 h 3005"/>
                <a:gd name="T12" fmla="*/ 65 w 7498"/>
                <a:gd name="T13" fmla="*/ 785 h 3005"/>
                <a:gd name="T14" fmla="*/ 91 w 7498"/>
                <a:gd name="T15" fmla="*/ 762 h 3005"/>
                <a:gd name="T16" fmla="*/ 1669 w 7498"/>
                <a:gd name="T17" fmla="*/ 0 h 3005"/>
                <a:gd name="T18" fmla="*/ 5830 w 7498"/>
                <a:gd name="T19" fmla="*/ 0 h 3005"/>
                <a:gd name="T20" fmla="*/ 7404 w 7498"/>
                <a:gd name="T21" fmla="*/ 760 h 3005"/>
                <a:gd name="T22" fmla="*/ 7419 w 7498"/>
                <a:gd name="T23" fmla="*/ 771 h 3005"/>
                <a:gd name="T24" fmla="*/ 7442 w 7498"/>
                <a:gd name="T25" fmla="*/ 795 h 3005"/>
                <a:gd name="T26" fmla="*/ 7460 w 7498"/>
                <a:gd name="T27" fmla="*/ 818 h 3005"/>
                <a:gd name="T28" fmla="*/ 7476 w 7498"/>
                <a:gd name="T29" fmla="*/ 847 h 3005"/>
                <a:gd name="T30" fmla="*/ 7490 w 7498"/>
                <a:gd name="T31" fmla="*/ 881 h 3005"/>
                <a:gd name="T32" fmla="*/ 7497 w 7498"/>
                <a:gd name="T33" fmla="*/ 922 h 3005"/>
                <a:gd name="T34" fmla="*/ 7498 w 7498"/>
                <a:gd name="T35" fmla="*/ 945 h 3005"/>
                <a:gd name="T36" fmla="*/ 7498 w 7498"/>
                <a:gd name="T37" fmla="*/ 1225 h 3005"/>
                <a:gd name="T38" fmla="*/ 7498 w 7498"/>
                <a:gd name="T39" fmla="*/ 1244 h 3005"/>
                <a:gd name="T40" fmla="*/ 7492 w 7498"/>
                <a:gd name="T41" fmla="*/ 1278 h 3005"/>
                <a:gd name="T42" fmla="*/ 7484 w 7498"/>
                <a:gd name="T43" fmla="*/ 1305 h 3005"/>
                <a:gd name="T44" fmla="*/ 7469 w 7498"/>
                <a:gd name="T45" fmla="*/ 1334 h 3005"/>
                <a:gd name="T46" fmla="*/ 7446 w 7498"/>
                <a:gd name="T47" fmla="*/ 1364 h 3005"/>
                <a:gd name="T48" fmla="*/ 7415 w 7498"/>
                <a:gd name="T49" fmla="*/ 1391 h 3005"/>
                <a:gd name="T50" fmla="*/ 7396 w 7498"/>
                <a:gd name="T51" fmla="*/ 1402 h 3005"/>
                <a:gd name="T52" fmla="*/ 7342 w 7498"/>
                <a:gd name="T53" fmla="*/ 1429 h 3005"/>
                <a:gd name="T54" fmla="*/ 6846 w 7498"/>
                <a:gd name="T55" fmla="*/ 1665 h 3005"/>
                <a:gd name="T56" fmla="*/ 4173 w 7498"/>
                <a:gd name="T57" fmla="*/ 2927 h 3005"/>
                <a:gd name="T58" fmla="*/ 4165 w 7498"/>
                <a:gd name="T59" fmla="*/ 2930 h 3005"/>
                <a:gd name="T60" fmla="*/ 4102 w 7498"/>
                <a:gd name="T61" fmla="*/ 2952 h 3005"/>
                <a:gd name="T62" fmla="*/ 4050 w 7498"/>
                <a:gd name="T63" fmla="*/ 2966 h 3005"/>
                <a:gd name="T64" fmla="*/ 3987 w 7498"/>
                <a:gd name="T65" fmla="*/ 2980 h 3005"/>
                <a:gd name="T66" fmla="*/ 3915 w 7498"/>
                <a:gd name="T67" fmla="*/ 2993 h 3005"/>
                <a:gd name="T68" fmla="*/ 3836 w 7498"/>
                <a:gd name="T69" fmla="*/ 3002 h 3005"/>
                <a:gd name="T70" fmla="*/ 3749 w 7498"/>
                <a:gd name="T71" fmla="*/ 3005 h 3005"/>
                <a:gd name="T72" fmla="*/ 3706 w 7498"/>
                <a:gd name="T73" fmla="*/ 3005 h 3005"/>
                <a:gd name="T74" fmla="*/ 3622 w 7498"/>
                <a:gd name="T75" fmla="*/ 2997 h 3005"/>
                <a:gd name="T76" fmla="*/ 3547 w 7498"/>
                <a:gd name="T77" fmla="*/ 2987 h 3005"/>
                <a:gd name="T78" fmla="*/ 3479 w 7498"/>
                <a:gd name="T79" fmla="*/ 2973 h 3005"/>
                <a:gd name="T80" fmla="*/ 3422 w 7498"/>
                <a:gd name="T81" fmla="*/ 2959 h 3005"/>
                <a:gd name="T82" fmla="*/ 3358 w 7498"/>
                <a:gd name="T83" fmla="*/ 2939 h 3005"/>
                <a:gd name="T84" fmla="*/ 3325 w 7498"/>
                <a:gd name="T85" fmla="*/ 2927 h 3005"/>
                <a:gd name="T86" fmla="*/ 1755 w 7498"/>
                <a:gd name="T87" fmla="*/ 2187 h 3005"/>
                <a:gd name="T88" fmla="*/ 273 w 7498"/>
                <a:gd name="T89" fmla="*/ 1484 h 3005"/>
                <a:gd name="T90" fmla="*/ 102 w 7498"/>
                <a:gd name="T91" fmla="*/ 1402 h 3005"/>
                <a:gd name="T92" fmla="*/ 93 w 7498"/>
                <a:gd name="T93" fmla="*/ 1396 h 3005"/>
                <a:gd name="T94" fmla="*/ 67 w 7498"/>
                <a:gd name="T95" fmla="*/ 1377 h 3005"/>
                <a:gd name="T96" fmla="*/ 40 w 7498"/>
                <a:gd name="T97" fmla="*/ 1349 h 3005"/>
                <a:gd name="T98" fmla="*/ 21 w 7498"/>
                <a:gd name="T99" fmla="*/ 1320 h 3005"/>
                <a:gd name="T100" fmla="*/ 10 w 7498"/>
                <a:gd name="T101" fmla="*/ 1292 h 3005"/>
                <a:gd name="T102" fmla="*/ 3 w 7498"/>
                <a:gd name="T103" fmla="*/ 1266 h 3005"/>
                <a:gd name="T104" fmla="*/ 0 w 7498"/>
                <a:gd name="T105" fmla="*/ 1230 h 30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98" h="3005">
                  <a:moveTo>
                    <a:pt x="0" y="1225"/>
                  </a:moveTo>
                  <a:lnTo>
                    <a:pt x="0" y="1225"/>
                  </a:lnTo>
                  <a:lnTo>
                    <a:pt x="0" y="945"/>
                  </a:lnTo>
                  <a:lnTo>
                    <a:pt x="0" y="945"/>
                  </a:lnTo>
                  <a:lnTo>
                    <a:pt x="1" y="922"/>
                  </a:lnTo>
                  <a:lnTo>
                    <a:pt x="5" y="901"/>
                  </a:lnTo>
                  <a:lnTo>
                    <a:pt x="9" y="881"/>
                  </a:lnTo>
                  <a:lnTo>
                    <a:pt x="15" y="863"/>
                  </a:lnTo>
                  <a:lnTo>
                    <a:pt x="22" y="847"/>
                  </a:lnTo>
                  <a:lnTo>
                    <a:pt x="31" y="831"/>
                  </a:lnTo>
                  <a:lnTo>
                    <a:pt x="39" y="818"/>
                  </a:lnTo>
                  <a:lnTo>
                    <a:pt x="47" y="805"/>
                  </a:lnTo>
                  <a:lnTo>
                    <a:pt x="57" y="795"/>
                  </a:lnTo>
                  <a:lnTo>
                    <a:pt x="65" y="785"/>
                  </a:lnTo>
                  <a:lnTo>
                    <a:pt x="79" y="771"/>
                  </a:lnTo>
                  <a:lnTo>
                    <a:pt x="91" y="762"/>
                  </a:lnTo>
                  <a:lnTo>
                    <a:pt x="95" y="760"/>
                  </a:lnTo>
                  <a:lnTo>
                    <a:pt x="1669" y="0"/>
                  </a:lnTo>
                  <a:lnTo>
                    <a:pt x="3749" y="1280"/>
                  </a:lnTo>
                  <a:lnTo>
                    <a:pt x="5830" y="0"/>
                  </a:lnTo>
                  <a:lnTo>
                    <a:pt x="7404" y="760"/>
                  </a:lnTo>
                  <a:lnTo>
                    <a:pt x="7404" y="760"/>
                  </a:lnTo>
                  <a:lnTo>
                    <a:pt x="7408" y="762"/>
                  </a:lnTo>
                  <a:lnTo>
                    <a:pt x="7419" y="771"/>
                  </a:lnTo>
                  <a:lnTo>
                    <a:pt x="7434" y="785"/>
                  </a:lnTo>
                  <a:lnTo>
                    <a:pt x="7442" y="795"/>
                  </a:lnTo>
                  <a:lnTo>
                    <a:pt x="7451" y="805"/>
                  </a:lnTo>
                  <a:lnTo>
                    <a:pt x="7460" y="818"/>
                  </a:lnTo>
                  <a:lnTo>
                    <a:pt x="7468" y="831"/>
                  </a:lnTo>
                  <a:lnTo>
                    <a:pt x="7476" y="847"/>
                  </a:lnTo>
                  <a:lnTo>
                    <a:pt x="7484" y="863"/>
                  </a:lnTo>
                  <a:lnTo>
                    <a:pt x="7490" y="881"/>
                  </a:lnTo>
                  <a:lnTo>
                    <a:pt x="7494" y="901"/>
                  </a:lnTo>
                  <a:lnTo>
                    <a:pt x="7497" y="922"/>
                  </a:lnTo>
                  <a:lnTo>
                    <a:pt x="7498" y="945"/>
                  </a:lnTo>
                  <a:lnTo>
                    <a:pt x="7498" y="945"/>
                  </a:lnTo>
                  <a:lnTo>
                    <a:pt x="7498" y="1225"/>
                  </a:lnTo>
                  <a:lnTo>
                    <a:pt x="7498" y="1225"/>
                  </a:lnTo>
                  <a:lnTo>
                    <a:pt x="7498" y="1230"/>
                  </a:lnTo>
                  <a:lnTo>
                    <a:pt x="7498" y="1244"/>
                  </a:lnTo>
                  <a:lnTo>
                    <a:pt x="7495" y="1266"/>
                  </a:lnTo>
                  <a:lnTo>
                    <a:pt x="7492" y="1278"/>
                  </a:lnTo>
                  <a:lnTo>
                    <a:pt x="7489" y="1292"/>
                  </a:lnTo>
                  <a:lnTo>
                    <a:pt x="7484" y="1305"/>
                  </a:lnTo>
                  <a:lnTo>
                    <a:pt x="7476" y="1320"/>
                  </a:lnTo>
                  <a:lnTo>
                    <a:pt x="7469" y="1334"/>
                  </a:lnTo>
                  <a:lnTo>
                    <a:pt x="7459" y="1349"/>
                  </a:lnTo>
                  <a:lnTo>
                    <a:pt x="7446" y="1364"/>
                  </a:lnTo>
                  <a:lnTo>
                    <a:pt x="7432" y="1377"/>
                  </a:lnTo>
                  <a:lnTo>
                    <a:pt x="7415" y="1391"/>
                  </a:lnTo>
                  <a:lnTo>
                    <a:pt x="7406" y="1396"/>
                  </a:lnTo>
                  <a:lnTo>
                    <a:pt x="7396" y="1402"/>
                  </a:lnTo>
                  <a:lnTo>
                    <a:pt x="7396" y="1402"/>
                  </a:lnTo>
                  <a:lnTo>
                    <a:pt x="7342" y="1429"/>
                  </a:lnTo>
                  <a:lnTo>
                    <a:pt x="7226" y="1484"/>
                  </a:lnTo>
                  <a:lnTo>
                    <a:pt x="6846" y="1665"/>
                  </a:lnTo>
                  <a:lnTo>
                    <a:pt x="5743" y="2187"/>
                  </a:lnTo>
                  <a:lnTo>
                    <a:pt x="4173" y="2927"/>
                  </a:lnTo>
                  <a:lnTo>
                    <a:pt x="4173" y="2927"/>
                  </a:lnTo>
                  <a:lnTo>
                    <a:pt x="4165" y="2930"/>
                  </a:lnTo>
                  <a:lnTo>
                    <a:pt x="4140" y="2939"/>
                  </a:lnTo>
                  <a:lnTo>
                    <a:pt x="4102" y="2952"/>
                  </a:lnTo>
                  <a:lnTo>
                    <a:pt x="4077" y="2959"/>
                  </a:lnTo>
                  <a:lnTo>
                    <a:pt x="4050" y="2966"/>
                  </a:lnTo>
                  <a:lnTo>
                    <a:pt x="4020" y="2973"/>
                  </a:lnTo>
                  <a:lnTo>
                    <a:pt x="3987" y="2980"/>
                  </a:lnTo>
                  <a:lnTo>
                    <a:pt x="3952" y="2987"/>
                  </a:lnTo>
                  <a:lnTo>
                    <a:pt x="3915" y="2993"/>
                  </a:lnTo>
                  <a:lnTo>
                    <a:pt x="3876" y="2997"/>
                  </a:lnTo>
                  <a:lnTo>
                    <a:pt x="3836" y="3002"/>
                  </a:lnTo>
                  <a:lnTo>
                    <a:pt x="3793" y="3005"/>
                  </a:lnTo>
                  <a:lnTo>
                    <a:pt x="3749" y="3005"/>
                  </a:lnTo>
                  <a:lnTo>
                    <a:pt x="3749" y="3005"/>
                  </a:lnTo>
                  <a:lnTo>
                    <a:pt x="3706" y="3005"/>
                  </a:lnTo>
                  <a:lnTo>
                    <a:pt x="3663" y="3002"/>
                  </a:lnTo>
                  <a:lnTo>
                    <a:pt x="3622" y="2997"/>
                  </a:lnTo>
                  <a:lnTo>
                    <a:pt x="3584" y="2993"/>
                  </a:lnTo>
                  <a:lnTo>
                    <a:pt x="3547" y="2987"/>
                  </a:lnTo>
                  <a:lnTo>
                    <a:pt x="3511" y="2980"/>
                  </a:lnTo>
                  <a:lnTo>
                    <a:pt x="3479" y="2973"/>
                  </a:lnTo>
                  <a:lnTo>
                    <a:pt x="3449" y="2966"/>
                  </a:lnTo>
                  <a:lnTo>
                    <a:pt x="3422" y="2959"/>
                  </a:lnTo>
                  <a:lnTo>
                    <a:pt x="3397" y="2952"/>
                  </a:lnTo>
                  <a:lnTo>
                    <a:pt x="3358" y="2939"/>
                  </a:lnTo>
                  <a:lnTo>
                    <a:pt x="3333" y="2930"/>
                  </a:lnTo>
                  <a:lnTo>
                    <a:pt x="3325" y="2927"/>
                  </a:lnTo>
                  <a:lnTo>
                    <a:pt x="3325" y="2927"/>
                  </a:lnTo>
                  <a:lnTo>
                    <a:pt x="1755" y="2187"/>
                  </a:lnTo>
                  <a:lnTo>
                    <a:pt x="652" y="1665"/>
                  </a:lnTo>
                  <a:lnTo>
                    <a:pt x="273" y="1484"/>
                  </a:lnTo>
                  <a:lnTo>
                    <a:pt x="156" y="1429"/>
                  </a:lnTo>
                  <a:lnTo>
                    <a:pt x="102" y="1402"/>
                  </a:lnTo>
                  <a:lnTo>
                    <a:pt x="102" y="1402"/>
                  </a:lnTo>
                  <a:lnTo>
                    <a:pt x="93" y="1396"/>
                  </a:lnTo>
                  <a:lnTo>
                    <a:pt x="84" y="1391"/>
                  </a:lnTo>
                  <a:lnTo>
                    <a:pt x="67" y="1377"/>
                  </a:lnTo>
                  <a:lnTo>
                    <a:pt x="52" y="1364"/>
                  </a:lnTo>
                  <a:lnTo>
                    <a:pt x="40" y="1349"/>
                  </a:lnTo>
                  <a:lnTo>
                    <a:pt x="29" y="1334"/>
                  </a:lnTo>
                  <a:lnTo>
                    <a:pt x="21" y="1320"/>
                  </a:lnTo>
                  <a:lnTo>
                    <a:pt x="15" y="1305"/>
                  </a:lnTo>
                  <a:lnTo>
                    <a:pt x="10" y="1292"/>
                  </a:lnTo>
                  <a:lnTo>
                    <a:pt x="7" y="1278"/>
                  </a:lnTo>
                  <a:lnTo>
                    <a:pt x="3" y="1266"/>
                  </a:lnTo>
                  <a:lnTo>
                    <a:pt x="0" y="1244"/>
                  </a:lnTo>
                  <a:lnTo>
                    <a:pt x="0" y="1230"/>
                  </a:lnTo>
                  <a:lnTo>
                    <a:pt x="0" y="12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1" name="Freeform 47"/>
            <p:cNvSpPr>
              <a:spLocks/>
            </p:cNvSpPr>
            <p:nvPr/>
          </p:nvSpPr>
          <p:spPr bwMode="auto">
            <a:xfrm flipH="1">
              <a:off x="6793383" y="2884120"/>
              <a:ext cx="123849" cy="41277"/>
            </a:xfrm>
            <a:custGeom>
              <a:avLst/>
              <a:gdLst>
                <a:gd name="T0" fmla="*/ 0 w 674"/>
                <a:gd name="T1" fmla="*/ 292 h 292"/>
                <a:gd name="T2" fmla="*/ 0 w 674"/>
                <a:gd name="T3" fmla="*/ 292 h 292"/>
                <a:gd name="T4" fmla="*/ 79 w 674"/>
                <a:gd name="T5" fmla="*/ 266 h 292"/>
                <a:gd name="T6" fmla="*/ 160 w 674"/>
                <a:gd name="T7" fmla="*/ 238 h 292"/>
                <a:gd name="T8" fmla="*/ 243 w 674"/>
                <a:gd name="T9" fmla="*/ 207 h 292"/>
                <a:gd name="T10" fmla="*/ 284 w 674"/>
                <a:gd name="T11" fmla="*/ 190 h 292"/>
                <a:gd name="T12" fmla="*/ 327 w 674"/>
                <a:gd name="T13" fmla="*/ 172 h 292"/>
                <a:gd name="T14" fmla="*/ 371 w 674"/>
                <a:gd name="T15" fmla="*/ 155 h 292"/>
                <a:gd name="T16" fmla="*/ 413 w 674"/>
                <a:gd name="T17" fmla="*/ 135 h 292"/>
                <a:gd name="T18" fmla="*/ 457 w 674"/>
                <a:gd name="T19" fmla="*/ 115 h 292"/>
                <a:gd name="T20" fmla="*/ 501 w 674"/>
                <a:gd name="T21" fmla="*/ 93 h 292"/>
                <a:gd name="T22" fmla="*/ 544 w 674"/>
                <a:gd name="T23" fmla="*/ 71 h 292"/>
                <a:gd name="T24" fmla="*/ 588 w 674"/>
                <a:gd name="T25" fmla="*/ 48 h 292"/>
                <a:gd name="T26" fmla="*/ 632 w 674"/>
                <a:gd name="T27" fmla="*/ 25 h 292"/>
                <a:gd name="T28" fmla="*/ 674 w 674"/>
                <a:gd name="T29" fmla="*/ 0 h 292"/>
                <a:gd name="T30" fmla="*/ 674 w 674"/>
                <a:gd name="T31" fmla="*/ 0 h 292"/>
                <a:gd name="T32" fmla="*/ 642 w 674"/>
                <a:gd name="T33" fmla="*/ 22 h 292"/>
                <a:gd name="T34" fmla="*/ 608 w 674"/>
                <a:gd name="T35" fmla="*/ 43 h 292"/>
                <a:gd name="T36" fmla="*/ 572 w 674"/>
                <a:gd name="T37" fmla="*/ 64 h 292"/>
                <a:gd name="T38" fmla="*/ 535 w 674"/>
                <a:gd name="T39" fmla="*/ 84 h 292"/>
                <a:gd name="T40" fmla="*/ 497 w 674"/>
                <a:gd name="T41" fmla="*/ 104 h 292"/>
                <a:gd name="T42" fmla="*/ 457 w 674"/>
                <a:gd name="T43" fmla="*/ 122 h 292"/>
                <a:gd name="T44" fmla="*/ 415 w 674"/>
                <a:gd name="T45" fmla="*/ 141 h 292"/>
                <a:gd name="T46" fmla="*/ 373 w 674"/>
                <a:gd name="T47" fmla="*/ 160 h 292"/>
                <a:gd name="T48" fmla="*/ 330 w 674"/>
                <a:gd name="T49" fmla="*/ 178 h 292"/>
                <a:gd name="T50" fmla="*/ 285 w 674"/>
                <a:gd name="T51" fmla="*/ 194 h 292"/>
                <a:gd name="T52" fmla="*/ 240 w 674"/>
                <a:gd name="T53" fmla="*/ 211 h 292"/>
                <a:gd name="T54" fmla="*/ 194 w 674"/>
                <a:gd name="T55" fmla="*/ 228 h 292"/>
                <a:gd name="T56" fmla="*/ 98 w 674"/>
                <a:gd name="T57" fmla="*/ 261 h 292"/>
                <a:gd name="T58" fmla="*/ 0 w 674"/>
                <a:gd name="T59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74" h="292">
                  <a:moveTo>
                    <a:pt x="0" y="292"/>
                  </a:moveTo>
                  <a:lnTo>
                    <a:pt x="0" y="292"/>
                  </a:lnTo>
                  <a:lnTo>
                    <a:pt x="79" y="266"/>
                  </a:lnTo>
                  <a:lnTo>
                    <a:pt x="160" y="238"/>
                  </a:lnTo>
                  <a:lnTo>
                    <a:pt x="243" y="207"/>
                  </a:lnTo>
                  <a:lnTo>
                    <a:pt x="284" y="190"/>
                  </a:lnTo>
                  <a:lnTo>
                    <a:pt x="327" y="172"/>
                  </a:lnTo>
                  <a:lnTo>
                    <a:pt x="371" y="155"/>
                  </a:lnTo>
                  <a:lnTo>
                    <a:pt x="413" y="135"/>
                  </a:lnTo>
                  <a:lnTo>
                    <a:pt x="457" y="115"/>
                  </a:lnTo>
                  <a:lnTo>
                    <a:pt x="501" y="93"/>
                  </a:lnTo>
                  <a:lnTo>
                    <a:pt x="544" y="71"/>
                  </a:lnTo>
                  <a:lnTo>
                    <a:pt x="588" y="48"/>
                  </a:lnTo>
                  <a:lnTo>
                    <a:pt x="632" y="25"/>
                  </a:lnTo>
                  <a:lnTo>
                    <a:pt x="674" y="0"/>
                  </a:lnTo>
                  <a:lnTo>
                    <a:pt x="674" y="0"/>
                  </a:lnTo>
                  <a:lnTo>
                    <a:pt x="642" y="22"/>
                  </a:lnTo>
                  <a:lnTo>
                    <a:pt x="608" y="43"/>
                  </a:lnTo>
                  <a:lnTo>
                    <a:pt x="572" y="64"/>
                  </a:lnTo>
                  <a:lnTo>
                    <a:pt x="535" y="84"/>
                  </a:lnTo>
                  <a:lnTo>
                    <a:pt x="497" y="104"/>
                  </a:lnTo>
                  <a:lnTo>
                    <a:pt x="457" y="122"/>
                  </a:lnTo>
                  <a:lnTo>
                    <a:pt x="415" y="141"/>
                  </a:lnTo>
                  <a:lnTo>
                    <a:pt x="373" y="160"/>
                  </a:lnTo>
                  <a:lnTo>
                    <a:pt x="330" y="178"/>
                  </a:lnTo>
                  <a:lnTo>
                    <a:pt x="285" y="194"/>
                  </a:lnTo>
                  <a:lnTo>
                    <a:pt x="240" y="211"/>
                  </a:lnTo>
                  <a:lnTo>
                    <a:pt x="194" y="228"/>
                  </a:lnTo>
                  <a:lnTo>
                    <a:pt x="98" y="261"/>
                  </a:lnTo>
                  <a:lnTo>
                    <a:pt x="0" y="29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2" name="Freeform 48"/>
            <p:cNvSpPr>
              <a:spLocks/>
            </p:cNvSpPr>
            <p:nvPr/>
          </p:nvSpPr>
          <p:spPr bwMode="auto">
            <a:xfrm flipH="1">
              <a:off x="6793383" y="2884120"/>
              <a:ext cx="123849" cy="41277"/>
            </a:xfrm>
            <a:custGeom>
              <a:avLst/>
              <a:gdLst>
                <a:gd name="T0" fmla="*/ 0 w 674"/>
                <a:gd name="T1" fmla="*/ 292 h 292"/>
                <a:gd name="T2" fmla="*/ 0 w 674"/>
                <a:gd name="T3" fmla="*/ 292 h 292"/>
                <a:gd name="T4" fmla="*/ 79 w 674"/>
                <a:gd name="T5" fmla="*/ 266 h 292"/>
                <a:gd name="T6" fmla="*/ 160 w 674"/>
                <a:gd name="T7" fmla="*/ 238 h 292"/>
                <a:gd name="T8" fmla="*/ 243 w 674"/>
                <a:gd name="T9" fmla="*/ 207 h 292"/>
                <a:gd name="T10" fmla="*/ 284 w 674"/>
                <a:gd name="T11" fmla="*/ 190 h 292"/>
                <a:gd name="T12" fmla="*/ 327 w 674"/>
                <a:gd name="T13" fmla="*/ 172 h 292"/>
                <a:gd name="T14" fmla="*/ 371 w 674"/>
                <a:gd name="T15" fmla="*/ 155 h 292"/>
                <a:gd name="T16" fmla="*/ 413 w 674"/>
                <a:gd name="T17" fmla="*/ 135 h 292"/>
                <a:gd name="T18" fmla="*/ 457 w 674"/>
                <a:gd name="T19" fmla="*/ 115 h 292"/>
                <a:gd name="T20" fmla="*/ 501 w 674"/>
                <a:gd name="T21" fmla="*/ 93 h 292"/>
                <a:gd name="T22" fmla="*/ 544 w 674"/>
                <a:gd name="T23" fmla="*/ 71 h 292"/>
                <a:gd name="T24" fmla="*/ 588 w 674"/>
                <a:gd name="T25" fmla="*/ 48 h 292"/>
                <a:gd name="T26" fmla="*/ 632 w 674"/>
                <a:gd name="T27" fmla="*/ 25 h 292"/>
                <a:gd name="T28" fmla="*/ 674 w 674"/>
                <a:gd name="T29" fmla="*/ 0 h 292"/>
                <a:gd name="T30" fmla="*/ 674 w 674"/>
                <a:gd name="T31" fmla="*/ 0 h 292"/>
                <a:gd name="T32" fmla="*/ 642 w 674"/>
                <a:gd name="T33" fmla="*/ 22 h 292"/>
                <a:gd name="T34" fmla="*/ 608 w 674"/>
                <a:gd name="T35" fmla="*/ 43 h 292"/>
                <a:gd name="T36" fmla="*/ 572 w 674"/>
                <a:gd name="T37" fmla="*/ 64 h 292"/>
                <a:gd name="T38" fmla="*/ 535 w 674"/>
                <a:gd name="T39" fmla="*/ 84 h 292"/>
                <a:gd name="T40" fmla="*/ 497 w 674"/>
                <a:gd name="T41" fmla="*/ 104 h 292"/>
                <a:gd name="T42" fmla="*/ 457 w 674"/>
                <a:gd name="T43" fmla="*/ 122 h 292"/>
                <a:gd name="T44" fmla="*/ 415 w 674"/>
                <a:gd name="T45" fmla="*/ 141 h 292"/>
                <a:gd name="T46" fmla="*/ 373 w 674"/>
                <a:gd name="T47" fmla="*/ 160 h 292"/>
                <a:gd name="T48" fmla="*/ 330 w 674"/>
                <a:gd name="T49" fmla="*/ 178 h 292"/>
                <a:gd name="T50" fmla="*/ 285 w 674"/>
                <a:gd name="T51" fmla="*/ 194 h 292"/>
                <a:gd name="T52" fmla="*/ 240 w 674"/>
                <a:gd name="T53" fmla="*/ 211 h 292"/>
                <a:gd name="T54" fmla="*/ 194 w 674"/>
                <a:gd name="T55" fmla="*/ 228 h 292"/>
                <a:gd name="T56" fmla="*/ 98 w 674"/>
                <a:gd name="T57" fmla="*/ 261 h 292"/>
                <a:gd name="T58" fmla="*/ 0 w 674"/>
                <a:gd name="T59" fmla="*/ 2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74" h="292">
                  <a:moveTo>
                    <a:pt x="0" y="292"/>
                  </a:moveTo>
                  <a:lnTo>
                    <a:pt x="0" y="292"/>
                  </a:lnTo>
                  <a:lnTo>
                    <a:pt x="79" y="266"/>
                  </a:lnTo>
                  <a:lnTo>
                    <a:pt x="160" y="238"/>
                  </a:lnTo>
                  <a:lnTo>
                    <a:pt x="243" y="207"/>
                  </a:lnTo>
                  <a:lnTo>
                    <a:pt x="284" y="190"/>
                  </a:lnTo>
                  <a:lnTo>
                    <a:pt x="327" y="172"/>
                  </a:lnTo>
                  <a:lnTo>
                    <a:pt x="371" y="155"/>
                  </a:lnTo>
                  <a:lnTo>
                    <a:pt x="413" y="135"/>
                  </a:lnTo>
                  <a:lnTo>
                    <a:pt x="457" y="115"/>
                  </a:lnTo>
                  <a:lnTo>
                    <a:pt x="501" y="93"/>
                  </a:lnTo>
                  <a:lnTo>
                    <a:pt x="544" y="71"/>
                  </a:lnTo>
                  <a:lnTo>
                    <a:pt x="588" y="48"/>
                  </a:lnTo>
                  <a:lnTo>
                    <a:pt x="632" y="25"/>
                  </a:lnTo>
                  <a:lnTo>
                    <a:pt x="674" y="0"/>
                  </a:lnTo>
                  <a:lnTo>
                    <a:pt x="674" y="0"/>
                  </a:lnTo>
                  <a:lnTo>
                    <a:pt x="642" y="22"/>
                  </a:lnTo>
                  <a:lnTo>
                    <a:pt x="608" y="43"/>
                  </a:lnTo>
                  <a:lnTo>
                    <a:pt x="572" y="64"/>
                  </a:lnTo>
                  <a:lnTo>
                    <a:pt x="535" y="84"/>
                  </a:lnTo>
                  <a:lnTo>
                    <a:pt x="497" y="104"/>
                  </a:lnTo>
                  <a:lnTo>
                    <a:pt x="457" y="122"/>
                  </a:lnTo>
                  <a:lnTo>
                    <a:pt x="415" y="141"/>
                  </a:lnTo>
                  <a:lnTo>
                    <a:pt x="373" y="160"/>
                  </a:lnTo>
                  <a:lnTo>
                    <a:pt x="330" y="178"/>
                  </a:lnTo>
                  <a:lnTo>
                    <a:pt x="285" y="194"/>
                  </a:lnTo>
                  <a:lnTo>
                    <a:pt x="240" y="211"/>
                  </a:lnTo>
                  <a:lnTo>
                    <a:pt x="194" y="228"/>
                  </a:lnTo>
                  <a:lnTo>
                    <a:pt x="98" y="261"/>
                  </a:lnTo>
                  <a:lnTo>
                    <a:pt x="0" y="29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3" name="Freeform 49"/>
            <p:cNvSpPr>
              <a:spLocks/>
            </p:cNvSpPr>
            <p:nvPr/>
          </p:nvSpPr>
          <p:spPr bwMode="auto">
            <a:xfrm flipH="1">
              <a:off x="6918521" y="2925397"/>
              <a:ext cx="2580" cy="1290"/>
            </a:xfrm>
            <a:custGeom>
              <a:avLst/>
              <a:gdLst>
                <a:gd name="T0" fmla="*/ 8 w 17"/>
                <a:gd name="T1" fmla="*/ 2 h 5"/>
                <a:gd name="T2" fmla="*/ 8 w 17"/>
                <a:gd name="T3" fmla="*/ 2 h 5"/>
                <a:gd name="T4" fmla="*/ 0 w 17"/>
                <a:gd name="T5" fmla="*/ 5 h 5"/>
                <a:gd name="T6" fmla="*/ 0 w 17"/>
                <a:gd name="T7" fmla="*/ 5 h 5"/>
                <a:gd name="T8" fmla="*/ 17 w 17"/>
                <a:gd name="T9" fmla="*/ 0 h 5"/>
                <a:gd name="T10" fmla="*/ 17 w 17"/>
                <a:gd name="T11" fmla="*/ 0 h 5"/>
                <a:gd name="T12" fmla="*/ 8 w 17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8" y="2"/>
                  </a:moveTo>
                  <a:lnTo>
                    <a:pt x="8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4" name="Freeform 50"/>
            <p:cNvSpPr>
              <a:spLocks/>
            </p:cNvSpPr>
            <p:nvPr/>
          </p:nvSpPr>
          <p:spPr bwMode="auto">
            <a:xfrm flipH="1">
              <a:off x="6918521" y="2925397"/>
              <a:ext cx="2580" cy="1290"/>
            </a:xfrm>
            <a:custGeom>
              <a:avLst/>
              <a:gdLst>
                <a:gd name="T0" fmla="*/ 8 w 17"/>
                <a:gd name="T1" fmla="*/ 2 h 5"/>
                <a:gd name="T2" fmla="*/ 8 w 17"/>
                <a:gd name="T3" fmla="*/ 2 h 5"/>
                <a:gd name="T4" fmla="*/ 0 w 17"/>
                <a:gd name="T5" fmla="*/ 5 h 5"/>
                <a:gd name="T6" fmla="*/ 0 w 17"/>
                <a:gd name="T7" fmla="*/ 5 h 5"/>
                <a:gd name="T8" fmla="*/ 17 w 17"/>
                <a:gd name="T9" fmla="*/ 0 h 5"/>
                <a:gd name="T10" fmla="*/ 17 w 17"/>
                <a:gd name="T11" fmla="*/ 0 h 5"/>
                <a:gd name="T12" fmla="*/ 8 w 17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5">
                  <a:moveTo>
                    <a:pt x="8" y="2"/>
                  </a:moveTo>
                  <a:lnTo>
                    <a:pt x="8" y="2"/>
                  </a:lnTo>
                  <a:lnTo>
                    <a:pt x="0" y="5"/>
                  </a:lnTo>
                  <a:lnTo>
                    <a:pt x="0" y="5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8" y="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5" name="Freeform 51"/>
            <p:cNvSpPr>
              <a:spLocks/>
            </p:cNvSpPr>
            <p:nvPr/>
          </p:nvSpPr>
          <p:spPr bwMode="auto">
            <a:xfrm flipH="1">
              <a:off x="7490032" y="2886700"/>
              <a:ext cx="43863" cy="16769"/>
            </a:xfrm>
            <a:custGeom>
              <a:avLst/>
              <a:gdLst>
                <a:gd name="T0" fmla="*/ 0 w 234"/>
                <a:gd name="T1" fmla="*/ 0 h 124"/>
                <a:gd name="T2" fmla="*/ 0 w 234"/>
                <a:gd name="T3" fmla="*/ 0 h 124"/>
                <a:gd name="T4" fmla="*/ 23 w 234"/>
                <a:gd name="T5" fmla="*/ 13 h 124"/>
                <a:gd name="T6" fmla="*/ 75 w 234"/>
                <a:gd name="T7" fmla="*/ 43 h 124"/>
                <a:gd name="T8" fmla="*/ 110 w 234"/>
                <a:gd name="T9" fmla="*/ 62 h 124"/>
                <a:gd name="T10" fmla="*/ 149 w 234"/>
                <a:gd name="T11" fmla="*/ 82 h 124"/>
                <a:gd name="T12" fmla="*/ 190 w 234"/>
                <a:gd name="T13" fmla="*/ 103 h 124"/>
                <a:gd name="T14" fmla="*/ 234 w 234"/>
                <a:gd name="T15" fmla="*/ 124 h 124"/>
                <a:gd name="T16" fmla="*/ 234 w 234"/>
                <a:gd name="T17" fmla="*/ 124 h 124"/>
                <a:gd name="T18" fmla="*/ 171 w 234"/>
                <a:gd name="T19" fmla="*/ 95 h 124"/>
                <a:gd name="T20" fmla="*/ 141 w 234"/>
                <a:gd name="T21" fmla="*/ 79 h 124"/>
                <a:gd name="T22" fmla="*/ 110 w 234"/>
                <a:gd name="T23" fmla="*/ 65 h 124"/>
                <a:gd name="T24" fmla="*/ 82 w 234"/>
                <a:gd name="T25" fmla="*/ 49 h 124"/>
                <a:gd name="T26" fmla="*/ 54 w 234"/>
                <a:gd name="T27" fmla="*/ 32 h 124"/>
                <a:gd name="T28" fmla="*/ 27 w 234"/>
                <a:gd name="T29" fmla="*/ 17 h 124"/>
                <a:gd name="T30" fmla="*/ 0 w 234"/>
                <a:gd name="T31" fmla="*/ 0 h 124"/>
                <a:gd name="T32" fmla="*/ 0 w 234"/>
                <a:gd name="T33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4" h="124">
                  <a:moveTo>
                    <a:pt x="0" y="0"/>
                  </a:moveTo>
                  <a:lnTo>
                    <a:pt x="0" y="0"/>
                  </a:lnTo>
                  <a:lnTo>
                    <a:pt x="23" y="13"/>
                  </a:lnTo>
                  <a:lnTo>
                    <a:pt x="75" y="43"/>
                  </a:lnTo>
                  <a:lnTo>
                    <a:pt x="110" y="62"/>
                  </a:lnTo>
                  <a:lnTo>
                    <a:pt x="149" y="82"/>
                  </a:lnTo>
                  <a:lnTo>
                    <a:pt x="190" y="103"/>
                  </a:lnTo>
                  <a:lnTo>
                    <a:pt x="234" y="124"/>
                  </a:lnTo>
                  <a:lnTo>
                    <a:pt x="234" y="124"/>
                  </a:lnTo>
                  <a:lnTo>
                    <a:pt x="171" y="95"/>
                  </a:lnTo>
                  <a:lnTo>
                    <a:pt x="141" y="79"/>
                  </a:lnTo>
                  <a:lnTo>
                    <a:pt x="110" y="65"/>
                  </a:lnTo>
                  <a:lnTo>
                    <a:pt x="82" y="49"/>
                  </a:lnTo>
                  <a:lnTo>
                    <a:pt x="54" y="32"/>
                  </a:lnTo>
                  <a:lnTo>
                    <a:pt x="27" y="17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6" name="Freeform 52"/>
            <p:cNvSpPr>
              <a:spLocks/>
            </p:cNvSpPr>
            <p:nvPr/>
          </p:nvSpPr>
          <p:spPr bwMode="auto">
            <a:xfrm flipH="1">
              <a:off x="6923682" y="2926687"/>
              <a:ext cx="2580" cy="1290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11 w 11"/>
                <a:gd name="T5" fmla="*/ 0 h 3"/>
                <a:gd name="T6" fmla="*/ 11 w 11"/>
                <a:gd name="T7" fmla="*/ 0 h 3"/>
                <a:gd name="T8" fmla="*/ 0 w 1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7" name="Freeform 53"/>
            <p:cNvSpPr>
              <a:spLocks/>
            </p:cNvSpPr>
            <p:nvPr/>
          </p:nvSpPr>
          <p:spPr bwMode="auto">
            <a:xfrm flipH="1">
              <a:off x="6923682" y="2926687"/>
              <a:ext cx="2580" cy="1290"/>
            </a:xfrm>
            <a:custGeom>
              <a:avLst/>
              <a:gdLst>
                <a:gd name="T0" fmla="*/ 0 w 11"/>
                <a:gd name="T1" fmla="*/ 3 h 3"/>
                <a:gd name="T2" fmla="*/ 0 w 11"/>
                <a:gd name="T3" fmla="*/ 3 h 3"/>
                <a:gd name="T4" fmla="*/ 11 w 11"/>
                <a:gd name="T5" fmla="*/ 0 h 3"/>
                <a:gd name="T6" fmla="*/ 11 w 11"/>
                <a:gd name="T7" fmla="*/ 0 h 3"/>
                <a:gd name="T8" fmla="*/ 0 w 11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3">
                  <a:moveTo>
                    <a:pt x="0" y="3"/>
                  </a:moveTo>
                  <a:lnTo>
                    <a:pt x="0" y="3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0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8" name="Freeform 54"/>
            <p:cNvSpPr>
              <a:spLocks noEditPoints="1"/>
            </p:cNvSpPr>
            <p:nvPr/>
          </p:nvSpPr>
          <p:spPr bwMode="auto">
            <a:xfrm flipH="1">
              <a:off x="6743069" y="2691922"/>
              <a:ext cx="845009" cy="259274"/>
            </a:xfrm>
            <a:custGeom>
              <a:avLst/>
              <a:gdLst>
                <a:gd name="T0" fmla="*/ 614 w 4587"/>
                <a:gd name="T1" fmla="*/ 1511 h 1809"/>
                <a:gd name="T2" fmla="*/ 870 w 4587"/>
                <a:gd name="T3" fmla="*/ 1603 h 1809"/>
                <a:gd name="T4" fmla="*/ 1021 w 4587"/>
                <a:gd name="T5" fmla="*/ 1649 h 1809"/>
                <a:gd name="T6" fmla="*/ 1201 w 4587"/>
                <a:gd name="T7" fmla="*/ 1695 h 1809"/>
                <a:gd name="T8" fmla="*/ 1378 w 4587"/>
                <a:gd name="T9" fmla="*/ 1731 h 1809"/>
                <a:gd name="T10" fmla="*/ 1552 w 4587"/>
                <a:gd name="T11" fmla="*/ 1759 h 1809"/>
                <a:gd name="T12" fmla="*/ 1766 w 4587"/>
                <a:gd name="T13" fmla="*/ 1784 h 1809"/>
                <a:gd name="T14" fmla="*/ 2040 w 4587"/>
                <a:gd name="T15" fmla="*/ 1804 h 1809"/>
                <a:gd name="T16" fmla="*/ 2262 w 4587"/>
                <a:gd name="T17" fmla="*/ 1809 h 1809"/>
                <a:gd name="T18" fmla="*/ 2352 w 4587"/>
                <a:gd name="T19" fmla="*/ 1809 h 1809"/>
                <a:gd name="T20" fmla="*/ 2620 w 4587"/>
                <a:gd name="T21" fmla="*/ 1800 h 1809"/>
                <a:gd name="T22" fmla="*/ 2814 w 4587"/>
                <a:gd name="T23" fmla="*/ 1786 h 1809"/>
                <a:gd name="T24" fmla="*/ 3036 w 4587"/>
                <a:gd name="T25" fmla="*/ 1758 h 1809"/>
                <a:gd name="T26" fmla="*/ 2941 w 4587"/>
                <a:gd name="T27" fmla="*/ 795 h 1809"/>
                <a:gd name="T28" fmla="*/ 2706 w 4587"/>
                <a:gd name="T29" fmla="*/ 822 h 1809"/>
                <a:gd name="T30" fmla="*/ 2462 w 4587"/>
                <a:gd name="T31" fmla="*/ 837 h 1809"/>
                <a:gd name="T32" fmla="*/ 2293 w 4587"/>
                <a:gd name="T33" fmla="*/ 840 h 1809"/>
                <a:gd name="T34" fmla="*/ 1981 w 4587"/>
                <a:gd name="T35" fmla="*/ 830 h 1809"/>
                <a:gd name="T36" fmla="*/ 1684 w 4587"/>
                <a:gd name="T37" fmla="*/ 800 h 1809"/>
                <a:gd name="T38" fmla="*/ 1405 w 4587"/>
                <a:gd name="T39" fmla="*/ 752 h 1809"/>
                <a:gd name="T40" fmla="*/ 1149 w 4587"/>
                <a:gd name="T41" fmla="*/ 687 h 1809"/>
                <a:gd name="T42" fmla="*/ 955 w 4587"/>
                <a:gd name="T43" fmla="*/ 623 h 1809"/>
                <a:gd name="T44" fmla="*/ 848 w 4587"/>
                <a:gd name="T45" fmla="*/ 579 h 1809"/>
                <a:gd name="T46" fmla="*/ 42 w 4587"/>
                <a:gd name="T47" fmla="*/ 657 h 1809"/>
                <a:gd name="T48" fmla="*/ 274 w 4587"/>
                <a:gd name="T49" fmla="*/ 0 h 1809"/>
                <a:gd name="T50" fmla="*/ 292 w 4587"/>
                <a:gd name="T51" fmla="*/ 90 h 1809"/>
                <a:gd name="T52" fmla="*/ 330 w 4587"/>
                <a:gd name="T53" fmla="*/ 178 h 1809"/>
                <a:gd name="T54" fmla="*/ 389 w 4587"/>
                <a:gd name="T55" fmla="*/ 262 h 1809"/>
                <a:gd name="T56" fmla="*/ 467 w 4587"/>
                <a:gd name="T57" fmla="*/ 342 h 1809"/>
                <a:gd name="T58" fmla="*/ 561 w 4587"/>
                <a:gd name="T59" fmla="*/ 418 h 1809"/>
                <a:gd name="T60" fmla="*/ 296 w 4587"/>
                <a:gd name="T61" fmla="*/ 1351 h 1809"/>
                <a:gd name="T62" fmla="*/ 251 w 4587"/>
                <a:gd name="T63" fmla="*/ 1321 h 1809"/>
                <a:gd name="T64" fmla="*/ 190 w 4587"/>
                <a:gd name="T65" fmla="*/ 1271 h 1809"/>
                <a:gd name="T66" fmla="*/ 136 w 4587"/>
                <a:gd name="T67" fmla="*/ 1219 h 1809"/>
                <a:gd name="T68" fmla="*/ 91 w 4587"/>
                <a:gd name="T69" fmla="*/ 1163 h 1809"/>
                <a:gd name="T70" fmla="*/ 54 w 4587"/>
                <a:gd name="T71" fmla="*/ 1104 h 1809"/>
                <a:gd name="T72" fmla="*/ 26 w 4587"/>
                <a:gd name="T73" fmla="*/ 1041 h 1809"/>
                <a:gd name="T74" fmla="*/ 8 w 4587"/>
                <a:gd name="T75" fmla="*/ 974 h 1809"/>
                <a:gd name="T76" fmla="*/ 0 w 4587"/>
                <a:gd name="T77" fmla="*/ 902 h 1809"/>
                <a:gd name="T78" fmla="*/ 3 w 4587"/>
                <a:gd name="T79" fmla="*/ 825 h 1809"/>
                <a:gd name="T80" fmla="*/ 17 w 4587"/>
                <a:gd name="T81" fmla="*/ 744 h 1809"/>
                <a:gd name="T82" fmla="*/ 42 w 4587"/>
                <a:gd name="T83" fmla="*/ 657 h 1809"/>
                <a:gd name="T84" fmla="*/ 4544 w 4587"/>
                <a:gd name="T85" fmla="*/ 657 h 1809"/>
                <a:gd name="T86" fmla="*/ 4562 w 4587"/>
                <a:gd name="T87" fmla="*/ 713 h 1809"/>
                <a:gd name="T88" fmla="*/ 4579 w 4587"/>
                <a:gd name="T89" fmla="*/ 795 h 1809"/>
                <a:gd name="T90" fmla="*/ 4587 w 4587"/>
                <a:gd name="T91" fmla="*/ 871 h 1809"/>
                <a:gd name="T92" fmla="*/ 4584 w 4587"/>
                <a:gd name="T93" fmla="*/ 942 h 1809"/>
                <a:gd name="T94" fmla="*/ 4570 w 4587"/>
                <a:gd name="T95" fmla="*/ 1009 h 1809"/>
                <a:gd name="T96" fmla="*/ 4548 w 4587"/>
                <a:gd name="T97" fmla="*/ 1072 h 1809"/>
                <a:gd name="T98" fmla="*/ 4517 w 4587"/>
                <a:gd name="T99" fmla="*/ 1132 h 1809"/>
                <a:gd name="T100" fmla="*/ 4478 w 4587"/>
                <a:gd name="T101" fmla="*/ 1187 h 1809"/>
                <a:gd name="T102" fmla="*/ 4430 w 4587"/>
                <a:gd name="T103" fmla="*/ 1241 h 1809"/>
                <a:gd name="T104" fmla="*/ 4375 w 4587"/>
                <a:gd name="T105" fmla="*/ 1290 h 1809"/>
                <a:gd name="T106" fmla="*/ 4313 w 4587"/>
                <a:gd name="T107" fmla="*/ 1336 h 1809"/>
                <a:gd name="T108" fmla="*/ 4042 w 4587"/>
                <a:gd name="T109" fmla="*/ 406 h 1809"/>
                <a:gd name="T110" fmla="*/ 4126 w 4587"/>
                <a:gd name="T111" fmla="*/ 337 h 1809"/>
                <a:gd name="T112" fmla="*/ 4196 w 4587"/>
                <a:gd name="T113" fmla="*/ 264 h 1809"/>
                <a:gd name="T114" fmla="*/ 4250 w 4587"/>
                <a:gd name="T115" fmla="*/ 189 h 1809"/>
                <a:gd name="T116" fmla="*/ 4287 w 4587"/>
                <a:gd name="T117" fmla="*/ 110 h 1809"/>
                <a:gd name="T118" fmla="*/ 4308 w 4587"/>
                <a:gd name="T119" fmla="*/ 29 h 1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87" h="1809">
                  <a:moveTo>
                    <a:pt x="615" y="1511"/>
                  </a:moveTo>
                  <a:lnTo>
                    <a:pt x="614" y="1511"/>
                  </a:lnTo>
                  <a:lnTo>
                    <a:pt x="614" y="1511"/>
                  </a:lnTo>
                  <a:lnTo>
                    <a:pt x="696" y="1543"/>
                  </a:lnTo>
                  <a:lnTo>
                    <a:pt x="782" y="1574"/>
                  </a:lnTo>
                  <a:lnTo>
                    <a:pt x="870" y="1603"/>
                  </a:lnTo>
                  <a:lnTo>
                    <a:pt x="962" y="1631"/>
                  </a:lnTo>
                  <a:lnTo>
                    <a:pt x="962" y="1631"/>
                  </a:lnTo>
                  <a:lnTo>
                    <a:pt x="1021" y="1649"/>
                  </a:lnTo>
                  <a:lnTo>
                    <a:pt x="1081" y="1666"/>
                  </a:lnTo>
                  <a:lnTo>
                    <a:pt x="1140" y="1681"/>
                  </a:lnTo>
                  <a:lnTo>
                    <a:pt x="1201" y="1695"/>
                  </a:lnTo>
                  <a:lnTo>
                    <a:pt x="1261" y="1708"/>
                  </a:lnTo>
                  <a:lnTo>
                    <a:pt x="1320" y="1720"/>
                  </a:lnTo>
                  <a:lnTo>
                    <a:pt x="1378" y="1731"/>
                  </a:lnTo>
                  <a:lnTo>
                    <a:pt x="1438" y="1742"/>
                  </a:lnTo>
                  <a:lnTo>
                    <a:pt x="1495" y="1751"/>
                  </a:lnTo>
                  <a:lnTo>
                    <a:pt x="1552" y="1759"/>
                  </a:lnTo>
                  <a:lnTo>
                    <a:pt x="1607" y="1767"/>
                  </a:lnTo>
                  <a:lnTo>
                    <a:pt x="1662" y="1773"/>
                  </a:lnTo>
                  <a:lnTo>
                    <a:pt x="1766" y="1784"/>
                  </a:lnTo>
                  <a:lnTo>
                    <a:pt x="1865" y="1793"/>
                  </a:lnTo>
                  <a:lnTo>
                    <a:pt x="1956" y="1800"/>
                  </a:lnTo>
                  <a:lnTo>
                    <a:pt x="2040" y="1804"/>
                  </a:lnTo>
                  <a:lnTo>
                    <a:pt x="2112" y="1807"/>
                  </a:lnTo>
                  <a:lnTo>
                    <a:pt x="2175" y="1808"/>
                  </a:lnTo>
                  <a:lnTo>
                    <a:pt x="2262" y="1809"/>
                  </a:lnTo>
                  <a:lnTo>
                    <a:pt x="2293" y="1808"/>
                  </a:lnTo>
                  <a:lnTo>
                    <a:pt x="2293" y="1808"/>
                  </a:lnTo>
                  <a:lnTo>
                    <a:pt x="2352" y="1809"/>
                  </a:lnTo>
                  <a:lnTo>
                    <a:pt x="2419" y="1808"/>
                  </a:lnTo>
                  <a:lnTo>
                    <a:pt x="2510" y="1805"/>
                  </a:lnTo>
                  <a:lnTo>
                    <a:pt x="2620" y="1800"/>
                  </a:lnTo>
                  <a:lnTo>
                    <a:pt x="2681" y="1796"/>
                  </a:lnTo>
                  <a:lnTo>
                    <a:pt x="2746" y="1792"/>
                  </a:lnTo>
                  <a:lnTo>
                    <a:pt x="2814" y="1786"/>
                  </a:lnTo>
                  <a:lnTo>
                    <a:pt x="2885" y="1778"/>
                  </a:lnTo>
                  <a:lnTo>
                    <a:pt x="2960" y="1769"/>
                  </a:lnTo>
                  <a:lnTo>
                    <a:pt x="3036" y="1758"/>
                  </a:lnTo>
                  <a:lnTo>
                    <a:pt x="3036" y="1758"/>
                  </a:lnTo>
                  <a:lnTo>
                    <a:pt x="2941" y="795"/>
                  </a:lnTo>
                  <a:lnTo>
                    <a:pt x="2941" y="795"/>
                  </a:lnTo>
                  <a:lnTo>
                    <a:pt x="2864" y="805"/>
                  </a:lnTo>
                  <a:lnTo>
                    <a:pt x="2786" y="814"/>
                  </a:lnTo>
                  <a:lnTo>
                    <a:pt x="2706" y="822"/>
                  </a:lnTo>
                  <a:lnTo>
                    <a:pt x="2626" y="829"/>
                  </a:lnTo>
                  <a:lnTo>
                    <a:pt x="2544" y="833"/>
                  </a:lnTo>
                  <a:lnTo>
                    <a:pt x="2462" y="837"/>
                  </a:lnTo>
                  <a:lnTo>
                    <a:pt x="2378" y="839"/>
                  </a:lnTo>
                  <a:lnTo>
                    <a:pt x="2293" y="840"/>
                  </a:lnTo>
                  <a:lnTo>
                    <a:pt x="2293" y="840"/>
                  </a:lnTo>
                  <a:lnTo>
                    <a:pt x="2187" y="839"/>
                  </a:lnTo>
                  <a:lnTo>
                    <a:pt x="2083" y="835"/>
                  </a:lnTo>
                  <a:lnTo>
                    <a:pt x="1981" y="830"/>
                  </a:lnTo>
                  <a:lnTo>
                    <a:pt x="1880" y="822"/>
                  </a:lnTo>
                  <a:lnTo>
                    <a:pt x="1781" y="812"/>
                  </a:lnTo>
                  <a:lnTo>
                    <a:pt x="1684" y="800"/>
                  </a:lnTo>
                  <a:lnTo>
                    <a:pt x="1588" y="786"/>
                  </a:lnTo>
                  <a:lnTo>
                    <a:pt x="1496" y="770"/>
                  </a:lnTo>
                  <a:lnTo>
                    <a:pt x="1405" y="752"/>
                  </a:lnTo>
                  <a:lnTo>
                    <a:pt x="1317" y="732"/>
                  </a:lnTo>
                  <a:lnTo>
                    <a:pt x="1232" y="711"/>
                  </a:lnTo>
                  <a:lnTo>
                    <a:pt x="1149" y="687"/>
                  </a:lnTo>
                  <a:lnTo>
                    <a:pt x="1069" y="662"/>
                  </a:lnTo>
                  <a:lnTo>
                    <a:pt x="992" y="636"/>
                  </a:lnTo>
                  <a:lnTo>
                    <a:pt x="955" y="623"/>
                  </a:lnTo>
                  <a:lnTo>
                    <a:pt x="919" y="608"/>
                  </a:lnTo>
                  <a:lnTo>
                    <a:pt x="883" y="594"/>
                  </a:lnTo>
                  <a:lnTo>
                    <a:pt x="848" y="579"/>
                  </a:lnTo>
                  <a:lnTo>
                    <a:pt x="848" y="579"/>
                  </a:lnTo>
                  <a:lnTo>
                    <a:pt x="615" y="1511"/>
                  </a:lnTo>
                  <a:close/>
                  <a:moveTo>
                    <a:pt x="42" y="657"/>
                  </a:moveTo>
                  <a:lnTo>
                    <a:pt x="42" y="657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8" y="30"/>
                  </a:lnTo>
                  <a:lnTo>
                    <a:pt x="284" y="60"/>
                  </a:lnTo>
                  <a:lnTo>
                    <a:pt x="292" y="90"/>
                  </a:lnTo>
                  <a:lnTo>
                    <a:pt x="302" y="119"/>
                  </a:lnTo>
                  <a:lnTo>
                    <a:pt x="316" y="150"/>
                  </a:lnTo>
                  <a:lnTo>
                    <a:pt x="330" y="178"/>
                  </a:lnTo>
                  <a:lnTo>
                    <a:pt x="348" y="207"/>
                  </a:lnTo>
                  <a:lnTo>
                    <a:pt x="368" y="235"/>
                  </a:lnTo>
                  <a:lnTo>
                    <a:pt x="389" y="262"/>
                  </a:lnTo>
                  <a:lnTo>
                    <a:pt x="413" y="289"/>
                  </a:lnTo>
                  <a:lnTo>
                    <a:pt x="439" y="316"/>
                  </a:lnTo>
                  <a:lnTo>
                    <a:pt x="467" y="342"/>
                  </a:lnTo>
                  <a:lnTo>
                    <a:pt x="496" y="368"/>
                  </a:lnTo>
                  <a:lnTo>
                    <a:pt x="528" y="395"/>
                  </a:lnTo>
                  <a:lnTo>
                    <a:pt x="561" y="418"/>
                  </a:lnTo>
                  <a:lnTo>
                    <a:pt x="597" y="443"/>
                  </a:lnTo>
                  <a:lnTo>
                    <a:pt x="597" y="443"/>
                  </a:lnTo>
                  <a:lnTo>
                    <a:pt x="296" y="1351"/>
                  </a:lnTo>
                  <a:lnTo>
                    <a:pt x="296" y="1351"/>
                  </a:lnTo>
                  <a:lnTo>
                    <a:pt x="273" y="1336"/>
                  </a:lnTo>
                  <a:lnTo>
                    <a:pt x="251" y="1321"/>
                  </a:lnTo>
                  <a:lnTo>
                    <a:pt x="231" y="1304"/>
                  </a:lnTo>
                  <a:lnTo>
                    <a:pt x="210" y="1287"/>
                  </a:lnTo>
                  <a:lnTo>
                    <a:pt x="190" y="1271"/>
                  </a:lnTo>
                  <a:lnTo>
                    <a:pt x="171" y="1254"/>
                  </a:lnTo>
                  <a:lnTo>
                    <a:pt x="154" y="1236"/>
                  </a:lnTo>
                  <a:lnTo>
                    <a:pt x="136" y="1219"/>
                  </a:lnTo>
                  <a:lnTo>
                    <a:pt x="120" y="1201"/>
                  </a:lnTo>
                  <a:lnTo>
                    <a:pt x="105" y="1182"/>
                  </a:lnTo>
                  <a:lnTo>
                    <a:pt x="91" y="1163"/>
                  </a:lnTo>
                  <a:lnTo>
                    <a:pt x="78" y="1144"/>
                  </a:lnTo>
                  <a:lnTo>
                    <a:pt x="65" y="1124"/>
                  </a:lnTo>
                  <a:lnTo>
                    <a:pt x="54" y="1104"/>
                  </a:lnTo>
                  <a:lnTo>
                    <a:pt x="44" y="1083"/>
                  </a:lnTo>
                  <a:lnTo>
                    <a:pt x="34" y="1062"/>
                  </a:lnTo>
                  <a:lnTo>
                    <a:pt x="26" y="1041"/>
                  </a:lnTo>
                  <a:lnTo>
                    <a:pt x="19" y="1019"/>
                  </a:lnTo>
                  <a:lnTo>
                    <a:pt x="13" y="997"/>
                  </a:lnTo>
                  <a:lnTo>
                    <a:pt x="8" y="974"/>
                  </a:lnTo>
                  <a:lnTo>
                    <a:pt x="4" y="950"/>
                  </a:lnTo>
                  <a:lnTo>
                    <a:pt x="2" y="926"/>
                  </a:lnTo>
                  <a:lnTo>
                    <a:pt x="0" y="902"/>
                  </a:lnTo>
                  <a:lnTo>
                    <a:pt x="0" y="877"/>
                  </a:lnTo>
                  <a:lnTo>
                    <a:pt x="1" y="851"/>
                  </a:lnTo>
                  <a:lnTo>
                    <a:pt x="3" y="825"/>
                  </a:lnTo>
                  <a:lnTo>
                    <a:pt x="6" y="799"/>
                  </a:lnTo>
                  <a:lnTo>
                    <a:pt x="11" y="772"/>
                  </a:lnTo>
                  <a:lnTo>
                    <a:pt x="17" y="744"/>
                  </a:lnTo>
                  <a:lnTo>
                    <a:pt x="24" y="715"/>
                  </a:lnTo>
                  <a:lnTo>
                    <a:pt x="33" y="686"/>
                  </a:lnTo>
                  <a:lnTo>
                    <a:pt x="42" y="657"/>
                  </a:lnTo>
                  <a:close/>
                  <a:moveTo>
                    <a:pt x="4311" y="2"/>
                  </a:moveTo>
                  <a:lnTo>
                    <a:pt x="4311" y="2"/>
                  </a:lnTo>
                  <a:lnTo>
                    <a:pt x="4544" y="657"/>
                  </a:lnTo>
                  <a:lnTo>
                    <a:pt x="4544" y="657"/>
                  </a:lnTo>
                  <a:lnTo>
                    <a:pt x="4553" y="685"/>
                  </a:lnTo>
                  <a:lnTo>
                    <a:pt x="4562" y="713"/>
                  </a:lnTo>
                  <a:lnTo>
                    <a:pt x="4569" y="740"/>
                  </a:lnTo>
                  <a:lnTo>
                    <a:pt x="4575" y="768"/>
                  </a:lnTo>
                  <a:lnTo>
                    <a:pt x="4579" y="795"/>
                  </a:lnTo>
                  <a:lnTo>
                    <a:pt x="4583" y="820"/>
                  </a:lnTo>
                  <a:lnTo>
                    <a:pt x="4586" y="846"/>
                  </a:lnTo>
                  <a:lnTo>
                    <a:pt x="4587" y="871"/>
                  </a:lnTo>
                  <a:lnTo>
                    <a:pt x="4587" y="895"/>
                  </a:lnTo>
                  <a:lnTo>
                    <a:pt x="4586" y="919"/>
                  </a:lnTo>
                  <a:lnTo>
                    <a:pt x="4584" y="942"/>
                  </a:lnTo>
                  <a:lnTo>
                    <a:pt x="4579" y="964"/>
                  </a:lnTo>
                  <a:lnTo>
                    <a:pt x="4575" y="987"/>
                  </a:lnTo>
                  <a:lnTo>
                    <a:pt x="4570" y="1009"/>
                  </a:lnTo>
                  <a:lnTo>
                    <a:pt x="4564" y="1030"/>
                  </a:lnTo>
                  <a:lnTo>
                    <a:pt x="4557" y="1052"/>
                  </a:lnTo>
                  <a:lnTo>
                    <a:pt x="4548" y="1072"/>
                  </a:lnTo>
                  <a:lnTo>
                    <a:pt x="4539" y="1093"/>
                  </a:lnTo>
                  <a:lnTo>
                    <a:pt x="4529" y="1112"/>
                  </a:lnTo>
                  <a:lnTo>
                    <a:pt x="4517" y="1132"/>
                  </a:lnTo>
                  <a:lnTo>
                    <a:pt x="4505" y="1151"/>
                  </a:lnTo>
                  <a:lnTo>
                    <a:pt x="4491" y="1170"/>
                  </a:lnTo>
                  <a:lnTo>
                    <a:pt x="4478" y="1187"/>
                  </a:lnTo>
                  <a:lnTo>
                    <a:pt x="4462" y="1205"/>
                  </a:lnTo>
                  <a:lnTo>
                    <a:pt x="4446" y="1223"/>
                  </a:lnTo>
                  <a:lnTo>
                    <a:pt x="4430" y="1241"/>
                  </a:lnTo>
                  <a:lnTo>
                    <a:pt x="4412" y="1257"/>
                  </a:lnTo>
                  <a:lnTo>
                    <a:pt x="4394" y="1273"/>
                  </a:lnTo>
                  <a:lnTo>
                    <a:pt x="4375" y="1290"/>
                  </a:lnTo>
                  <a:lnTo>
                    <a:pt x="4355" y="1305"/>
                  </a:lnTo>
                  <a:lnTo>
                    <a:pt x="4334" y="1321"/>
                  </a:lnTo>
                  <a:lnTo>
                    <a:pt x="4313" y="1336"/>
                  </a:lnTo>
                  <a:lnTo>
                    <a:pt x="4313" y="1336"/>
                  </a:lnTo>
                  <a:lnTo>
                    <a:pt x="4042" y="406"/>
                  </a:lnTo>
                  <a:lnTo>
                    <a:pt x="4042" y="406"/>
                  </a:lnTo>
                  <a:lnTo>
                    <a:pt x="4072" y="384"/>
                  </a:lnTo>
                  <a:lnTo>
                    <a:pt x="4100" y="361"/>
                  </a:lnTo>
                  <a:lnTo>
                    <a:pt x="4126" y="337"/>
                  </a:lnTo>
                  <a:lnTo>
                    <a:pt x="4151" y="313"/>
                  </a:lnTo>
                  <a:lnTo>
                    <a:pt x="4174" y="289"/>
                  </a:lnTo>
                  <a:lnTo>
                    <a:pt x="4196" y="264"/>
                  </a:lnTo>
                  <a:lnTo>
                    <a:pt x="4216" y="239"/>
                  </a:lnTo>
                  <a:lnTo>
                    <a:pt x="4233" y="214"/>
                  </a:lnTo>
                  <a:lnTo>
                    <a:pt x="4250" y="189"/>
                  </a:lnTo>
                  <a:lnTo>
                    <a:pt x="4264" y="163"/>
                  </a:lnTo>
                  <a:lnTo>
                    <a:pt x="4277" y="137"/>
                  </a:lnTo>
                  <a:lnTo>
                    <a:pt x="4287" y="110"/>
                  </a:lnTo>
                  <a:lnTo>
                    <a:pt x="4297" y="83"/>
                  </a:lnTo>
                  <a:lnTo>
                    <a:pt x="4303" y="57"/>
                  </a:lnTo>
                  <a:lnTo>
                    <a:pt x="4308" y="29"/>
                  </a:lnTo>
                  <a:lnTo>
                    <a:pt x="4311" y="2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99" name="Freeform 55"/>
            <p:cNvSpPr>
              <a:spLocks/>
            </p:cNvSpPr>
            <p:nvPr/>
          </p:nvSpPr>
          <p:spPr bwMode="auto">
            <a:xfrm flipH="1">
              <a:off x="7028180" y="2775767"/>
              <a:ext cx="446371" cy="175429"/>
            </a:xfrm>
            <a:custGeom>
              <a:avLst/>
              <a:gdLst>
                <a:gd name="T0" fmla="*/ 0 w 2422"/>
                <a:gd name="T1" fmla="*/ 932 h 1230"/>
                <a:gd name="T2" fmla="*/ 82 w 2422"/>
                <a:gd name="T3" fmla="*/ 964 h 1230"/>
                <a:gd name="T4" fmla="*/ 256 w 2422"/>
                <a:gd name="T5" fmla="*/ 1024 h 1230"/>
                <a:gd name="T6" fmla="*/ 348 w 2422"/>
                <a:gd name="T7" fmla="*/ 1052 h 1230"/>
                <a:gd name="T8" fmla="*/ 467 w 2422"/>
                <a:gd name="T9" fmla="*/ 1087 h 1230"/>
                <a:gd name="T10" fmla="*/ 587 w 2422"/>
                <a:gd name="T11" fmla="*/ 1116 h 1230"/>
                <a:gd name="T12" fmla="*/ 706 w 2422"/>
                <a:gd name="T13" fmla="*/ 1141 h 1230"/>
                <a:gd name="T14" fmla="*/ 824 w 2422"/>
                <a:gd name="T15" fmla="*/ 1163 h 1230"/>
                <a:gd name="T16" fmla="*/ 938 w 2422"/>
                <a:gd name="T17" fmla="*/ 1180 h 1230"/>
                <a:gd name="T18" fmla="*/ 1048 w 2422"/>
                <a:gd name="T19" fmla="*/ 1194 h 1230"/>
                <a:gd name="T20" fmla="*/ 1251 w 2422"/>
                <a:gd name="T21" fmla="*/ 1214 h 1230"/>
                <a:gd name="T22" fmla="*/ 1426 w 2422"/>
                <a:gd name="T23" fmla="*/ 1225 h 1230"/>
                <a:gd name="T24" fmla="*/ 1561 w 2422"/>
                <a:gd name="T25" fmla="*/ 1229 h 1230"/>
                <a:gd name="T26" fmla="*/ 1679 w 2422"/>
                <a:gd name="T27" fmla="*/ 1229 h 1230"/>
                <a:gd name="T28" fmla="*/ 1738 w 2422"/>
                <a:gd name="T29" fmla="*/ 1230 h 1230"/>
                <a:gd name="T30" fmla="*/ 1896 w 2422"/>
                <a:gd name="T31" fmla="*/ 1226 h 1230"/>
                <a:gd name="T32" fmla="*/ 2067 w 2422"/>
                <a:gd name="T33" fmla="*/ 1217 h 1230"/>
                <a:gd name="T34" fmla="*/ 2200 w 2422"/>
                <a:gd name="T35" fmla="*/ 1207 h 1230"/>
                <a:gd name="T36" fmla="*/ 2346 w 2422"/>
                <a:gd name="T37" fmla="*/ 1190 h 1230"/>
                <a:gd name="T38" fmla="*/ 2422 w 2422"/>
                <a:gd name="T39" fmla="*/ 1179 h 1230"/>
                <a:gd name="T40" fmla="*/ 2327 w 2422"/>
                <a:gd name="T41" fmla="*/ 216 h 1230"/>
                <a:gd name="T42" fmla="*/ 2172 w 2422"/>
                <a:gd name="T43" fmla="*/ 235 h 1230"/>
                <a:gd name="T44" fmla="*/ 2012 w 2422"/>
                <a:gd name="T45" fmla="*/ 250 h 1230"/>
                <a:gd name="T46" fmla="*/ 1848 w 2422"/>
                <a:gd name="T47" fmla="*/ 258 h 1230"/>
                <a:gd name="T48" fmla="*/ 1679 w 2422"/>
                <a:gd name="T49" fmla="*/ 261 h 1230"/>
                <a:gd name="T50" fmla="*/ 1573 w 2422"/>
                <a:gd name="T51" fmla="*/ 260 h 1230"/>
                <a:gd name="T52" fmla="*/ 1367 w 2422"/>
                <a:gd name="T53" fmla="*/ 251 h 1230"/>
                <a:gd name="T54" fmla="*/ 1167 w 2422"/>
                <a:gd name="T55" fmla="*/ 233 h 1230"/>
                <a:gd name="T56" fmla="*/ 974 w 2422"/>
                <a:gd name="T57" fmla="*/ 207 h 1230"/>
                <a:gd name="T58" fmla="*/ 791 w 2422"/>
                <a:gd name="T59" fmla="*/ 173 h 1230"/>
                <a:gd name="T60" fmla="*/ 618 w 2422"/>
                <a:gd name="T61" fmla="*/ 132 h 1230"/>
                <a:gd name="T62" fmla="*/ 455 w 2422"/>
                <a:gd name="T63" fmla="*/ 83 h 1230"/>
                <a:gd name="T64" fmla="*/ 341 w 2422"/>
                <a:gd name="T65" fmla="*/ 44 h 1230"/>
                <a:gd name="T66" fmla="*/ 269 w 2422"/>
                <a:gd name="T67" fmla="*/ 15 h 1230"/>
                <a:gd name="T68" fmla="*/ 234 w 2422"/>
                <a:gd name="T69" fmla="*/ 0 h 1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22" h="1230">
                  <a:moveTo>
                    <a:pt x="1" y="932"/>
                  </a:moveTo>
                  <a:lnTo>
                    <a:pt x="0" y="932"/>
                  </a:lnTo>
                  <a:lnTo>
                    <a:pt x="0" y="932"/>
                  </a:lnTo>
                  <a:lnTo>
                    <a:pt x="82" y="964"/>
                  </a:lnTo>
                  <a:lnTo>
                    <a:pt x="168" y="995"/>
                  </a:lnTo>
                  <a:lnTo>
                    <a:pt x="256" y="1024"/>
                  </a:lnTo>
                  <a:lnTo>
                    <a:pt x="348" y="1052"/>
                  </a:lnTo>
                  <a:lnTo>
                    <a:pt x="348" y="1052"/>
                  </a:lnTo>
                  <a:lnTo>
                    <a:pt x="407" y="1070"/>
                  </a:lnTo>
                  <a:lnTo>
                    <a:pt x="467" y="1087"/>
                  </a:lnTo>
                  <a:lnTo>
                    <a:pt x="526" y="1102"/>
                  </a:lnTo>
                  <a:lnTo>
                    <a:pt x="587" y="1116"/>
                  </a:lnTo>
                  <a:lnTo>
                    <a:pt x="647" y="1129"/>
                  </a:lnTo>
                  <a:lnTo>
                    <a:pt x="706" y="1141"/>
                  </a:lnTo>
                  <a:lnTo>
                    <a:pt x="764" y="1152"/>
                  </a:lnTo>
                  <a:lnTo>
                    <a:pt x="824" y="1163"/>
                  </a:lnTo>
                  <a:lnTo>
                    <a:pt x="881" y="1172"/>
                  </a:lnTo>
                  <a:lnTo>
                    <a:pt x="938" y="1180"/>
                  </a:lnTo>
                  <a:lnTo>
                    <a:pt x="993" y="1188"/>
                  </a:lnTo>
                  <a:lnTo>
                    <a:pt x="1048" y="1194"/>
                  </a:lnTo>
                  <a:lnTo>
                    <a:pt x="1152" y="1205"/>
                  </a:lnTo>
                  <a:lnTo>
                    <a:pt x="1251" y="1214"/>
                  </a:lnTo>
                  <a:lnTo>
                    <a:pt x="1342" y="1221"/>
                  </a:lnTo>
                  <a:lnTo>
                    <a:pt x="1426" y="1225"/>
                  </a:lnTo>
                  <a:lnTo>
                    <a:pt x="1498" y="1228"/>
                  </a:lnTo>
                  <a:lnTo>
                    <a:pt x="1561" y="1229"/>
                  </a:lnTo>
                  <a:lnTo>
                    <a:pt x="1648" y="1230"/>
                  </a:lnTo>
                  <a:lnTo>
                    <a:pt x="1679" y="1229"/>
                  </a:lnTo>
                  <a:lnTo>
                    <a:pt x="1679" y="1229"/>
                  </a:lnTo>
                  <a:lnTo>
                    <a:pt x="1738" y="1230"/>
                  </a:lnTo>
                  <a:lnTo>
                    <a:pt x="1805" y="1229"/>
                  </a:lnTo>
                  <a:lnTo>
                    <a:pt x="1896" y="1226"/>
                  </a:lnTo>
                  <a:lnTo>
                    <a:pt x="2006" y="1221"/>
                  </a:lnTo>
                  <a:lnTo>
                    <a:pt x="2067" y="1217"/>
                  </a:lnTo>
                  <a:lnTo>
                    <a:pt x="2132" y="1213"/>
                  </a:lnTo>
                  <a:lnTo>
                    <a:pt x="2200" y="1207"/>
                  </a:lnTo>
                  <a:lnTo>
                    <a:pt x="2271" y="1199"/>
                  </a:lnTo>
                  <a:lnTo>
                    <a:pt x="2346" y="1190"/>
                  </a:lnTo>
                  <a:lnTo>
                    <a:pt x="2422" y="1179"/>
                  </a:lnTo>
                  <a:lnTo>
                    <a:pt x="2422" y="1179"/>
                  </a:lnTo>
                  <a:lnTo>
                    <a:pt x="2327" y="216"/>
                  </a:lnTo>
                  <a:lnTo>
                    <a:pt x="2327" y="216"/>
                  </a:lnTo>
                  <a:lnTo>
                    <a:pt x="2250" y="226"/>
                  </a:lnTo>
                  <a:lnTo>
                    <a:pt x="2172" y="235"/>
                  </a:lnTo>
                  <a:lnTo>
                    <a:pt x="2092" y="243"/>
                  </a:lnTo>
                  <a:lnTo>
                    <a:pt x="2012" y="250"/>
                  </a:lnTo>
                  <a:lnTo>
                    <a:pt x="1930" y="254"/>
                  </a:lnTo>
                  <a:lnTo>
                    <a:pt x="1848" y="258"/>
                  </a:lnTo>
                  <a:lnTo>
                    <a:pt x="1764" y="260"/>
                  </a:lnTo>
                  <a:lnTo>
                    <a:pt x="1679" y="261"/>
                  </a:lnTo>
                  <a:lnTo>
                    <a:pt x="1679" y="261"/>
                  </a:lnTo>
                  <a:lnTo>
                    <a:pt x="1573" y="260"/>
                  </a:lnTo>
                  <a:lnTo>
                    <a:pt x="1469" y="256"/>
                  </a:lnTo>
                  <a:lnTo>
                    <a:pt x="1367" y="251"/>
                  </a:lnTo>
                  <a:lnTo>
                    <a:pt x="1266" y="243"/>
                  </a:lnTo>
                  <a:lnTo>
                    <a:pt x="1167" y="233"/>
                  </a:lnTo>
                  <a:lnTo>
                    <a:pt x="1070" y="221"/>
                  </a:lnTo>
                  <a:lnTo>
                    <a:pt x="974" y="207"/>
                  </a:lnTo>
                  <a:lnTo>
                    <a:pt x="882" y="191"/>
                  </a:lnTo>
                  <a:lnTo>
                    <a:pt x="791" y="173"/>
                  </a:lnTo>
                  <a:lnTo>
                    <a:pt x="703" y="153"/>
                  </a:lnTo>
                  <a:lnTo>
                    <a:pt x="618" y="132"/>
                  </a:lnTo>
                  <a:lnTo>
                    <a:pt x="535" y="108"/>
                  </a:lnTo>
                  <a:lnTo>
                    <a:pt x="455" y="83"/>
                  </a:lnTo>
                  <a:lnTo>
                    <a:pt x="378" y="57"/>
                  </a:lnTo>
                  <a:lnTo>
                    <a:pt x="341" y="44"/>
                  </a:lnTo>
                  <a:lnTo>
                    <a:pt x="305" y="29"/>
                  </a:lnTo>
                  <a:lnTo>
                    <a:pt x="269" y="15"/>
                  </a:lnTo>
                  <a:lnTo>
                    <a:pt x="234" y="0"/>
                  </a:lnTo>
                  <a:lnTo>
                    <a:pt x="234" y="0"/>
                  </a:lnTo>
                  <a:lnTo>
                    <a:pt x="1" y="93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0" name="Freeform 56"/>
            <p:cNvSpPr>
              <a:spLocks/>
            </p:cNvSpPr>
            <p:nvPr/>
          </p:nvSpPr>
          <p:spPr bwMode="auto">
            <a:xfrm flipH="1">
              <a:off x="7478420" y="2691922"/>
              <a:ext cx="109658" cy="193488"/>
            </a:xfrm>
            <a:custGeom>
              <a:avLst/>
              <a:gdLst>
                <a:gd name="T0" fmla="*/ 42 w 597"/>
                <a:gd name="T1" fmla="*/ 657 h 1351"/>
                <a:gd name="T2" fmla="*/ 42 w 597"/>
                <a:gd name="T3" fmla="*/ 657 h 1351"/>
                <a:gd name="T4" fmla="*/ 274 w 597"/>
                <a:gd name="T5" fmla="*/ 0 h 1351"/>
                <a:gd name="T6" fmla="*/ 274 w 597"/>
                <a:gd name="T7" fmla="*/ 0 h 1351"/>
                <a:gd name="T8" fmla="*/ 278 w 597"/>
                <a:gd name="T9" fmla="*/ 30 h 1351"/>
                <a:gd name="T10" fmla="*/ 284 w 597"/>
                <a:gd name="T11" fmla="*/ 60 h 1351"/>
                <a:gd name="T12" fmla="*/ 292 w 597"/>
                <a:gd name="T13" fmla="*/ 90 h 1351"/>
                <a:gd name="T14" fmla="*/ 302 w 597"/>
                <a:gd name="T15" fmla="*/ 119 h 1351"/>
                <a:gd name="T16" fmla="*/ 316 w 597"/>
                <a:gd name="T17" fmla="*/ 150 h 1351"/>
                <a:gd name="T18" fmla="*/ 330 w 597"/>
                <a:gd name="T19" fmla="*/ 178 h 1351"/>
                <a:gd name="T20" fmla="*/ 348 w 597"/>
                <a:gd name="T21" fmla="*/ 207 h 1351"/>
                <a:gd name="T22" fmla="*/ 368 w 597"/>
                <a:gd name="T23" fmla="*/ 235 h 1351"/>
                <a:gd name="T24" fmla="*/ 389 w 597"/>
                <a:gd name="T25" fmla="*/ 262 h 1351"/>
                <a:gd name="T26" fmla="*/ 413 w 597"/>
                <a:gd name="T27" fmla="*/ 289 h 1351"/>
                <a:gd name="T28" fmla="*/ 439 w 597"/>
                <a:gd name="T29" fmla="*/ 316 h 1351"/>
                <a:gd name="T30" fmla="*/ 467 w 597"/>
                <a:gd name="T31" fmla="*/ 342 h 1351"/>
                <a:gd name="T32" fmla="*/ 496 w 597"/>
                <a:gd name="T33" fmla="*/ 368 h 1351"/>
                <a:gd name="T34" fmla="*/ 528 w 597"/>
                <a:gd name="T35" fmla="*/ 395 h 1351"/>
                <a:gd name="T36" fmla="*/ 561 w 597"/>
                <a:gd name="T37" fmla="*/ 418 h 1351"/>
                <a:gd name="T38" fmla="*/ 597 w 597"/>
                <a:gd name="T39" fmla="*/ 443 h 1351"/>
                <a:gd name="T40" fmla="*/ 597 w 597"/>
                <a:gd name="T41" fmla="*/ 443 h 1351"/>
                <a:gd name="T42" fmla="*/ 296 w 597"/>
                <a:gd name="T43" fmla="*/ 1351 h 1351"/>
                <a:gd name="T44" fmla="*/ 296 w 597"/>
                <a:gd name="T45" fmla="*/ 1351 h 1351"/>
                <a:gd name="T46" fmla="*/ 273 w 597"/>
                <a:gd name="T47" fmla="*/ 1336 h 1351"/>
                <a:gd name="T48" fmla="*/ 251 w 597"/>
                <a:gd name="T49" fmla="*/ 1321 h 1351"/>
                <a:gd name="T50" fmla="*/ 231 w 597"/>
                <a:gd name="T51" fmla="*/ 1304 h 1351"/>
                <a:gd name="T52" fmla="*/ 210 w 597"/>
                <a:gd name="T53" fmla="*/ 1287 h 1351"/>
                <a:gd name="T54" fmla="*/ 190 w 597"/>
                <a:gd name="T55" fmla="*/ 1271 h 1351"/>
                <a:gd name="T56" fmla="*/ 171 w 597"/>
                <a:gd name="T57" fmla="*/ 1254 h 1351"/>
                <a:gd name="T58" fmla="*/ 154 w 597"/>
                <a:gd name="T59" fmla="*/ 1236 h 1351"/>
                <a:gd name="T60" fmla="*/ 136 w 597"/>
                <a:gd name="T61" fmla="*/ 1219 h 1351"/>
                <a:gd name="T62" fmla="*/ 120 w 597"/>
                <a:gd name="T63" fmla="*/ 1201 h 1351"/>
                <a:gd name="T64" fmla="*/ 105 w 597"/>
                <a:gd name="T65" fmla="*/ 1182 h 1351"/>
                <a:gd name="T66" fmla="*/ 91 w 597"/>
                <a:gd name="T67" fmla="*/ 1163 h 1351"/>
                <a:gd name="T68" fmla="*/ 78 w 597"/>
                <a:gd name="T69" fmla="*/ 1144 h 1351"/>
                <a:gd name="T70" fmla="*/ 65 w 597"/>
                <a:gd name="T71" fmla="*/ 1124 h 1351"/>
                <a:gd name="T72" fmla="*/ 54 w 597"/>
                <a:gd name="T73" fmla="*/ 1104 h 1351"/>
                <a:gd name="T74" fmla="*/ 44 w 597"/>
                <a:gd name="T75" fmla="*/ 1083 h 1351"/>
                <a:gd name="T76" fmla="*/ 34 w 597"/>
                <a:gd name="T77" fmla="*/ 1062 h 1351"/>
                <a:gd name="T78" fmla="*/ 26 w 597"/>
                <a:gd name="T79" fmla="*/ 1041 h 1351"/>
                <a:gd name="T80" fmla="*/ 19 w 597"/>
                <a:gd name="T81" fmla="*/ 1019 h 1351"/>
                <a:gd name="T82" fmla="*/ 13 w 597"/>
                <a:gd name="T83" fmla="*/ 997 h 1351"/>
                <a:gd name="T84" fmla="*/ 8 w 597"/>
                <a:gd name="T85" fmla="*/ 974 h 1351"/>
                <a:gd name="T86" fmla="*/ 4 w 597"/>
                <a:gd name="T87" fmla="*/ 950 h 1351"/>
                <a:gd name="T88" fmla="*/ 2 w 597"/>
                <a:gd name="T89" fmla="*/ 926 h 1351"/>
                <a:gd name="T90" fmla="*/ 0 w 597"/>
                <a:gd name="T91" fmla="*/ 902 h 1351"/>
                <a:gd name="T92" fmla="*/ 0 w 597"/>
                <a:gd name="T93" fmla="*/ 877 h 1351"/>
                <a:gd name="T94" fmla="*/ 1 w 597"/>
                <a:gd name="T95" fmla="*/ 851 h 1351"/>
                <a:gd name="T96" fmla="*/ 3 w 597"/>
                <a:gd name="T97" fmla="*/ 825 h 1351"/>
                <a:gd name="T98" fmla="*/ 6 w 597"/>
                <a:gd name="T99" fmla="*/ 799 h 1351"/>
                <a:gd name="T100" fmla="*/ 11 w 597"/>
                <a:gd name="T101" fmla="*/ 772 h 1351"/>
                <a:gd name="T102" fmla="*/ 17 w 597"/>
                <a:gd name="T103" fmla="*/ 744 h 1351"/>
                <a:gd name="T104" fmla="*/ 24 w 597"/>
                <a:gd name="T105" fmla="*/ 715 h 1351"/>
                <a:gd name="T106" fmla="*/ 33 w 597"/>
                <a:gd name="T107" fmla="*/ 686 h 1351"/>
                <a:gd name="T108" fmla="*/ 42 w 597"/>
                <a:gd name="T109" fmla="*/ 657 h 1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97" h="1351">
                  <a:moveTo>
                    <a:pt x="42" y="657"/>
                  </a:moveTo>
                  <a:lnTo>
                    <a:pt x="42" y="657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8" y="30"/>
                  </a:lnTo>
                  <a:lnTo>
                    <a:pt x="284" y="60"/>
                  </a:lnTo>
                  <a:lnTo>
                    <a:pt x="292" y="90"/>
                  </a:lnTo>
                  <a:lnTo>
                    <a:pt x="302" y="119"/>
                  </a:lnTo>
                  <a:lnTo>
                    <a:pt x="316" y="150"/>
                  </a:lnTo>
                  <a:lnTo>
                    <a:pt x="330" y="178"/>
                  </a:lnTo>
                  <a:lnTo>
                    <a:pt x="348" y="207"/>
                  </a:lnTo>
                  <a:lnTo>
                    <a:pt x="368" y="235"/>
                  </a:lnTo>
                  <a:lnTo>
                    <a:pt x="389" y="262"/>
                  </a:lnTo>
                  <a:lnTo>
                    <a:pt x="413" y="289"/>
                  </a:lnTo>
                  <a:lnTo>
                    <a:pt x="439" y="316"/>
                  </a:lnTo>
                  <a:lnTo>
                    <a:pt x="467" y="342"/>
                  </a:lnTo>
                  <a:lnTo>
                    <a:pt x="496" y="368"/>
                  </a:lnTo>
                  <a:lnTo>
                    <a:pt x="528" y="395"/>
                  </a:lnTo>
                  <a:lnTo>
                    <a:pt x="561" y="418"/>
                  </a:lnTo>
                  <a:lnTo>
                    <a:pt x="597" y="443"/>
                  </a:lnTo>
                  <a:lnTo>
                    <a:pt x="597" y="443"/>
                  </a:lnTo>
                  <a:lnTo>
                    <a:pt x="296" y="1351"/>
                  </a:lnTo>
                  <a:lnTo>
                    <a:pt x="296" y="1351"/>
                  </a:lnTo>
                  <a:lnTo>
                    <a:pt x="273" y="1336"/>
                  </a:lnTo>
                  <a:lnTo>
                    <a:pt x="251" y="1321"/>
                  </a:lnTo>
                  <a:lnTo>
                    <a:pt x="231" y="1304"/>
                  </a:lnTo>
                  <a:lnTo>
                    <a:pt x="210" y="1287"/>
                  </a:lnTo>
                  <a:lnTo>
                    <a:pt x="190" y="1271"/>
                  </a:lnTo>
                  <a:lnTo>
                    <a:pt x="171" y="1254"/>
                  </a:lnTo>
                  <a:lnTo>
                    <a:pt x="154" y="1236"/>
                  </a:lnTo>
                  <a:lnTo>
                    <a:pt x="136" y="1219"/>
                  </a:lnTo>
                  <a:lnTo>
                    <a:pt x="120" y="1201"/>
                  </a:lnTo>
                  <a:lnTo>
                    <a:pt x="105" y="1182"/>
                  </a:lnTo>
                  <a:lnTo>
                    <a:pt x="91" y="1163"/>
                  </a:lnTo>
                  <a:lnTo>
                    <a:pt x="78" y="1144"/>
                  </a:lnTo>
                  <a:lnTo>
                    <a:pt x="65" y="1124"/>
                  </a:lnTo>
                  <a:lnTo>
                    <a:pt x="54" y="1104"/>
                  </a:lnTo>
                  <a:lnTo>
                    <a:pt x="44" y="1083"/>
                  </a:lnTo>
                  <a:lnTo>
                    <a:pt x="34" y="1062"/>
                  </a:lnTo>
                  <a:lnTo>
                    <a:pt x="26" y="1041"/>
                  </a:lnTo>
                  <a:lnTo>
                    <a:pt x="19" y="1019"/>
                  </a:lnTo>
                  <a:lnTo>
                    <a:pt x="13" y="997"/>
                  </a:lnTo>
                  <a:lnTo>
                    <a:pt x="8" y="974"/>
                  </a:lnTo>
                  <a:lnTo>
                    <a:pt x="4" y="950"/>
                  </a:lnTo>
                  <a:lnTo>
                    <a:pt x="2" y="926"/>
                  </a:lnTo>
                  <a:lnTo>
                    <a:pt x="0" y="902"/>
                  </a:lnTo>
                  <a:lnTo>
                    <a:pt x="0" y="877"/>
                  </a:lnTo>
                  <a:lnTo>
                    <a:pt x="1" y="851"/>
                  </a:lnTo>
                  <a:lnTo>
                    <a:pt x="3" y="825"/>
                  </a:lnTo>
                  <a:lnTo>
                    <a:pt x="6" y="799"/>
                  </a:lnTo>
                  <a:lnTo>
                    <a:pt x="11" y="772"/>
                  </a:lnTo>
                  <a:lnTo>
                    <a:pt x="17" y="744"/>
                  </a:lnTo>
                  <a:lnTo>
                    <a:pt x="24" y="715"/>
                  </a:lnTo>
                  <a:lnTo>
                    <a:pt x="33" y="686"/>
                  </a:lnTo>
                  <a:lnTo>
                    <a:pt x="42" y="65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1" name="Freeform 57"/>
            <p:cNvSpPr>
              <a:spLocks/>
            </p:cNvSpPr>
            <p:nvPr/>
          </p:nvSpPr>
          <p:spPr bwMode="auto">
            <a:xfrm flipH="1">
              <a:off x="6743069" y="2693212"/>
              <a:ext cx="100627" cy="190908"/>
            </a:xfrm>
            <a:custGeom>
              <a:avLst/>
              <a:gdLst>
                <a:gd name="T0" fmla="*/ 269 w 545"/>
                <a:gd name="T1" fmla="*/ 0 h 1334"/>
                <a:gd name="T2" fmla="*/ 269 w 545"/>
                <a:gd name="T3" fmla="*/ 0 h 1334"/>
                <a:gd name="T4" fmla="*/ 502 w 545"/>
                <a:gd name="T5" fmla="*/ 655 h 1334"/>
                <a:gd name="T6" fmla="*/ 502 w 545"/>
                <a:gd name="T7" fmla="*/ 655 h 1334"/>
                <a:gd name="T8" fmla="*/ 511 w 545"/>
                <a:gd name="T9" fmla="*/ 683 h 1334"/>
                <a:gd name="T10" fmla="*/ 520 w 545"/>
                <a:gd name="T11" fmla="*/ 711 h 1334"/>
                <a:gd name="T12" fmla="*/ 527 w 545"/>
                <a:gd name="T13" fmla="*/ 738 h 1334"/>
                <a:gd name="T14" fmla="*/ 533 w 545"/>
                <a:gd name="T15" fmla="*/ 766 h 1334"/>
                <a:gd name="T16" fmla="*/ 537 w 545"/>
                <a:gd name="T17" fmla="*/ 793 h 1334"/>
                <a:gd name="T18" fmla="*/ 541 w 545"/>
                <a:gd name="T19" fmla="*/ 818 h 1334"/>
                <a:gd name="T20" fmla="*/ 544 w 545"/>
                <a:gd name="T21" fmla="*/ 844 h 1334"/>
                <a:gd name="T22" fmla="*/ 545 w 545"/>
                <a:gd name="T23" fmla="*/ 869 h 1334"/>
                <a:gd name="T24" fmla="*/ 545 w 545"/>
                <a:gd name="T25" fmla="*/ 893 h 1334"/>
                <a:gd name="T26" fmla="*/ 544 w 545"/>
                <a:gd name="T27" fmla="*/ 917 h 1334"/>
                <a:gd name="T28" fmla="*/ 542 w 545"/>
                <a:gd name="T29" fmla="*/ 940 h 1334"/>
                <a:gd name="T30" fmla="*/ 537 w 545"/>
                <a:gd name="T31" fmla="*/ 962 h 1334"/>
                <a:gd name="T32" fmla="*/ 533 w 545"/>
                <a:gd name="T33" fmla="*/ 985 h 1334"/>
                <a:gd name="T34" fmla="*/ 528 w 545"/>
                <a:gd name="T35" fmla="*/ 1007 h 1334"/>
                <a:gd name="T36" fmla="*/ 522 w 545"/>
                <a:gd name="T37" fmla="*/ 1028 h 1334"/>
                <a:gd name="T38" fmla="*/ 515 w 545"/>
                <a:gd name="T39" fmla="*/ 1050 h 1334"/>
                <a:gd name="T40" fmla="*/ 506 w 545"/>
                <a:gd name="T41" fmla="*/ 1070 h 1334"/>
                <a:gd name="T42" fmla="*/ 497 w 545"/>
                <a:gd name="T43" fmla="*/ 1091 h 1334"/>
                <a:gd name="T44" fmla="*/ 487 w 545"/>
                <a:gd name="T45" fmla="*/ 1110 h 1334"/>
                <a:gd name="T46" fmla="*/ 475 w 545"/>
                <a:gd name="T47" fmla="*/ 1130 h 1334"/>
                <a:gd name="T48" fmla="*/ 463 w 545"/>
                <a:gd name="T49" fmla="*/ 1149 h 1334"/>
                <a:gd name="T50" fmla="*/ 449 w 545"/>
                <a:gd name="T51" fmla="*/ 1168 h 1334"/>
                <a:gd name="T52" fmla="*/ 436 w 545"/>
                <a:gd name="T53" fmla="*/ 1185 h 1334"/>
                <a:gd name="T54" fmla="*/ 420 w 545"/>
                <a:gd name="T55" fmla="*/ 1203 h 1334"/>
                <a:gd name="T56" fmla="*/ 404 w 545"/>
                <a:gd name="T57" fmla="*/ 1221 h 1334"/>
                <a:gd name="T58" fmla="*/ 388 w 545"/>
                <a:gd name="T59" fmla="*/ 1239 h 1334"/>
                <a:gd name="T60" fmla="*/ 370 w 545"/>
                <a:gd name="T61" fmla="*/ 1255 h 1334"/>
                <a:gd name="T62" fmla="*/ 352 w 545"/>
                <a:gd name="T63" fmla="*/ 1271 h 1334"/>
                <a:gd name="T64" fmla="*/ 333 w 545"/>
                <a:gd name="T65" fmla="*/ 1288 h 1334"/>
                <a:gd name="T66" fmla="*/ 313 w 545"/>
                <a:gd name="T67" fmla="*/ 1303 h 1334"/>
                <a:gd name="T68" fmla="*/ 292 w 545"/>
                <a:gd name="T69" fmla="*/ 1319 h 1334"/>
                <a:gd name="T70" fmla="*/ 271 w 545"/>
                <a:gd name="T71" fmla="*/ 1334 h 1334"/>
                <a:gd name="T72" fmla="*/ 271 w 545"/>
                <a:gd name="T73" fmla="*/ 1334 h 1334"/>
                <a:gd name="T74" fmla="*/ 0 w 545"/>
                <a:gd name="T75" fmla="*/ 404 h 1334"/>
                <a:gd name="T76" fmla="*/ 0 w 545"/>
                <a:gd name="T77" fmla="*/ 404 h 1334"/>
                <a:gd name="T78" fmla="*/ 30 w 545"/>
                <a:gd name="T79" fmla="*/ 382 h 1334"/>
                <a:gd name="T80" fmla="*/ 58 w 545"/>
                <a:gd name="T81" fmla="*/ 359 h 1334"/>
                <a:gd name="T82" fmla="*/ 84 w 545"/>
                <a:gd name="T83" fmla="*/ 335 h 1334"/>
                <a:gd name="T84" fmla="*/ 109 w 545"/>
                <a:gd name="T85" fmla="*/ 311 h 1334"/>
                <a:gd name="T86" fmla="*/ 132 w 545"/>
                <a:gd name="T87" fmla="*/ 287 h 1334"/>
                <a:gd name="T88" fmla="*/ 154 w 545"/>
                <a:gd name="T89" fmla="*/ 262 h 1334"/>
                <a:gd name="T90" fmla="*/ 174 w 545"/>
                <a:gd name="T91" fmla="*/ 237 h 1334"/>
                <a:gd name="T92" fmla="*/ 191 w 545"/>
                <a:gd name="T93" fmla="*/ 212 h 1334"/>
                <a:gd name="T94" fmla="*/ 208 w 545"/>
                <a:gd name="T95" fmla="*/ 187 h 1334"/>
                <a:gd name="T96" fmla="*/ 222 w 545"/>
                <a:gd name="T97" fmla="*/ 161 h 1334"/>
                <a:gd name="T98" fmla="*/ 235 w 545"/>
                <a:gd name="T99" fmla="*/ 135 h 1334"/>
                <a:gd name="T100" fmla="*/ 245 w 545"/>
                <a:gd name="T101" fmla="*/ 108 h 1334"/>
                <a:gd name="T102" fmla="*/ 255 w 545"/>
                <a:gd name="T103" fmla="*/ 81 h 1334"/>
                <a:gd name="T104" fmla="*/ 261 w 545"/>
                <a:gd name="T105" fmla="*/ 55 h 1334"/>
                <a:gd name="T106" fmla="*/ 266 w 545"/>
                <a:gd name="T107" fmla="*/ 27 h 1334"/>
                <a:gd name="T108" fmla="*/ 269 w 545"/>
                <a:gd name="T109" fmla="*/ 0 h 1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45" h="1334">
                  <a:moveTo>
                    <a:pt x="269" y="0"/>
                  </a:moveTo>
                  <a:lnTo>
                    <a:pt x="269" y="0"/>
                  </a:lnTo>
                  <a:lnTo>
                    <a:pt x="502" y="655"/>
                  </a:lnTo>
                  <a:lnTo>
                    <a:pt x="502" y="655"/>
                  </a:lnTo>
                  <a:lnTo>
                    <a:pt x="511" y="683"/>
                  </a:lnTo>
                  <a:lnTo>
                    <a:pt x="520" y="711"/>
                  </a:lnTo>
                  <a:lnTo>
                    <a:pt x="527" y="738"/>
                  </a:lnTo>
                  <a:lnTo>
                    <a:pt x="533" y="766"/>
                  </a:lnTo>
                  <a:lnTo>
                    <a:pt x="537" y="793"/>
                  </a:lnTo>
                  <a:lnTo>
                    <a:pt x="541" y="818"/>
                  </a:lnTo>
                  <a:lnTo>
                    <a:pt x="544" y="844"/>
                  </a:lnTo>
                  <a:lnTo>
                    <a:pt x="545" y="869"/>
                  </a:lnTo>
                  <a:lnTo>
                    <a:pt x="545" y="893"/>
                  </a:lnTo>
                  <a:lnTo>
                    <a:pt x="544" y="917"/>
                  </a:lnTo>
                  <a:lnTo>
                    <a:pt x="542" y="940"/>
                  </a:lnTo>
                  <a:lnTo>
                    <a:pt x="537" y="962"/>
                  </a:lnTo>
                  <a:lnTo>
                    <a:pt x="533" y="985"/>
                  </a:lnTo>
                  <a:lnTo>
                    <a:pt x="528" y="1007"/>
                  </a:lnTo>
                  <a:lnTo>
                    <a:pt x="522" y="1028"/>
                  </a:lnTo>
                  <a:lnTo>
                    <a:pt x="515" y="1050"/>
                  </a:lnTo>
                  <a:lnTo>
                    <a:pt x="506" y="1070"/>
                  </a:lnTo>
                  <a:lnTo>
                    <a:pt x="497" y="1091"/>
                  </a:lnTo>
                  <a:lnTo>
                    <a:pt x="487" y="1110"/>
                  </a:lnTo>
                  <a:lnTo>
                    <a:pt x="475" y="1130"/>
                  </a:lnTo>
                  <a:lnTo>
                    <a:pt x="463" y="1149"/>
                  </a:lnTo>
                  <a:lnTo>
                    <a:pt x="449" y="1168"/>
                  </a:lnTo>
                  <a:lnTo>
                    <a:pt x="436" y="1185"/>
                  </a:lnTo>
                  <a:lnTo>
                    <a:pt x="420" y="1203"/>
                  </a:lnTo>
                  <a:lnTo>
                    <a:pt x="404" y="1221"/>
                  </a:lnTo>
                  <a:lnTo>
                    <a:pt x="388" y="1239"/>
                  </a:lnTo>
                  <a:lnTo>
                    <a:pt x="370" y="1255"/>
                  </a:lnTo>
                  <a:lnTo>
                    <a:pt x="352" y="1271"/>
                  </a:lnTo>
                  <a:lnTo>
                    <a:pt x="333" y="1288"/>
                  </a:lnTo>
                  <a:lnTo>
                    <a:pt x="313" y="1303"/>
                  </a:lnTo>
                  <a:lnTo>
                    <a:pt x="292" y="1319"/>
                  </a:lnTo>
                  <a:lnTo>
                    <a:pt x="271" y="1334"/>
                  </a:lnTo>
                  <a:lnTo>
                    <a:pt x="271" y="1334"/>
                  </a:lnTo>
                  <a:lnTo>
                    <a:pt x="0" y="404"/>
                  </a:lnTo>
                  <a:lnTo>
                    <a:pt x="0" y="404"/>
                  </a:lnTo>
                  <a:lnTo>
                    <a:pt x="30" y="382"/>
                  </a:lnTo>
                  <a:lnTo>
                    <a:pt x="58" y="359"/>
                  </a:lnTo>
                  <a:lnTo>
                    <a:pt x="84" y="335"/>
                  </a:lnTo>
                  <a:lnTo>
                    <a:pt x="109" y="311"/>
                  </a:lnTo>
                  <a:lnTo>
                    <a:pt x="132" y="287"/>
                  </a:lnTo>
                  <a:lnTo>
                    <a:pt x="154" y="262"/>
                  </a:lnTo>
                  <a:lnTo>
                    <a:pt x="174" y="237"/>
                  </a:lnTo>
                  <a:lnTo>
                    <a:pt x="191" y="212"/>
                  </a:lnTo>
                  <a:lnTo>
                    <a:pt x="208" y="187"/>
                  </a:lnTo>
                  <a:lnTo>
                    <a:pt x="222" y="161"/>
                  </a:lnTo>
                  <a:lnTo>
                    <a:pt x="235" y="135"/>
                  </a:lnTo>
                  <a:lnTo>
                    <a:pt x="245" y="108"/>
                  </a:lnTo>
                  <a:lnTo>
                    <a:pt x="255" y="81"/>
                  </a:lnTo>
                  <a:lnTo>
                    <a:pt x="261" y="55"/>
                  </a:lnTo>
                  <a:lnTo>
                    <a:pt x="266" y="27"/>
                  </a:lnTo>
                  <a:lnTo>
                    <a:pt x="26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2" name="Freeform 58"/>
            <p:cNvSpPr>
              <a:spLocks noEditPoints="1"/>
            </p:cNvSpPr>
            <p:nvPr/>
          </p:nvSpPr>
          <p:spPr bwMode="auto">
            <a:xfrm flipH="1">
              <a:off x="6846276" y="2455867"/>
              <a:ext cx="638595" cy="223156"/>
            </a:xfrm>
            <a:custGeom>
              <a:avLst/>
              <a:gdLst>
                <a:gd name="T0" fmla="*/ 0 w 3464"/>
                <a:gd name="T1" fmla="*/ 844 h 1560"/>
                <a:gd name="T2" fmla="*/ 10 w 3464"/>
                <a:gd name="T3" fmla="*/ 899 h 1560"/>
                <a:gd name="T4" fmla="*/ 42 w 3464"/>
                <a:gd name="T5" fmla="*/ 981 h 1560"/>
                <a:gd name="T6" fmla="*/ 93 w 3464"/>
                <a:gd name="T7" fmla="*/ 1058 h 1560"/>
                <a:gd name="T8" fmla="*/ 163 w 3464"/>
                <a:gd name="T9" fmla="*/ 1132 h 1560"/>
                <a:gd name="T10" fmla="*/ 250 w 3464"/>
                <a:gd name="T11" fmla="*/ 1201 h 1560"/>
                <a:gd name="T12" fmla="*/ 317 w 3464"/>
                <a:gd name="T13" fmla="*/ 1245 h 1560"/>
                <a:gd name="T14" fmla="*/ 586 w 3464"/>
                <a:gd name="T15" fmla="*/ 322 h 1560"/>
                <a:gd name="T16" fmla="*/ 496 w 3464"/>
                <a:gd name="T17" fmla="*/ 265 h 1560"/>
                <a:gd name="T18" fmla="*/ 422 w 3464"/>
                <a:gd name="T19" fmla="*/ 204 h 1560"/>
                <a:gd name="T20" fmla="*/ 363 w 3464"/>
                <a:gd name="T21" fmla="*/ 139 h 1560"/>
                <a:gd name="T22" fmla="*/ 323 w 3464"/>
                <a:gd name="T23" fmla="*/ 71 h 1560"/>
                <a:gd name="T24" fmla="*/ 299 w 3464"/>
                <a:gd name="T25" fmla="*/ 0 h 1560"/>
                <a:gd name="T26" fmla="*/ 1732 w 3464"/>
                <a:gd name="T27" fmla="*/ 1560 h 1560"/>
                <a:gd name="T28" fmla="*/ 1469 w 3464"/>
                <a:gd name="T29" fmla="*/ 1552 h 1560"/>
                <a:gd name="T30" fmla="*/ 1219 w 3464"/>
                <a:gd name="T31" fmla="*/ 1527 h 1560"/>
                <a:gd name="T32" fmla="*/ 983 w 3464"/>
                <a:gd name="T33" fmla="*/ 1487 h 1560"/>
                <a:gd name="T34" fmla="*/ 765 w 3464"/>
                <a:gd name="T35" fmla="*/ 1433 h 1560"/>
                <a:gd name="T36" fmla="*/ 570 w 3464"/>
                <a:gd name="T37" fmla="*/ 1367 h 1560"/>
                <a:gd name="T38" fmla="*/ 747 w 3464"/>
                <a:gd name="T39" fmla="*/ 399 h 1560"/>
                <a:gd name="T40" fmla="*/ 848 w 3464"/>
                <a:gd name="T41" fmla="*/ 437 h 1560"/>
                <a:gd name="T42" fmla="*/ 1014 w 3464"/>
                <a:gd name="T43" fmla="*/ 485 h 1560"/>
                <a:gd name="T44" fmla="*/ 1195 w 3464"/>
                <a:gd name="T45" fmla="*/ 523 h 1560"/>
                <a:gd name="T46" fmla="*/ 1389 w 3464"/>
                <a:gd name="T47" fmla="*/ 550 h 1560"/>
                <a:gd name="T48" fmla="*/ 1595 w 3464"/>
                <a:gd name="T49" fmla="*/ 565 h 1560"/>
                <a:gd name="T50" fmla="*/ 1736 w 3464"/>
                <a:gd name="T51" fmla="*/ 568 h 1560"/>
                <a:gd name="T52" fmla="*/ 1913 w 3464"/>
                <a:gd name="T53" fmla="*/ 564 h 1560"/>
                <a:gd name="T54" fmla="*/ 2083 w 3464"/>
                <a:gd name="T55" fmla="*/ 550 h 1560"/>
                <a:gd name="T56" fmla="*/ 2192 w 3464"/>
                <a:gd name="T57" fmla="*/ 537 h 1560"/>
                <a:gd name="T58" fmla="*/ 2223 w 3464"/>
                <a:gd name="T59" fmla="*/ 1530 h 1560"/>
                <a:gd name="T60" fmla="*/ 2018 w 3464"/>
                <a:gd name="T61" fmla="*/ 1549 h 1560"/>
                <a:gd name="T62" fmla="*/ 1805 w 3464"/>
                <a:gd name="T63" fmla="*/ 1559 h 1560"/>
                <a:gd name="T64" fmla="*/ 3228 w 3464"/>
                <a:gd name="T65" fmla="*/ 1191 h 1560"/>
                <a:gd name="T66" fmla="*/ 2962 w 3464"/>
                <a:gd name="T67" fmla="*/ 275 h 1560"/>
                <a:gd name="T68" fmla="*/ 3020 w 3464"/>
                <a:gd name="T69" fmla="*/ 231 h 1560"/>
                <a:gd name="T70" fmla="*/ 3069 w 3464"/>
                <a:gd name="T71" fmla="*/ 186 h 1560"/>
                <a:gd name="T72" fmla="*/ 3111 w 3464"/>
                <a:gd name="T73" fmla="*/ 138 h 1560"/>
                <a:gd name="T74" fmla="*/ 3142 w 3464"/>
                <a:gd name="T75" fmla="*/ 88 h 1560"/>
                <a:gd name="T76" fmla="*/ 3165 w 3464"/>
                <a:gd name="T77" fmla="*/ 37 h 1560"/>
                <a:gd name="T78" fmla="*/ 3464 w 3464"/>
                <a:gd name="T79" fmla="*/ 848 h 1560"/>
                <a:gd name="T80" fmla="*/ 3456 w 3464"/>
                <a:gd name="T81" fmla="*/ 894 h 1560"/>
                <a:gd name="T82" fmla="*/ 3432 w 3464"/>
                <a:gd name="T83" fmla="*/ 963 h 1560"/>
                <a:gd name="T84" fmla="*/ 3394 w 3464"/>
                <a:gd name="T85" fmla="*/ 1028 h 1560"/>
                <a:gd name="T86" fmla="*/ 3342 w 3464"/>
                <a:gd name="T87" fmla="*/ 1092 h 1560"/>
                <a:gd name="T88" fmla="*/ 3278 w 3464"/>
                <a:gd name="T89" fmla="*/ 1152 h 1560"/>
                <a:gd name="T90" fmla="*/ 3228 w 3464"/>
                <a:gd name="T91" fmla="*/ 1191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464" h="1560">
                  <a:moveTo>
                    <a:pt x="299" y="0"/>
                  </a:moveTo>
                  <a:lnTo>
                    <a:pt x="299" y="0"/>
                  </a:lnTo>
                  <a:lnTo>
                    <a:pt x="0" y="844"/>
                  </a:lnTo>
                  <a:lnTo>
                    <a:pt x="0" y="844"/>
                  </a:lnTo>
                  <a:lnTo>
                    <a:pt x="3" y="872"/>
                  </a:lnTo>
                  <a:lnTo>
                    <a:pt x="10" y="899"/>
                  </a:lnTo>
                  <a:lnTo>
                    <a:pt x="18" y="926"/>
                  </a:lnTo>
                  <a:lnTo>
                    <a:pt x="28" y="953"/>
                  </a:lnTo>
                  <a:lnTo>
                    <a:pt x="42" y="981"/>
                  </a:lnTo>
                  <a:lnTo>
                    <a:pt x="56" y="1007"/>
                  </a:lnTo>
                  <a:lnTo>
                    <a:pt x="74" y="1033"/>
                  </a:lnTo>
                  <a:lnTo>
                    <a:pt x="93" y="1058"/>
                  </a:lnTo>
                  <a:lnTo>
                    <a:pt x="115" y="1083"/>
                  </a:lnTo>
                  <a:lnTo>
                    <a:pt x="138" y="1108"/>
                  </a:lnTo>
                  <a:lnTo>
                    <a:pt x="163" y="1132"/>
                  </a:lnTo>
                  <a:lnTo>
                    <a:pt x="191" y="1156"/>
                  </a:lnTo>
                  <a:lnTo>
                    <a:pt x="220" y="1179"/>
                  </a:lnTo>
                  <a:lnTo>
                    <a:pt x="250" y="1201"/>
                  </a:lnTo>
                  <a:lnTo>
                    <a:pt x="283" y="1223"/>
                  </a:lnTo>
                  <a:lnTo>
                    <a:pt x="317" y="1245"/>
                  </a:lnTo>
                  <a:lnTo>
                    <a:pt x="317" y="1245"/>
                  </a:lnTo>
                  <a:lnTo>
                    <a:pt x="618" y="340"/>
                  </a:lnTo>
                  <a:lnTo>
                    <a:pt x="618" y="340"/>
                  </a:lnTo>
                  <a:lnTo>
                    <a:pt x="586" y="322"/>
                  </a:lnTo>
                  <a:lnTo>
                    <a:pt x="554" y="303"/>
                  </a:lnTo>
                  <a:lnTo>
                    <a:pt x="524" y="285"/>
                  </a:lnTo>
                  <a:lnTo>
                    <a:pt x="496" y="265"/>
                  </a:lnTo>
                  <a:lnTo>
                    <a:pt x="470" y="245"/>
                  </a:lnTo>
                  <a:lnTo>
                    <a:pt x="445" y="225"/>
                  </a:lnTo>
                  <a:lnTo>
                    <a:pt x="422" y="204"/>
                  </a:lnTo>
                  <a:lnTo>
                    <a:pt x="401" y="182"/>
                  </a:lnTo>
                  <a:lnTo>
                    <a:pt x="381" y="161"/>
                  </a:lnTo>
                  <a:lnTo>
                    <a:pt x="363" y="139"/>
                  </a:lnTo>
                  <a:lnTo>
                    <a:pt x="348" y="117"/>
                  </a:lnTo>
                  <a:lnTo>
                    <a:pt x="334" y="94"/>
                  </a:lnTo>
                  <a:lnTo>
                    <a:pt x="323" y="71"/>
                  </a:lnTo>
                  <a:lnTo>
                    <a:pt x="312" y="47"/>
                  </a:lnTo>
                  <a:lnTo>
                    <a:pt x="305" y="24"/>
                  </a:lnTo>
                  <a:lnTo>
                    <a:pt x="299" y="0"/>
                  </a:lnTo>
                  <a:lnTo>
                    <a:pt x="299" y="0"/>
                  </a:lnTo>
                  <a:close/>
                  <a:moveTo>
                    <a:pt x="1732" y="1560"/>
                  </a:moveTo>
                  <a:lnTo>
                    <a:pt x="1732" y="1560"/>
                  </a:lnTo>
                  <a:lnTo>
                    <a:pt x="1643" y="1559"/>
                  </a:lnTo>
                  <a:lnTo>
                    <a:pt x="1556" y="1556"/>
                  </a:lnTo>
                  <a:lnTo>
                    <a:pt x="1469" y="1552"/>
                  </a:lnTo>
                  <a:lnTo>
                    <a:pt x="1384" y="1544"/>
                  </a:lnTo>
                  <a:lnTo>
                    <a:pt x="1301" y="1536"/>
                  </a:lnTo>
                  <a:lnTo>
                    <a:pt x="1219" y="1527"/>
                  </a:lnTo>
                  <a:lnTo>
                    <a:pt x="1138" y="1515"/>
                  </a:lnTo>
                  <a:lnTo>
                    <a:pt x="1060" y="1502"/>
                  </a:lnTo>
                  <a:lnTo>
                    <a:pt x="983" y="1487"/>
                  </a:lnTo>
                  <a:lnTo>
                    <a:pt x="909" y="1470"/>
                  </a:lnTo>
                  <a:lnTo>
                    <a:pt x="836" y="1453"/>
                  </a:lnTo>
                  <a:lnTo>
                    <a:pt x="765" y="1433"/>
                  </a:lnTo>
                  <a:lnTo>
                    <a:pt x="698" y="1413"/>
                  </a:lnTo>
                  <a:lnTo>
                    <a:pt x="632" y="1391"/>
                  </a:lnTo>
                  <a:lnTo>
                    <a:pt x="570" y="1367"/>
                  </a:lnTo>
                  <a:lnTo>
                    <a:pt x="510" y="1343"/>
                  </a:lnTo>
                  <a:lnTo>
                    <a:pt x="510" y="1343"/>
                  </a:lnTo>
                  <a:lnTo>
                    <a:pt x="747" y="399"/>
                  </a:lnTo>
                  <a:lnTo>
                    <a:pt x="747" y="399"/>
                  </a:lnTo>
                  <a:lnTo>
                    <a:pt x="796" y="418"/>
                  </a:lnTo>
                  <a:lnTo>
                    <a:pt x="848" y="437"/>
                  </a:lnTo>
                  <a:lnTo>
                    <a:pt x="901" y="453"/>
                  </a:lnTo>
                  <a:lnTo>
                    <a:pt x="957" y="470"/>
                  </a:lnTo>
                  <a:lnTo>
                    <a:pt x="1014" y="485"/>
                  </a:lnTo>
                  <a:lnTo>
                    <a:pt x="1072" y="499"/>
                  </a:lnTo>
                  <a:lnTo>
                    <a:pt x="1132" y="512"/>
                  </a:lnTo>
                  <a:lnTo>
                    <a:pt x="1195" y="523"/>
                  </a:lnTo>
                  <a:lnTo>
                    <a:pt x="1258" y="534"/>
                  </a:lnTo>
                  <a:lnTo>
                    <a:pt x="1323" y="543"/>
                  </a:lnTo>
                  <a:lnTo>
                    <a:pt x="1389" y="550"/>
                  </a:lnTo>
                  <a:lnTo>
                    <a:pt x="1457" y="556"/>
                  </a:lnTo>
                  <a:lnTo>
                    <a:pt x="1525" y="562"/>
                  </a:lnTo>
                  <a:lnTo>
                    <a:pt x="1595" y="565"/>
                  </a:lnTo>
                  <a:lnTo>
                    <a:pt x="1665" y="568"/>
                  </a:lnTo>
                  <a:lnTo>
                    <a:pt x="1736" y="568"/>
                  </a:lnTo>
                  <a:lnTo>
                    <a:pt x="1736" y="568"/>
                  </a:lnTo>
                  <a:lnTo>
                    <a:pt x="1796" y="568"/>
                  </a:lnTo>
                  <a:lnTo>
                    <a:pt x="1855" y="566"/>
                  </a:lnTo>
                  <a:lnTo>
                    <a:pt x="1913" y="564"/>
                  </a:lnTo>
                  <a:lnTo>
                    <a:pt x="1970" y="561"/>
                  </a:lnTo>
                  <a:lnTo>
                    <a:pt x="2028" y="555"/>
                  </a:lnTo>
                  <a:lnTo>
                    <a:pt x="2083" y="550"/>
                  </a:lnTo>
                  <a:lnTo>
                    <a:pt x="2138" y="544"/>
                  </a:lnTo>
                  <a:lnTo>
                    <a:pt x="2192" y="537"/>
                  </a:lnTo>
                  <a:lnTo>
                    <a:pt x="2192" y="537"/>
                  </a:lnTo>
                  <a:lnTo>
                    <a:pt x="2289" y="1520"/>
                  </a:lnTo>
                  <a:lnTo>
                    <a:pt x="2289" y="1520"/>
                  </a:lnTo>
                  <a:lnTo>
                    <a:pt x="2223" y="1530"/>
                  </a:lnTo>
                  <a:lnTo>
                    <a:pt x="2155" y="1537"/>
                  </a:lnTo>
                  <a:lnTo>
                    <a:pt x="2087" y="1544"/>
                  </a:lnTo>
                  <a:lnTo>
                    <a:pt x="2018" y="1549"/>
                  </a:lnTo>
                  <a:lnTo>
                    <a:pt x="1948" y="1554"/>
                  </a:lnTo>
                  <a:lnTo>
                    <a:pt x="1877" y="1557"/>
                  </a:lnTo>
                  <a:lnTo>
                    <a:pt x="1805" y="1559"/>
                  </a:lnTo>
                  <a:lnTo>
                    <a:pt x="1732" y="1560"/>
                  </a:lnTo>
                  <a:lnTo>
                    <a:pt x="1732" y="1560"/>
                  </a:lnTo>
                  <a:close/>
                  <a:moveTo>
                    <a:pt x="3228" y="1191"/>
                  </a:moveTo>
                  <a:lnTo>
                    <a:pt x="3228" y="1191"/>
                  </a:lnTo>
                  <a:lnTo>
                    <a:pt x="2962" y="275"/>
                  </a:lnTo>
                  <a:lnTo>
                    <a:pt x="2962" y="275"/>
                  </a:lnTo>
                  <a:lnTo>
                    <a:pt x="2982" y="262"/>
                  </a:lnTo>
                  <a:lnTo>
                    <a:pt x="3002" y="247"/>
                  </a:lnTo>
                  <a:lnTo>
                    <a:pt x="3020" y="231"/>
                  </a:lnTo>
                  <a:lnTo>
                    <a:pt x="3037" y="217"/>
                  </a:lnTo>
                  <a:lnTo>
                    <a:pt x="3054" y="201"/>
                  </a:lnTo>
                  <a:lnTo>
                    <a:pt x="3069" y="186"/>
                  </a:lnTo>
                  <a:lnTo>
                    <a:pt x="3084" y="170"/>
                  </a:lnTo>
                  <a:lnTo>
                    <a:pt x="3098" y="154"/>
                  </a:lnTo>
                  <a:lnTo>
                    <a:pt x="3111" y="138"/>
                  </a:lnTo>
                  <a:lnTo>
                    <a:pt x="3122" y="121"/>
                  </a:lnTo>
                  <a:lnTo>
                    <a:pt x="3133" y="105"/>
                  </a:lnTo>
                  <a:lnTo>
                    <a:pt x="3142" y="88"/>
                  </a:lnTo>
                  <a:lnTo>
                    <a:pt x="3151" y="71"/>
                  </a:lnTo>
                  <a:lnTo>
                    <a:pt x="3159" y="54"/>
                  </a:lnTo>
                  <a:lnTo>
                    <a:pt x="3165" y="37"/>
                  </a:lnTo>
                  <a:lnTo>
                    <a:pt x="3170" y="19"/>
                  </a:lnTo>
                  <a:lnTo>
                    <a:pt x="3170" y="19"/>
                  </a:lnTo>
                  <a:lnTo>
                    <a:pt x="3464" y="848"/>
                  </a:lnTo>
                  <a:lnTo>
                    <a:pt x="3464" y="848"/>
                  </a:lnTo>
                  <a:lnTo>
                    <a:pt x="3461" y="871"/>
                  </a:lnTo>
                  <a:lnTo>
                    <a:pt x="3456" y="894"/>
                  </a:lnTo>
                  <a:lnTo>
                    <a:pt x="3450" y="917"/>
                  </a:lnTo>
                  <a:lnTo>
                    <a:pt x="3441" y="940"/>
                  </a:lnTo>
                  <a:lnTo>
                    <a:pt x="3432" y="963"/>
                  </a:lnTo>
                  <a:lnTo>
                    <a:pt x="3421" y="985"/>
                  </a:lnTo>
                  <a:lnTo>
                    <a:pt x="3408" y="1007"/>
                  </a:lnTo>
                  <a:lnTo>
                    <a:pt x="3394" y="1028"/>
                  </a:lnTo>
                  <a:lnTo>
                    <a:pt x="3378" y="1049"/>
                  </a:lnTo>
                  <a:lnTo>
                    <a:pt x="3360" y="1071"/>
                  </a:lnTo>
                  <a:lnTo>
                    <a:pt x="3342" y="1092"/>
                  </a:lnTo>
                  <a:lnTo>
                    <a:pt x="3322" y="1112"/>
                  </a:lnTo>
                  <a:lnTo>
                    <a:pt x="3300" y="1133"/>
                  </a:lnTo>
                  <a:lnTo>
                    <a:pt x="3278" y="1152"/>
                  </a:lnTo>
                  <a:lnTo>
                    <a:pt x="3253" y="1172"/>
                  </a:lnTo>
                  <a:lnTo>
                    <a:pt x="3228" y="1191"/>
                  </a:lnTo>
                  <a:lnTo>
                    <a:pt x="3228" y="1191"/>
                  </a:lnTo>
                  <a:close/>
                </a:path>
              </a:pathLst>
            </a:custGeom>
            <a:solidFill>
              <a:srgbClr val="E6E7E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3" name="Freeform 59"/>
            <p:cNvSpPr>
              <a:spLocks noEditPoints="1"/>
            </p:cNvSpPr>
            <p:nvPr/>
          </p:nvSpPr>
          <p:spPr bwMode="auto">
            <a:xfrm flipH="1">
              <a:off x="6953353" y="2226262"/>
              <a:ext cx="424440" cy="176719"/>
            </a:xfrm>
            <a:custGeom>
              <a:avLst/>
              <a:gdLst>
                <a:gd name="T0" fmla="*/ 1155 w 2305"/>
                <a:gd name="T1" fmla="*/ 237 h 1240"/>
                <a:gd name="T2" fmla="*/ 1014 w 2305"/>
                <a:gd name="T3" fmla="*/ 232 h 1240"/>
                <a:gd name="T4" fmla="*/ 879 w 2305"/>
                <a:gd name="T5" fmla="*/ 219 h 1240"/>
                <a:gd name="T6" fmla="*/ 752 w 2305"/>
                <a:gd name="T7" fmla="*/ 199 h 1240"/>
                <a:gd name="T8" fmla="*/ 635 w 2305"/>
                <a:gd name="T9" fmla="*/ 170 h 1240"/>
                <a:gd name="T10" fmla="*/ 528 w 2305"/>
                <a:gd name="T11" fmla="*/ 136 h 1240"/>
                <a:gd name="T12" fmla="*/ 479 w 2305"/>
                <a:gd name="T13" fmla="*/ 117 h 1240"/>
                <a:gd name="T14" fmla="*/ 433 w 2305"/>
                <a:gd name="T15" fmla="*/ 96 h 1240"/>
                <a:gd name="T16" fmla="*/ 390 w 2305"/>
                <a:gd name="T17" fmla="*/ 74 h 1240"/>
                <a:gd name="T18" fmla="*/ 352 w 2305"/>
                <a:gd name="T19" fmla="*/ 51 h 1240"/>
                <a:gd name="T20" fmla="*/ 316 w 2305"/>
                <a:gd name="T21" fmla="*/ 26 h 1240"/>
                <a:gd name="T22" fmla="*/ 285 w 2305"/>
                <a:gd name="T23" fmla="*/ 0 h 1240"/>
                <a:gd name="T24" fmla="*/ 0 w 2305"/>
                <a:gd name="T25" fmla="*/ 805 h 1240"/>
                <a:gd name="T26" fmla="*/ 9 w 2305"/>
                <a:gd name="T27" fmla="*/ 828 h 1240"/>
                <a:gd name="T28" fmla="*/ 32 w 2305"/>
                <a:gd name="T29" fmla="*/ 872 h 1240"/>
                <a:gd name="T30" fmla="*/ 65 w 2305"/>
                <a:gd name="T31" fmla="*/ 915 h 1240"/>
                <a:gd name="T32" fmla="*/ 105 w 2305"/>
                <a:gd name="T33" fmla="*/ 956 h 1240"/>
                <a:gd name="T34" fmla="*/ 155 w 2305"/>
                <a:gd name="T35" fmla="*/ 996 h 1240"/>
                <a:gd name="T36" fmla="*/ 211 w 2305"/>
                <a:gd name="T37" fmla="*/ 1032 h 1240"/>
                <a:gd name="T38" fmla="*/ 276 w 2305"/>
                <a:gd name="T39" fmla="*/ 1067 h 1240"/>
                <a:gd name="T40" fmla="*/ 347 w 2305"/>
                <a:gd name="T41" fmla="*/ 1099 h 1240"/>
                <a:gd name="T42" fmla="*/ 424 w 2305"/>
                <a:gd name="T43" fmla="*/ 1128 h 1240"/>
                <a:gd name="T44" fmla="*/ 507 w 2305"/>
                <a:gd name="T45" fmla="*/ 1154 h 1240"/>
                <a:gd name="T46" fmla="*/ 595 w 2305"/>
                <a:gd name="T47" fmla="*/ 1177 h 1240"/>
                <a:gd name="T48" fmla="*/ 688 w 2305"/>
                <a:gd name="T49" fmla="*/ 1197 h 1240"/>
                <a:gd name="T50" fmla="*/ 785 w 2305"/>
                <a:gd name="T51" fmla="*/ 1213 h 1240"/>
                <a:gd name="T52" fmla="*/ 887 w 2305"/>
                <a:gd name="T53" fmla="*/ 1226 h 1240"/>
                <a:gd name="T54" fmla="*/ 992 w 2305"/>
                <a:gd name="T55" fmla="*/ 1234 h 1240"/>
                <a:gd name="T56" fmla="*/ 1100 w 2305"/>
                <a:gd name="T57" fmla="*/ 1238 h 1240"/>
                <a:gd name="T58" fmla="*/ 1155 w 2305"/>
                <a:gd name="T59" fmla="*/ 1240 h 1240"/>
                <a:gd name="T60" fmla="*/ 1250 w 2305"/>
                <a:gd name="T61" fmla="*/ 1237 h 1240"/>
                <a:gd name="T62" fmla="*/ 1343 w 2305"/>
                <a:gd name="T63" fmla="*/ 1232 h 1240"/>
                <a:gd name="T64" fmla="*/ 1433 w 2305"/>
                <a:gd name="T65" fmla="*/ 1225 h 1240"/>
                <a:gd name="T66" fmla="*/ 1520 w 2305"/>
                <a:gd name="T67" fmla="*/ 1213 h 1240"/>
                <a:gd name="T68" fmla="*/ 1424 w 2305"/>
                <a:gd name="T69" fmla="*/ 220 h 1240"/>
                <a:gd name="T70" fmla="*/ 1359 w 2305"/>
                <a:gd name="T71" fmla="*/ 228 h 1240"/>
                <a:gd name="T72" fmla="*/ 1225 w 2305"/>
                <a:gd name="T73" fmla="*/ 236 h 1240"/>
                <a:gd name="T74" fmla="*/ 1155 w 2305"/>
                <a:gd name="T75" fmla="*/ 237 h 1240"/>
                <a:gd name="T76" fmla="*/ 2130 w 2305"/>
                <a:gd name="T77" fmla="*/ 1013 h 1240"/>
                <a:gd name="T78" fmla="*/ 1866 w 2305"/>
                <a:gd name="T79" fmla="*/ 103 h 1240"/>
                <a:gd name="T80" fmla="*/ 1908 w 2305"/>
                <a:gd name="T81" fmla="*/ 81 h 1240"/>
                <a:gd name="T82" fmla="*/ 1948 w 2305"/>
                <a:gd name="T83" fmla="*/ 58 h 1240"/>
                <a:gd name="T84" fmla="*/ 1984 w 2305"/>
                <a:gd name="T85" fmla="*/ 34 h 1240"/>
                <a:gd name="T86" fmla="*/ 2015 w 2305"/>
                <a:gd name="T87" fmla="*/ 9 h 1240"/>
                <a:gd name="T88" fmla="*/ 2305 w 2305"/>
                <a:gd name="T89" fmla="*/ 822 h 1240"/>
                <a:gd name="T90" fmla="*/ 2300 w 2305"/>
                <a:gd name="T91" fmla="*/ 835 h 1240"/>
                <a:gd name="T92" fmla="*/ 2287 w 2305"/>
                <a:gd name="T93" fmla="*/ 860 h 1240"/>
                <a:gd name="T94" fmla="*/ 2270 w 2305"/>
                <a:gd name="T95" fmla="*/ 886 h 1240"/>
                <a:gd name="T96" fmla="*/ 2250 w 2305"/>
                <a:gd name="T97" fmla="*/ 910 h 1240"/>
                <a:gd name="T98" fmla="*/ 2217 w 2305"/>
                <a:gd name="T99" fmla="*/ 946 h 1240"/>
                <a:gd name="T100" fmla="*/ 2162 w 2305"/>
                <a:gd name="T101" fmla="*/ 992 h 1240"/>
                <a:gd name="T102" fmla="*/ 2130 w 2305"/>
                <a:gd name="T103" fmla="*/ 1013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05" h="1240">
                  <a:moveTo>
                    <a:pt x="1155" y="237"/>
                  </a:moveTo>
                  <a:lnTo>
                    <a:pt x="1155" y="237"/>
                  </a:lnTo>
                  <a:lnTo>
                    <a:pt x="1084" y="236"/>
                  </a:lnTo>
                  <a:lnTo>
                    <a:pt x="1014" y="232"/>
                  </a:lnTo>
                  <a:lnTo>
                    <a:pt x="945" y="227"/>
                  </a:lnTo>
                  <a:lnTo>
                    <a:pt x="879" y="219"/>
                  </a:lnTo>
                  <a:lnTo>
                    <a:pt x="814" y="210"/>
                  </a:lnTo>
                  <a:lnTo>
                    <a:pt x="752" y="199"/>
                  </a:lnTo>
                  <a:lnTo>
                    <a:pt x="692" y="186"/>
                  </a:lnTo>
                  <a:lnTo>
                    <a:pt x="635" y="170"/>
                  </a:lnTo>
                  <a:lnTo>
                    <a:pt x="580" y="155"/>
                  </a:lnTo>
                  <a:lnTo>
                    <a:pt x="528" y="136"/>
                  </a:lnTo>
                  <a:lnTo>
                    <a:pt x="503" y="127"/>
                  </a:lnTo>
                  <a:lnTo>
                    <a:pt x="479" y="117"/>
                  </a:lnTo>
                  <a:lnTo>
                    <a:pt x="455" y="107"/>
                  </a:lnTo>
                  <a:lnTo>
                    <a:pt x="433" y="96"/>
                  </a:lnTo>
                  <a:lnTo>
                    <a:pt x="411" y="85"/>
                  </a:lnTo>
                  <a:lnTo>
                    <a:pt x="390" y="74"/>
                  </a:lnTo>
                  <a:lnTo>
                    <a:pt x="371" y="62"/>
                  </a:lnTo>
                  <a:lnTo>
                    <a:pt x="352" y="51"/>
                  </a:lnTo>
                  <a:lnTo>
                    <a:pt x="333" y="38"/>
                  </a:lnTo>
                  <a:lnTo>
                    <a:pt x="316" y="26"/>
                  </a:lnTo>
                  <a:lnTo>
                    <a:pt x="301" y="13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0" y="805"/>
                  </a:lnTo>
                  <a:lnTo>
                    <a:pt x="0" y="805"/>
                  </a:lnTo>
                  <a:lnTo>
                    <a:pt x="9" y="828"/>
                  </a:lnTo>
                  <a:lnTo>
                    <a:pt x="19" y="850"/>
                  </a:lnTo>
                  <a:lnTo>
                    <a:pt x="32" y="872"/>
                  </a:lnTo>
                  <a:lnTo>
                    <a:pt x="47" y="894"/>
                  </a:lnTo>
                  <a:lnTo>
                    <a:pt x="65" y="915"/>
                  </a:lnTo>
                  <a:lnTo>
                    <a:pt x="85" y="936"/>
                  </a:lnTo>
                  <a:lnTo>
                    <a:pt x="105" y="956"/>
                  </a:lnTo>
                  <a:lnTo>
                    <a:pt x="129" y="976"/>
                  </a:lnTo>
                  <a:lnTo>
                    <a:pt x="155" y="996"/>
                  </a:lnTo>
                  <a:lnTo>
                    <a:pt x="182" y="1014"/>
                  </a:lnTo>
                  <a:lnTo>
                    <a:pt x="211" y="1032"/>
                  </a:lnTo>
                  <a:lnTo>
                    <a:pt x="243" y="1050"/>
                  </a:lnTo>
                  <a:lnTo>
                    <a:pt x="276" y="1067"/>
                  </a:lnTo>
                  <a:lnTo>
                    <a:pt x="310" y="1083"/>
                  </a:lnTo>
                  <a:lnTo>
                    <a:pt x="347" y="1099"/>
                  </a:lnTo>
                  <a:lnTo>
                    <a:pt x="384" y="1113"/>
                  </a:lnTo>
                  <a:lnTo>
                    <a:pt x="424" y="1128"/>
                  </a:lnTo>
                  <a:lnTo>
                    <a:pt x="464" y="1142"/>
                  </a:lnTo>
                  <a:lnTo>
                    <a:pt x="507" y="1154"/>
                  </a:lnTo>
                  <a:lnTo>
                    <a:pt x="550" y="1167"/>
                  </a:lnTo>
                  <a:lnTo>
                    <a:pt x="595" y="1177"/>
                  </a:lnTo>
                  <a:lnTo>
                    <a:pt x="641" y="1187"/>
                  </a:lnTo>
                  <a:lnTo>
                    <a:pt x="688" y="1197"/>
                  </a:lnTo>
                  <a:lnTo>
                    <a:pt x="736" y="1205"/>
                  </a:lnTo>
                  <a:lnTo>
                    <a:pt x="785" y="1213"/>
                  </a:lnTo>
                  <a:lnTo>
                    <a:pt x="836" y="1220"/>
                  </a:lnTo>
                  <a:lnTo>
                    <a:pt x="887" y="1226"/>
                  </a:lnTo>
                  <a:lnTo>
                    <a:pt x="939" y="1230"/>
                  </a:lnTo>
                  <a:lnTo>
                    <a:pt x="992" y="1234"/>
                  </a:lnTo>
                  <a:lnTo>
                    <a:pt x="1046" y="1236"/>
                  </a:lnTo>
                  <a:lnTo>
                    <a:pt x="1100" y="1238"/>
                  </a:lnTo>
                  <a:lnTo>
                    <a:pt x="1155" y="1240"/>
                  </a:lnTo>
                  <a:lnTo>
                    <a:pt x="1155" y="1240"/>
                  </a:lnTo>
                  <a:lnTo>
                    <a:pt x="1203" y="1238"/>
                  </a:lnTo>
                  <a:lnTo>
                    <a:pt x="1250" y="1237"/>
                  </a:lnTo>
                  <a:lnTo>
                    <a:pt x="1297" y="1235"/>
                  </a:lnTo>
                  <a:lnTo>
                    <a:pt x="1343" y="1232"/>
                  </a:lnTo>
                  <a:lnTo>
                    <a:pt x="1388" y="1229"/>
                  </a:lnTo>
                  <a:lnTo>
                    <a:pt x="1433" y="1225"/>
                  </a:lnTo>
                  <a:lnTo>
                    <a:pt x="1477" y="1220"/>
                  </a:lnTo>
                  <a:lnTo>
                    <a:pt x="1520" y="1213"/>
                  </a:lnTo>
                  <a:lnTo>
                    <a:pt x="1520" y="1213"/>
                  </a:lnTo>
                  <a:lnTo>
                    <a:pt x="1424" y="220"/>
                  </a:lnTo>
                  <a:lnTo>
                    <a:pt x="1424" y="220"/>
                  </a:lnTo>
                  <a:lnTo>
                    <a:pt x="1359" y="228"/>
                  </a:lnTo>
                  <a:lnTo>
                    <a:pt x="1293" y="233"/>
                  </a:lnTo>
                  <a:lnTo>
                    <a:pt x="1225" y="236"/>
                  </a:lnTo>
                  <a:lnTo>
                    <a:pt x="1155" y="237"/>
                  </a:lnTo>
                  <a:lnTo>
                    <a:pt x="1155" y="237"/>
                  </a:lnTo>
                  <a:close/>
                  <a:moveTo>
                    <a:pt x="2130" y="1013"/>
                  </a:moveTo>
                  <a:lnTo>
                    <a:pt x="2130" y="1013"/>
                  </a:lnTo>
                  <a:lnTo>
                    <a:pt x="1866" y="103"/>
                  </a:lnTo>
                  <a:lnTo>
                    <a:pt x="1866" y="103"/>
                  </a:lnTo>
                  <a:lnTo>
                    <a:pt x="1887" y="91"/>
                  </a:lnTo>
                  <a:lnTo>
                    <a:pt x="1908" y="81"/>
                  </a:lnTo>
                  <a:lnTo>
                    <a:pt x="1929" y="69"/>
                  </a:lnTo>
                  <a:lnTo>
                    <a:pt x="1948" y="58"/>
                  </a:lnTo>
                  <a:lnTo>
                    <a:pt x="1966" y="46"/>
                  </a:lnTo>
                  <a:lnTo>
                    <a:pt x="1984" y="34"/>
                  </a:lnTo>
                  <a:lnTo>
                    <a:pt x="2000" y="21"/>
                  </a:lnTo>
                  <a:lnTo>
                    <a:pt x="2015" y="9"/>
                  </a:lnTo>
                  <a:lnTo>
                    <a:pt x="2015" y="9"/>
                  </a:lnTo>
                  <a:lnTo>
                    <a:pt x="2305" y="822"/>
                  </a:lnTo>
                  <a:lnTo>
                    <a:pt x="2305" y="822"/>
                  </a:lnTo>
                  <a:lnTo>
                    <a:pt x="2300" y="835"/>
                  </a:lnTo>
                  <a:lnTo>
                    <a:pt x="2294" y="848"/>
                  </a:lnTo>
                  <a:lnTo>
                    <a:pt x="2287" y="860"/>
                  </a:lnTo>
                  <a:lnTo>
                    <a:pt x="2278" y="874"/>
                  </a:lnTo>
                  <a:lnTo>
                    <a:pt x="2270" y="886"/>
                  </a:lnTo>
                  <a:lnTo>
                    <a:pt x="2261" y="898"/>
                  </a:lnTo>
                  <a:lnTo>
                    <a:pt x="2250" y="910"/>
                  </a:lnTo>
                  <a:lnTo>
                    <a:pt x="2240" y="923"/>
                  </a:lnTo>
                  <a:lnTo>
                    <a:pt x="2217" y="946"/>
                  </a:lnTo>
                  <a:lnTo>
                    <a:pt x="2190" y="970"/>
                  </a:lnTo>
                  <a:lnTo>
                    <a:pt x="2162" y="992"/>
                  </a:lnTo>
                  <a:lnTo>
                    <a:pt x="2130" y="1013"/>
                  </a:lnTo>
                  <a:lnTo>
                    <a:pt x="2130" y="1013"/>
                  </a:ln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4" name="Freeform 60"/>
            <p:cNvSpPr>
              <a:spLocks/>
            </p:cNvSpPr>
            <p:nvPr/>
          </p:nvSpPr>
          <p:spPr bwMode="auto">
            <a:xfrm flipH="1">
              <a:off x="6917231" y="2925397"/>
              <a:ext cx="1290" cy="0"/>
            </a:xfrm>
            <a:custGeom>
              <a:avLst/>
              <a:gdLst>
                <a:gd name="T0" fmla="*/ 4 w 4"/>
                <a:gd name="T1" fmla="*/ 0 h 1"/>
                <a:gd name="T2" fmla="*/ 4 w 4"/>
                <a:gd name="T3" fmla="*/ 0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5" name="Freeform 61"/>
            <p:cNvSpPr>
              <a:spLocks/>
            </p:cNvSpPr>
            <p:nvPr/>
          </p:nvSpPr>
          <p:spPr bwMode="auto">
            <a:xfrm flipH="1">
              <a:off x="6917231" y="2925397"/>
              <a:ext cx="1290" cy="0"/>
            </a:xfrm>
            <a:custGeom>
              <a:avLst/>
              <a:gdLst>
                <a:gd name="T0" fmla="*/ 4 w 4"/>
                <a:gd name="T1" fmla="*/ 0 h 1"/>
                <a:gd name="T2" fmla="*/ 4 w 4"/>
                <a:gd name="T3" fmla="*/ 0 h 1"/>
                <a:gd name="T4" fmla="*/ 0 w 4"/>
                <a:gd name="T5" fmla="*/ 1 h 1"/>
                <a:gd name="T6" fmla="*/ 0 w 4"/>
                <a:gd name="T7" fmla="*/ 1 h 1"/>
                <a:gd name="T8" fmla="*/ 4 w 4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">
                  <a:moveTo>
                    <a:pt x="4" y="0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6" name="Freeform 62"/>
            <p:cNvSpPr>
              <a:spLocks/>
            </p:cNvSpPr>
            <p:nvPr/>
          </p:nvSpPr>
          <p:spPr bwMode="auto">
            <a:xfrm flipH="1">
              <a:off x="6793383" y="2884120"/>
              <a:ext cx="0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7" name="Freeform 63"/>
            <p:cNvSpPr>
              <a:spLocks/>
            </p:cNvSpPr>
            <p:nvPr/>
          </p:nvSpPr>
          <p:spPr bwMode="auto">
            <a:xfrm flipH="1">
              <a:off x="6793383" y="2884120"/>
              <a:ext cx="0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8" name="Freeform 64"/>
            <p:cNvSpPr>
              <a:spLocks/>
            </p:cNvSpPr>
            <p:nvPr/>
          </p:nvSpPr>
          <p:spPr bwMode="auto">
            <a:xfrm flipH="1">
              <a:off x="6926262" y="2927977"/>
              <a:ext cx="101917" cy="16769"/>
            </a:xfrm>
            <a:custGeom>
              <a:avLst/>
              <a:gdLst>
                <a:gd name="T0" fmla="*/ 556 w 556"/>
                <a:gd name="T1" fmla="*/ 0 h 116"/>
                <a:gd name="T2" fmla="*/ 556 w 556"/>
                <a:gd name="T3" fmla="*/ 0 h 116"/>
                <a:gd name="T4" fmla="*/ 497 w 556"/>
                <a:gd name="T5" fmla="*/ 16 h 116"/>
                <a:gd name="T6" fmla="*/ 439 w 556"/>
                <a:gd name="T7" fmla="*/ 32 h 116"/>
                <a:gd name="T8" fmla="*/ 385 w 556"/>
                <a:gd name="T9" fmla="*/ 46 h 116"/>
                <a:gd name="T10" fmla="*/ 333 w 556"/>
                <a:gd name="T11" fmla="*/ 58 h 116"/>
                <a:gd name="T12" fmla="*/ 284 w 556"/>
                <a:gd name="T13" fmla="*/ 69 h 116"/>
                <a:gd name="T14" fmla="*/ 239 w 556"/>
                <a:gd name="T15" fmla="*/ 79 h 116"/>
                <a:gd name="T16" fmla="*/ 157 w 556"/>
                <a:gd name="T17" fmla="*/ 94 h 116"/>
                <a:gd name="T18" fmla="*/ 91 w 556"/>
                <a:gd name="T19" fmla="*/ 105 h 116"/>
                <a:gd name="T20" fmla="*/ 41 w 556"/>
                <a:gd name="T21" fmla="*/ 112 h 116"/>
                <a:gd name="T22" fmla="*/ 0 w 556"/>
                <a:gd name="T23" fmla="*/ 116 h 116"/>
                <a:gd name="T24" fmla="*/ 0 w 556"/>
                <a:gd name="T25" fmla="*/ 116 h 116"/>
                <a:gd name="T26" fmla="*/ 66 w 556"/>
                <a:gd name="T27" fmla="*/ 107 h 116"/>
                <a:gd name="T28" fmla="*/ 135 w 556"/>
                <a:gd name="T29" fmla="*/ 96 h 116"/>
                <a:gd name="T30" fmla="*/ 203 w 556"/>
                <a:gd name="T31" fmla="*/ 83 h 116"/>
                <a:gd name="T32" fmla="*/ 273 w 556"/>
                <a:gd name="T33" fmla="*/ 70 h 116"/>
                <a:gd name="T34" fmla="*/ 344 w 556"/>
                <a:gd name="T35" fmla="*/ 55 h 116"/>
                <a:gd name="T36" fmla="*/ 414 w 556"/>
                <a:gd name="T37" fmla="*/ 38 h 116"/>
                <a:gd name="T38" fmla="*/ 485 w 556"/>
                <a:gd name="T39" fmla="*/ 20 h 116"/>
                <a:gd name="T40" fmla="*/ 556 w 556"/>
                <a:gd name="T4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6" h="116">
                  <a:moveTo>
                    <a:pt x="556" y="0"/>
                  </a:moveTo>
                  <a:lnTo>
                    <a:pt x="556" y="0"/>
                  </a:lnTo>
                  <a:lnTo>
                    <a:pt x="497" y="16"/>
                  </a:lnTo>
                  <a:lnTo>
                    <a:pt x="439" y="32"/>
                  </a:lnTo>
                  <a:lnTo>
                    <a:pt x="385" y="46"/>
                  </a:lnTo>
                  <a:lnTo>
                    <a:pt x="333" y="58"/>
                  </a:lnTo>
                  <a:lnTo>
                    <a:pt x="284" y="69"/>
                  </a:lnTo>
                  <a:lnTo>
                    <a:pt x="239" y="79"/>
                  </a:lnTo>
                  <a:lnTo>
                    <a:pt x="157" y="94"/>
                  </a:lnTo>
                  <a:lnTo>
                    <a:pt x="91" y="105"/>
                  </a:lnTo>
                  <a:lnTo>
                    <a:pt x="41" y="11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66" y="107"/>
                  </a:lnTo>
                  <a:lnTo>
                    <a:pt x="135" y="96"/>
                  </a:lnTo>
                  <a:lnTo>
                    <a:pt x="203" y="83"/>
                  </a:lnTo>
                  <a:lnTo>
                    <a:pt x="273" y="70"/>
                  </a:lnTo>
                  <a:lnTo>
                    <a:pt x="344" y="55"/>
                  </a:lnTo>
                  <a:lnTo>
                    <a:pt x="414" y="38"/>
                  </a:lnTo>
                  <a:lnTo>
                    <a:pt x="485" y="20"/>
                  </a:lnTo>
                  <a:lnTo>
                    <a:pt x="556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09" name="Freeform 65"/>
            <p:cNvSpPr>
              <a:spLocks/>
            </p:cNvSpPr>
            <p:nvPr/>
          </p:nvSpPr>
          <p:spPr bwMode="auto">
            <a:xfrm flipH="1">
              <a:off x="6926262" y="2927977"/>
              <a:ext cx="101917" cy="16769"/>
            </a:xfrm>
            <a:custGeom>
              <a:avLst/>
              <a:gdLst>
                <a:gd name="T0" fmla="*/ 556 w 556"/>
                <a:gd name="T1" fmla="*/ 0 h 116"/>
                <a:gd name="T2" fmla="*/ 556 w 556"/>
                <a:gd name="T3" fmla="*/ 0 h 116"/>
                <a:gd name="T4" fmla="*/ 497 w 556"/>
                <a:gd name="T5" fmla="*/ 16 h 116"/>
                <a:gd name="T6" fmla="*/ 439 w 556"/>
                <a:gd name="T7" fmla="*/ 32 h 116"/>
                <a:gd name="T8" fmla="*/ 385 w 556"/>
                <a:gd name="T9" fmla="*/ 46 h 116"/>
                <a:gd name="T10" fmla="*/ 333 w 556"/>
                <a:gd name="T11" fmla="*/ 58 h 116"/>
                <a:gd name="T12" fmla="*/ 284 w 556"/>
                <a:gd name="T13" fmla="*/ 69 h 116"/>
                <a:gd name="T14" fmla="*/ 239 w 556"/>
                <a:gd name="T15" fmla="*/ 79 h 116"/>
                <a:gd name="T16" fmla="*/ 157 w 556"/>
                <a:gd name="T17" fmla="*/ 94 h 116"/>
                <a:gd name="T18" fmla="*/ 91 w 556"/>
                <a:gd name="T19" fmla="*/ 105 h 116"/>
                <a:gd name="T20" fmla="*/ 41 w 556"/>
                <a:gd name="T21" fmla="*/ 112 h 116"/>
                <a:gd name="T22" fmla="*/ 0 w 556"/>
                <a:gd name="T23" fmla="*/ 116 h 116"/>
                <a:gd name="T24" fmla="*/ 0 w 556"/>
                <a:gd name="T25" fmla="*/ 116 h 116"/>
                <a:gd name="T26" fmla="*/ 66 w 556"/>
                <a:gd name="T27" fmla="*/ 107 h 116"/>
                <a:gd name="T28" fmla="*/ 135 w 556"/>
                <a:gd name="T29" fmla="*/ 96 h 116"/>
                <a:gd name="T30" fmla="*/ 203 w 556"/>
                <a:gd name="T31" fmla="*/ 83 h 116"/>
                <a:gd name="T32" fmla="*/ 273 w 556"/>
                <a:gd name="T33" fmla="*/ 70 h 116"/>
                <a:gd name="T34" fmla="*/ 344 w 556"/>
                <a:gd name="T35" fmla="*/ 55 h 116"/>
                <a:gd name="T36" fmla="*/ 414 w 556"/>
                <a:gd name="T37" fmla="*/ 38 h 116"/>
                <a:gd name="T38" fmla="*/ 485 w 556"/>
                <a:gd name="T39" fmla="*/ 20 h 116"/>
                <a:gd name="T40" fmla="*/ 556 w 556"/>
                <a:gd name="T41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56" h="116">
                  <a:moveTo>
                    <a:pt x="556" y="0"/>
                  </a:moveTo>
                  <a:lnTo>
                    <a:pt x="556" y="0"/>
                  </a:lnTo>
                  <a:lnTo>
                    <a:pt x="497" y="16"/>
                  </a:lnTo>
                  <a:lnTo>
                    <a:pt x="439" y="32"/>
                  </a:lnTo>
                  <a:lnTo>
                    <a:pt x="385" y="46"/>
                  </a:lnTo>
                  <a:lnTo>
                    <a:pt x="333" y="58"/>
                  </a:lnTo>
                  <a:lnTo>
                    <a:pt x="284" y="69"/>
                  </a:lnTo>
                  <a:lnTo>
                    <a:pt x="239" y="79"/>
                  </a:lnTo>
                  <a:lnTo>
                    <a:pt x="157" y="94"/>
                  </a:lnTo>
                  <a:lnTo>
                    <a:pt x="91" y="105"/>
                  </a:lnTo>
                  <a:lnTo>
                    <a:pt x="41" y="112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66" y="107"/>
                  </a:lnTo>
                  <a:lnTo>
                    <a:pt x="135" y="96"/>
                  </a:lnTo>
                  <a:lnTo>
                    <a:pt x="203" y="83"/>
                  </a:lnTo>
                  <a:lnTo>
                    <a:pt x="273" y="70"/>
                  </a:lnTo>
                  <a:lnTo>
                    <a:pt x="344" y="55"/>
                  </a:lnTo>
                  <a:lnTo>
                    <a:pt x="414" y="38"/>
                  </a:lnTo>
                  <a:lnTo>
                    <a:pt x="485" y="20"/>
                  </a:lnTo>
                  <a:lnTo>
                    <a:pt x="5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0" name="Freeform 66"/>
            <p:cNvSpPr>
              <a:spLocks/>
            </p:cNvSpPr>
            <p:nvPr/>
          </p:nvSpPr>
          <p:spPr bwMode="auto">
            <a:xfrm flipH="1">
              <a:off x="6921102" y="2926687"/>
              <a:ext cx="2580" cy="0"/>
            </a:xfrm>
            <a:custGeom>
              <a:avLst/>
              <a:gdLst>
                <a:gd name="T0" fmla="*/ 14 w 14"/>
                <a:gd name="T1" fmla="*/ 0 h 5"/>
                <a:gd name="T2" fmla="*/ 14 w 14"/>
                <a:gd name="T3" fmla="*/ 0 h 5"/>
                <a:gd name="T4" fmla="*/ 0 w 14"/>
                <a:gd name="T5" fmla="*/ 5 h 5"/>
                <a:gd name="T6" fmla="*/ 0 w 14"/>
                <a:gd name="T7" fmla="*/ 5 h 5"/>
                <a:gd name="T8" fmla="*/ 14 w 1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1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E48F6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1" name="Freeform 67"/>
            <p:cNvSpPr>
              <a:spLocks/>
            </p:cNvSpPr>
            <p:nvPr/>
          </p:nvSpPr>
          <p:spPr bwMode="auto">
            <a:xfrm flipH="1">
              <a:off x="6921102" y="2926687"/>
              <a:ext cx="2580" cy="0"/>
            </a:xfrm>
            <a:custGeom>
              <a:avLst/>
              <a:gdLst>
                <a:gd name="T0" fmla="*/ 14 w 14"/>
                <a:gd name="T1" fmla="*/ 0 h 5"/>
                <a:gd name="T2" fmla="*/ 14 w 14"/>
                <a:gd name="T3" fmla="*/ 0 h 5"/>
                <a:gd name="T4" fmla="*/ 0 w 14"/>
                <a:gd name="T5" fmla="*/ 5 h 5"/>
                <a:gd name="T6" fmla="*/ 0 w 14"/>
                <a:gd name="T7" fmla="*/ 5 h 5"/>
                <a:gd name="T8" fmla="*/ 14 w 1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14" y="0"/>
                  </a:moveTo>
                  <a:lnTo>
                    <a:pt x="14" y="0"/>
                  </a:lnTo>
                  <a:lnTo>
                    <a:pt x="0" y="5"/>
                  </a:lnTo>
                  <a:lnTo>
                    <a:pt x="0" y="5"/>
                  </a:lnTo>
                  <a:lnTo>
                    <a:pt x="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2" name="Freeform 68"/>
            <p:cNvSpPr>
              <a:spLocks/>
            </p:cNvSpPr>
            <p:nvPr/>
          </p:nvSpPr>
          <p:spPr bwMode="auto">
            <a:xfrm flipH="1">
              <a:off x="6793383" y="2749969"/>
              <a:ext cx="252858" cy="194778"/>
            </a:xfrm>
            <a:custGeom>
              <a:avLst/>
              <a:gdLst>
                <a:gd name="T0" fmla="*/ 1101 w 1372"/>
                <a:gd name="T1" fmla="*/ 0 h 1352"/>
                <a:gd name="T2" fmla="*/ 1101 w 1372"/>
                <a:gd name="T3" fmla="*/ 0 h 1352"/>
                <a:gd name="T4" fmla="*/ 1372 w 1372"/>
                <a:gd name="T5" fmla="*/ 930 h 1352"/>
                <a:gd name="T6" fmla="*/ 1371 w 1372"/>
                <a:gd name="T7" fmla="*/ 930 h 1352"/>
                <a:gd name="T8" fmla="*/ 1371 w 1372"/>
                <a:gd name="T9" fmla="*/ 930 h 1352"/>
                <a:gd name="T10" fmla="*/ 1329 w 1372"/>
                <a:gd name="T11" fmla="*/ 955 h 1352"/>
                <a:gd name="T12" fmla="*/ 1285 w 1372"/>
                <a:gd name="T13" fmla="*/ 978 h 1352"/>
                <a:gd name="T14" fmla="*/ 1241 w 1372"/>
                <a:gd name="T15" fmla="*/ 1001 h 1352"/>
                <a:gd name="T16" fmla="*/ 1198 w 1372"/>
                <a:gd name="T17" fmla="*/ 1023 h 1352"/>
                <a:gd name="T18" fmla="*/ 1154 w 1372"/>
                <a:gd name="T19" fmla="*/ 1045 h 1352"/>
                <a:gd name="T20" fmla="*/ 1110 w 1372"/>
                <a:gd name="T21" fmla="*/ 1065 h 1352"/>
                <a:gd name="T22" fmla="*/ 1068 w 1372"/>
                <a:gd name="T23" fmla="*/ 1085 h 1352"/>
                <a:gd name="T24" fmla="*/ 1024 w 1372"/>
                <a:gd name="T25" fmla="*/ 1102 h 1352"/>
                <a:gd name="T26" fmla="*/ 981 w 1372"/>
                <a:gd name="T27" fmla="*/ 1120 h 1352"/>
                <a:gd name="T28" fmla="*/ 940 w 1372"/>
                <a:gd name="T29" fmla="*/ 1137 h 1352"/>
                <a:gd name="T30" fmla="*/ 857 w 1372"/>
                <a:gd name="T31" fmla="*/ 1168 h 1352"/>
                <a:gd name="T32" fmla="*/ 776 w 1372"/>
                <a:gd name="T33" fmla="*/ 1196 h 1352"/>
                <a:gd name="T34" fmla="*/ 697 w 1372"/>
                <a:gd name="T35" fmla="*/ 1222 h 1352"/>
                <a:gd name="T36" fmla="*/ 697 w 1372"/>
                <a:gd name="T37" fmla="*/ 1222 h 1352"/>
                <a:gd name="T38" fmla="*/ 693 w 1372"/>
                <a:gd name="T39" fmla="*/ 1223 h 1352"/>
                <a:gd name="T40" fmla="*/ 693 w 1372"/>
                <a:gd name="T41" fmla="*/ 1223 h 1352"/>
                <a:gd name="T42" fmla="*/ 676 w 1372"/>
                <a:gd name="T43" fmla="*/ 1228 h 1352"/>
                <a:gd name="T44" fmla="*/ 676 w 1372"/>
                <a:gd name="T45" fmla="*/ 1228 h 1352"/>
                <a:gd name="T46" fmla="*/ 662 w 1372"/>
                <a:gd name="T47" fmla="*/ 1233 h 1352"/>
                <a:gd name="T48" fmla="*/ 662 w 1372"/>
                <a:gd name="T49" fmla="*/ 1233 h 1352"/>
                <a:gd name="T50" fmla="*/ 651 w 1372"/>
                <a:gd name="T51" fmla="*/ 1236 h 1352"/>
                <a:gd name="T52" fmla="*/ 651 w 1372"/>
                <a:gd name="T53" fmla="*/ 1236 h 1352"/>
                <a:gd name="T54" fmla="*/ 580 w 1372"/>
                <a:gd name="T55" fmla="*/ 1256 h 1352"/>
                <a:gd name="T56" fmla="*/ 509 w 1372"/>
                <a:gd name="T57" fmla="*/ 1274 h 1352"/>
                <a:gd name="T58" fmla="*/ 439 w 1372"/>
                <a:gd name="T59" fmla="*/ 1291 h 1352"/>
                <a:gd name="T60" fmla="*/ 368 w 1372"/>
                <a:gd name="T61" fmla="*/ 1306 h 1352"/>
                <a:gd name="T62" fmla="*/ 298 w 1372"/>
                <a:gd name="T63" fmla="*/ 1319 h 1352"/>
                <a:gd name="T64" fmla="*/ 230 w 1372"/>
                <a:gd name="T65" fmla="*/ 1332 h 1352"/>
                <a:gd name="T66" fmla="*/ 161 w 1372"/>
                <a:gd name="T67" fmla="*/ 1343 h 1352"/>
                <a:gd name="T68" fmla="*/ 95 w 1372"/>
                <a:gd name="T69" fmla="*/ 1352 h 1352"/>
                <a:gd name="T70" fmla="*/ 95 w 1372"/>
                <a:gd name="T71" fmla="*/ 1352 h 1352"/>
                <a:gd name="T72" fmla="*/ 0 w 1372"/>
                <a:gd name="T73" fmla="*/ 389 h 1352"/>
                <a:gd name="T74" fmla="*/ 0 w 1372"/>
                <a:gd name="T75" fmla="*/ 389 h 1352"/>
                <a:gd name="T76" fmla="*/ 86 w 1372"/>
                <a:gd name="T77" fmla="*/ 375 h 1352"/>
                <a:gd name="T78" fmla="*/ 172 w 1372"/>
                <a:gd name="T79" fmla="*/ 359 h 1352"/>
                <a:gd name="T80" fmla="*/ 255 w 1372"/>
                <a:gd name="T81" fmla="*/ 343 h 1352"/>
                <a:gd name="T82" fmla="*/ 335 w 1372"/>
                <a:gd name="T83" fmla="*/ 325 h 1352"/>
                <a:gd name="T84" fmla="*/ 414 w 1372"/>
                <a:gd name="T85" fmla="*/ 305 h 1352"/>
                <a:gd name="T86" fmla="*/ 490 w 1372"/>
                <a:gd name="T87" fmla="*/ 283 h 1352"/>
                <a:gd name="T88" fmla="*/ 563 w 1372"/>
                <a:gd name="T89" fmla="*/ 260 h 1352"/>
                <a:gd name="T90" fmla="*/ 634 w 1372"/>
                <a:gd name="T91" fmla="*/ 237 h 1352"/>
                <a:gd name="T92" fmla="*/ 703 w 1372"/>
                <a:gd name="T93" fmla="*/ 212 h 1352"/>
                <a:gd name="T94" fmla="*/ 769 w 1372"/>
                <a:gd name="T95" fmla="*/ 184 h 1352"/>
                <a:gd name="T96" fmla="*/ 832 w 1372"/>
                <a:gd name="T97" fmla="*/ 157 h 1352"/>
                <a:gd name="T98" fmla="*/ 892 w 1372"/>
                <a:gd name="T99" fmla="*/ 128 h 1352"/>
                <a:gd name="T100" fmla="*/ 949 w 1372"/>
                <a:gd name="T101" fmla="*/ 98 h 1352"/>
                <a:gd name="T102" fmla="*/ 976 w 1372"/>
                <a:gd name="T103" fmla="*/ 82 h 1352"/>
                <a:gd name="T104" fmla="*/ 1003 w 1372"/>
                <a:gd name="T105" fmla="*/ 67 h 1352"/>
                <a:gd name="T106" fmla="*/ 1029 w 1372"/>
                <a:gd name="T107" fmla="*/ 50 h 1352"/>
                <a:gd name="T108" fmla="*/ 1054 w 1372"/>
                <a:gd name="T109" fmla="*/ 34 h 1352"/>
                <a:gd name="T110" fmla="*/ 1078 w 1372"/>
                <a:gd name="T111" fmla="*/ 18 h 1352"/>
                <a:gd name="T112" fmla="*/ 1101 w 1372"/>
                <a:gd name="T113" fmla="*/ 0 h 1352"/>
                <a:gd name="T114" fmla="*/ 1101 w 1372"/>
                <a:gd name="T115" fmla="*/ 0 h 1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72" h="1352">
                  <a:moveTo>
                    <a:pt x="1101" y="0"/>
                  </a:moveTo>
                  <a:lnTo>
                    <a:pt x="1101" y="0"/>
                  </a:lnTo>
                  <a:lnTo>
                    <a:pt x="1372" y="930"/>
                  </a:lnTo>
                  <a:lnTo>
                    <a:pt x="1371" y="930"/>
                  </a:lnTo>
                  <a:lnTo>
                    <a:pt x="1371" y="930"/>
                  </a:lnTo>
                  <a:lnTo>
                    <a:pt x="1329" y="955"/>
                  </a:lnTo>
                  <a:lnTo>
                    <a:pt x="1285" y="978"/>
                  </a:lnTo>
                  <a:lnTo>
                    <a:pt x="1241" y="1001"/>
                  </a:lnTo>
                  <a:lnTo>
                    <a:pt x="1198" y="1023"/>
                  </a:lnTo>
                  <a:lnTo>
                    <a:pt x="1154" y="1045"/>
                  </a:lnTo>
                  <a:lnTo>
                    <a:pt x="1110" y="1065"/>
                  </a:lnTo>
                  <a:lnTo>
                    <a:pt x="1068" y="1085"/>
                  </a:lnTo>
                  <a:lnTo>
                    <a:pt x="1024" y="1102"/>
                  </a:lnTo>
                  <a:lnTo>
                    <a:pt x="981" y="1120"/>
                  </a:lnTo>
                  <a:lnTo>
                    <a:pt x="940" y="1137"/>
                  </a:lnTo>
                  <a:lnTo>
                    <a:pt x="857" y="1168"/>
                  </a:lnTo>
                  <a:lnTo>
                    <a:pt x="776" y="1196"/>
                  </a:lnTo>
                  <a:lnTo>
                    <a:pt x="697" y="1222"/>
                  </a:lnTo>
                  <a:lnTo>
                    <a:pt x="697" y="1222"/>
                  </a:lnTo>
                  <a:lnTo>
                    <a:pt x="693" y="1223"/>
                  </a:lnTo>
                  <a:lnTo>
                    <a:pt x="693" y="1223"/>
                  </a:lnTo>
                  <a:lnTo>
                    <a:pt x="676" y="1228"/>
                  </a:lnTo>
                  <a:lnTo>
                    <a:pt x="676" y="1228"/>
                  </a:lnTo>
                  <a:lnTo>
                    <a:pt x="662" y="1233"/>
                  </a:lnTo>
                  <a:lnTo>
                    <a:pt x="662" y="1233"/>
                  </a:lnTo>
                  <a:lnTo>
                    <a:pt x="651" y="1236"/>
                  </a:lnTo>
                  <a:lnTo>
                    <a:pt x="651" y="1236"/>
                  </a:lnTo>
                  <a:lnTo>
                    <a:pt x="580" y="1256"/>
                  </a:lnTo>
                  <a:lnTo>
                    <a:pt x="509" y="1274"/>
                  </a:lnTo>
                  <a:lnTo>
                    <a:pt x="439" y="1291"/>
                  </a:lnTo>
                  <a:lnTo>
                    <a:pt x="368" y="1306"/>
                  </a:lnTo>
                  <a:lnTo>
                    <a:pt x="298" y="1319"/>
                  </a:lnTo>
                  <a:lnTo>
                    <a:pt x="230" y="1332"/>
                  </a:lnTo>
                  <a:lnTo>
                    <a:pt x="161" y="1343"/>
                  </a:lnTo>
                  <a:lnTo>
                    <a:pt x="95" y="1352"/>
                  </a:lnTo>
                  <a:lnTo>
                    <a:pt x="95" y="1352"/>
                  </a:lnTo>
                  <a:lnTo>
                    <a:pt x="0" y="389"/>
                  </a:lnTo>
                  <a:lnTo>
                    <a:pt x="0" y="389"/>
                  </a:lnTo>
                  <a:lnTo>
                    <a:pt x="86" y="375"/>
                  </a:lnTo>
                  <a:lnTo>
                    <a:pt x="172" y="359"/>
                  </a:lnTo>
                  <a:lnTo>
                    <a:pt x="255" y="343"/>
                  </a:lnTo>
                  <a:lnTo>
                    <a:pt x="335" y="325"/>
                  </a:lnTo>
                  <a:lnTo>
                    <a:pt x="414" y="305"/>
                  </a:lnTo>
                  <a:lnTo>
                    <a:pt x="490" y="283"/>
                  </a:lnTo>
                  <a:lnTo>
                    <a:pt x="563" y="260"/>
                  </a:lnTo>
                  <a:lnTo>
                    <a:pt x="634" y="237"/>
                  </a:lnTo>
                  <a:lnTo>
                    <a:pt x="703" y="212"/>
                  </a:lnTo>
                  <a:lnTo>
                    <a:pt x="769" y="184"/>
                  </a:lnTo>
                  <a:lnTo>
                    <a:pt x="832" y="157"/>
                  </a:lnTo>
                  <a:lnTo>
                    <a:pt x="892" y="128"/>
                  </a:lnTo>
                  <a:lnTo>
                    <a:pt x="949" y="98"/>
                  </a:lnTo>
                  <a:lnTo>
                    <a:pt x="976" y="82"/>
                  </a:lnTo>
                  <a:lnTo>
                    <a:pt x="1003" y="67"/>
                  </a:lnTo>
                  <a:lnTo>
                    <a:pt x="1029" y="50"/>
                  </a:lnTo>
                  <a:lnTo>
                    <a:pt x="1054" y="34"/>
                  </a:lnTo>
                  <a:lnTo>
                    <a:pt x="1078" y="18"/>
                  </a:lnTo>
                  <a:lnTo>
                    <a:pt x="1101" y="0"/>
                  </a:lnTo>
                  <a:lnTo>
                    <a:pt x="1101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3" name="Freeform 69"/>
            <p:cNvSpPr>
              <a:spLocks/>
            </p:cNvSpPr>
            <p:nvPr/>
          </p:nvSpPr>
          <p:spPr bwMode="auto">
            <a:xfrm flipH="1">
              <a:off x="6939163" y="2370733"/>
              <a:ext cx="158681" cy="161240"/>
            </a:xfrm>
            <a:custGeom>
              <a:avLst/>
              <a:gdLst>
                <a:gd name="T0" fmla="*/ 0 w 861"/>
                <a:gd name="T1" fmla="*/ 200 h 1125"/>
                <a:gd name="T2" fmla="*/ 0 w 861"/>
                <a:gd name="T3" fmla="*/ 200 h 1125"/>
                <a:gd name="T4" fmla="*/ 47 w 861"/>
                <a:gd name="T5" fmla="*/ 194 h 1125"/>
                <a:gd name="T6" fmla="*/ 93 w 861"/>
                <a:gd name="T7" fmla="*/ 186 h 1125"/>
                <a:gd name="T8" fmla="*/ 139 w 861"/>
                <a:gd name="T9" fmla="*/ 178 h 1125"/>
                <a:gd name="T10" fmla="*/ 182 w 861"/>
                <a:gd name="T11" fmla="*/ 168 h 1125"/>
                <a:gd name="T12" fmla="*/ 225 w 861"/>
                <a:gd name="T13" fmla="*/ 158 h 1125"/>
                <a:gd name="T14" fmla="*/ 267 w 861"/>
                <a:gd name="T15" fmla="*/ 146 h 1125"/>
                <a:gd name="T16" fmla="*/ 307 w 861"/>
                <a:gd name="T17" fmla="*/ 135 h 1125"/>
                <a:gd name="T18" fmla="*/ 347 w 861"/>
                <a:gd name="T19" fmla="*/ 122 h 1125"/>
                <a:gd name="T20" fmla="*/ 384 w 861"/>
                <a:gd name="T21" fmla="*/ 109 h 1125"/>
                <a:gd name="T22" fmla="*/ 420 w 861"/>
                <a:gd name="T23" fmla="*/ 95 h 1125"/>
                <a:gd name="T24" fmla="*/ 456 w 861"/>
                <a:gd name="T25" fmla="*/ 81 h 1125"/>
                <a:gd name="T26" fmla="*/ 490 w 861"/>
                <a:gd name="T27" fmla="*/ 66 h 1125"/>
                <a:gd name="T28" fmla="*/ 522 w 861"/>
                <a:gd name="T29" fmla="*/ 50 h 1125"/>
                <a:gd name="T30" fmla="*/ 553 w 861"/>
                <a:gd name="T31" fmla="*/ 34 h 1125"/>
                <a:gd name="T32" fmla="*/ 583 w 861"/>
                <a:gd name="T33" fmla="*/ 17 h 1125"/>
                <a:gd name="T34" fmla="*/ 610 w 861"/>
                <a:gd name="T35" fmla="*/ 0 h 1125"/>
                <a:gd name="T36" fmla="*/ 610 w 861"/>
                <a:gd name="T37" fmla="*/ 0 h 1125"/>
                <a:gd name="T38" fmla="*/ 861 w 861"/>
                <a:gd name="T39" fmla="*/ 863 h 1125"/>
                <a:gd name="T40" fmla="*/ 861 w 861"/>
                <a:gd name="T41" fmla="*/ 863 h 1125"/>
                <a:gd name="T42" fmla="*/ 827 w 861"/>
                <a:gd name="T43" fmla="*/ 886 h 1125"/>
                <a:gd name="T44" fmla="*/ 791 w 861"/>
                <a:gd name="T45" fmla="*/ 908 h 1125"/>
                <a:gd name="T46" fmla="*/ 752 w 861"/>
                <a:gd name="T47" fmla="*/ 929 h 1125"/>
                <a:gd name="T48" fmla="*/ 711 w 861"/>
                <a:gd name="T49" fmla="*/ 950 h 1125"/>
                <a:gd name="T50" fmla="*/ 669 w 861"/>
                <a:gd name="T51" fmla="*/ 968 h 1125"/>
                <a:gd name="T52" fmla="*/ 625 w 861"/>
                <a:gd name="T53" fmla="*/ 987 h 1125"/>
                <a:gd name="T54" fmla="*/ 578 w 861"/>
                <a:gd name="T55" fmla="*/ 1006 h 1125"/>
                <a:gd name="T56" fmla="*/ 531 w 861"/>
                <a:gd name="T57" fmla="*/ 1023 h 1125"/>
                <a:gd name="T58" fmla="*/ 481 w 861"/>
                <a:gd name="T59" fmla="*/ 1038 h 1125"/>
                <a:gd name="T60" fmla="*/ 430 w 861"/>
                <a:gd name="T61" fmla="*/ 1054 h 1125"/>
                <a:gd name="T62" fmla="*/ 377 w 861"/>
                <a:gd name="T63" fmla="*/ 1068 h 1125"/>
                <a:gd name="T64" fmla="*/ 323 w 861"/>
                <a:gd name="T65" fmla="*/ 1082 h 1125"/>
                <a:gd name="T66" fmla="*/ 267 w 861"/>
                <a:gd name="T67" fmla="*/ 1094 h 1125"/>
                <a:gd name="T68" fmla="*/ 209 w 861"/>
                <a:gd name="T69" fmla="*/ 1105 h 1125"/>
                <a:gd name="T70" fmla="*/ 151 w 861"/>
                <a:gd name="T71" fmla="*/ 1115 h 1125"/>
                <a:gd name="T72" fmla="*/ 91 w 861"/>
                <a:gd name="T73" fmla="*/ 1125 h 1125"/>
                <a:gd name="T74" fmla="*/ 91 w 861"/>
                <a:gd name="T75" fmla="*/ 1125 h 1125"/>
                <a:gd name="T76" fmla="*/ 0 w 861"/>
                <a:gd name="T77" fmla="*/ 200 h 1125"/>
                <a:gd name="T78" fmla="*/ 0 w 861"/>
                <a:gd name="T79" fmla="*/ 200 h 1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1" h="1125">
                  <a:moveTo>
                    <a:pt x="0" y="200"/>
                  </a:moveTo>
                  <a:lnTo>
                    <a:pt x="0" y="200"/>
                  </a:lnTo>
                  <a:lnTo>
                    <a:pt x="47" y="194"/>
                  </a:lnTo>
                  <a:lnTo>
                    <a:pt x="93" y="186"/>
                  </a:lnTo>
                  <a:lnTo>
                    <a:pt x="139" y="178"/>
                  </a:lnTo>
                  <a:lnTo>
                    <a:pt x="182" y="168"/>
                  </a:lnTo>
                  <a:lnTo>
                    <a:pt x="225" y="158"/>
                  </a:lnTo>
                  <a:lnTo>
                    <a:pt x="267" y="146"/>
                  </a:lnTo>
                  <a:lnTo>
                    <a:pt x="307" y="135"/>
                  </a:lnTo>
                  <a:lnTo>
                    <a:pt x="347" y="122"/>
                  </a:lnTo>
                  <a:lnTo>
                    <a:pt x="384" y="109"/>
                  </a:lnTo>
                  <a:lnTo>
                    <a:pt x="420" y="95"/>
                  </a:lnTo>
                  <a:lnTo>
                    <a:pt x="456" y="81"/>
                  </a:lnTo>
                  <a:lnTo>
                    <a:pt x="490" y="66"/>
                  </a:lnTo>
                  <a:lnTo>
                    <a:pt x="522" y="50"/>
                  </a:lnTo>
                  <a:lnTo>
                    <a:pt x="553" y="34"/>
                  </a:lnTo>
                  <a:lnTo>
                    <a:pt x="583" y="17"/>
                  </a:lnTo>
                  <a:lnTo>
                    <a:pt x="610" y="0"/>
                  </a:lnTo>
                  <a:lnTo>
                    <a:pt x="610" y="0"/>
                  </a:lnTo>
                  <a:lnTo>
                    <a:pt x="861" y="863"/>
                  </a:lnTo>
                  <a:lnTo>
                    <a:pt x="861" y="863"/>
                  </a:lnTo>
                  <a:lnTo>
                    <a:pt x="827" y="886"/>
                  </a:lnTo>
                  <a:lnTo>
                    <a:pt x="791" y="908"/>
                  </a:lnTo>
                  <a:lnTo>
                    <a:pt x="752" y="929"/>
                  </a:lnTo>
                  <a:lnTo>
                    <a:pt x="711" y="950"/>
                  </a:lnTo>
                  <a:lnTo>
                    <a:pt x="669" y="968"/>
                  </a:lnTo>
                  <a:lnTo>
                    <a:pt x="625" y="987"/>
                  </a:lnTo>
                  <a:lnTo>
                    <a:pt x="578" y="1006"/>
                  </a:lnTo>
                  <a:lnTo>
                    <a:pt x="531" y="1023"/>
                  </a:lnTo>
                  <a:lnTo>
                    <a:pt x="481" y="1038"/>
                  </a:lnTo>
                  <a:lnTo>
                    <a:pt x="430" y="1054"/>
                  </a:lnTo>
                  <a:lnTo>
                    <a:pt x="377" y="1068"/>
                  </a:lnTo>
                  <a:lnTo>
                    <a:pt x="323" y="1082"/>
                  </a:lnTo>
                  <a:lnTo>
                    <a:pt x="267" y="1094"/>
                  </a:lnTo>
                  <a:lnTo>
                    <a:pt x="209" y="1105"/>
                  </a:lnTo>
                  <a:lnTo>
                    <a:pt x="151" y="1115"/>
                  </a:lnTo>
                  <a:lnTo>
                    <a:pt x="91" y="1125"/>
                  </a:lnTo>
                  <a:lnTo>
                    <a:pt x="91" y="1125"/>
                  </a:lnTo>
                  <a:lnTo>
                    <a:pt x="0" y="200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4" name="Freeform 70"/>
            <p:cNvSpPr>
              <a:spLocks/>
            </p:cNvSpPr>
            <p:nvPr/>
          </p:nvSpPr>
          <p:spPr bwMode="auto">
            <a:xfrm flipH="1">
              <a:off x="6843696" y="2626136"/>
              <a:ext cx="219315" cy="180588"/>
            </a:xfrm>
            <a:custGeom>
              <a:avLst/>
              <a:gdLst>
                <a:gd name="T0" fmla="*/ 939 w 1192"/>
                <a:gd name="T1" fmla="*/ 0 h 1258"/>
                <a:gd name="T2" fmla="*/ 939 w 1192"/>
                <a:gd name="T3" fmla="*/ 0 h 1258"/>
                <a:gd name="T4" fmla="*/ 1192 w 1192"/>
                <a:gd name="T5" fmla="*/ 869 h 1258"/>
                <a:gd name="T6" fmla="*/ 1192 w 1192"/>
                <a:gd name="T7" fmla="*/ 869 h 1258"/>
                <a:gd name="T8" fmla="*/ 1169 w 1192"/>
                <a:gd name="T9" fmla="*/ 887 h 1258"/>
                <a:gd name="T10" fmla="*/ 1145 w 1192"/>
                <a:gd name="T11" fmla="*/ 903 h 1258"/>
                <a:gd name="T12" fmla="*/ 1120 w 1192"/>
                <a:gd name="T13" fmla="*/ 919 h 1258"/>
                <a:gd name="T14" fmla="*/ 1094 w 1192"/>
                <a:gd name="T15" fmla="*/ 936 h 1258"/>
                <a:gd name="T16" fmla="*/ 1067 w 1192"/>
                <a:gd name="T17" fmla="*/ 951 h 1258"/>
                <a:gd name="T18" fmla="*/ 1040 w 1192"/>
                <a:gd name="T19" fmla="*/ 967 h 1258"/>
                <a:gd name="T20" fmla="*/ 983 w 1192"/>
                <a:gd name="T21" fmla="*/ 997 h 1258"/>
                <a:gd name="T22" fmla="*/ 923 w 1192"/>
                <a:gd name="T23" fmla="*/ 1026 h 1258"/>
                <a:gd name="T24" fmla="*/ 860 w 1192"/>
                <a:gd name="T25" fmla="*/ 1053 h 1258"/>
                <a:gd name="T26" fmla="*/ 794 w 1192"/>
                <a:gd name="T27" fmla="*/ 1081 h 1258"/>
                <a:gd name="T28" fmla="*/ 725 w 1192"/>
                <a:gd name="T29" fmla="*/ 1106 h 1258"/>
                <a:gd name="T30" fmla="*/ 654 w 1192"/>
                <a:gd name="T31" fmla="*/ 1129 h 1258"/>
                <a:gd name="T32" fmla="*/ 581 w 1192"/>
                <a:gd name="T33" fmla="*/ 1152 h 1258"/>
                <a:gd name="T34" fmla="*/ 505 w 1192"/>
                <a:gd name="T35" fmla="*/ 1174 h 1258"/>
                <a:gd name="T36" fmla="*/ 426 w 1192"/>
                <a:gd name="T37" fmla="*/ 1194 h 1258"/>
                <a:gd name="T38" fmla="*/ 346 w 1192"/>
                <a:gd name="T39" fmla="*/ 1212 h 1258"/>
                <a:gd name="T40" fmla="*/ 263 w 1192"/>
                <a:gd name="T41" fmla="*/ 1228 h 1258"/>
                <a:gd name="T42" fmla="*/ 177 w 1192"/>
                <a:gd name="T43" fmla="*/ 1244 h 1258"/>
                <a:gd name="T44" fmla="*/ 91 w 1192"/>
                <a:gd name="T45" fmla="*/ 1258 h 1258"/>
                <a:gd name="T46" fmla="*/ 91 w 1192"/>
                <a:gd name="T47" fmla="*/ 1258 h 1258"/>
                <a:gd name="T48" fmla="*/ 0 w 1192"/>
                <a:gd name="T49" fmla="*/ 329 h 1258"/>
                <a:gd name="T50" fmla="*/ 0 w 1192"/>
                <a:gd name="T51" fmla="*/ 329 h 1258"/>
                <a:gd name="T52" fmla="*/ 73 w 1192"/>
                <a:gd name="T53" fmla="*/ 318 h 1258"/>
                <a:gd name="T54" fmla="*/ 146 w 1192"/>
                <a:gd name="T55" fmla="*/ 305 h 1258"/>
                <a:gd name="T56" fmla="*/ 216 w 1192"/>
                <a:gd name="T57" fmla="*/ 291 h 1258"/>
                <a:gd name="T58" fmla="*/ 284 w 1192"/>
                <a:gd name="T59" fmla="*/ 275 h 1258"/>
                <a:gd name="T60" fmla="*/ 352 w 1192"/>
                <a:gd name="T61" fmla="*/ 258 h 1258"/>
                <a:gd name="T62" fmla="*/ 416 w 1192"/>
                <a:gd name="T63" fmla="*/ 241 h 1258"/>
                <a:gd name="T64" fmla="*/ 480 w 1192"/>
                <a:gd name="T65" fmla="*/ 221 h 1258"/>
                <a:gd name="T66" fmla="*/ 540 w 1192"/>
                <a:gd name="T67" fmla="*/ 200 h 1258"/>
                <a:gd name="T68" fmla="*/ 598 w 1192"/>
                <a:gd name="T69" fmla="*/ 179 h 1258"/>
                <a:gd name="T70" fmla="*/ 654 w 1192"/>
                <a:gd name="T71" fmla="*/ 156 h 1258"/>
                <a:gd name="T72" fmla="*/ 709 w 1192"/>
                <a:gd name="T73" fmla="*/ 132 h 1258"/>
                <a:gd name="T74" fmla="*/ 761 w 1192"/>
                <a:gd name="T75" fmla="*/ 108 h 1258"/>
                <a:gd name="T76" fmla="*/ 809 w 1192"/>
                <a:gd name="T77" fmla="*/ 82 h 1258"/>
                <a:gd name="T78" fmla="*/ 855 w 1192"/>
                <a:gd name="T79" fmla="*/ 56 h 1258"/>
                <a:gd name="T80" fmla="*/ 899 w 1192"/>
                <a:gd name="T81" fmla="*/ 28 h 1258"/>
                <a:gd name="T82" fmla="*/ 939 w 1192"/>
                <a:gd name="T83" fmla="*/ 0 h 1258"/>
                <a:gd name="T84" fmla="*/ 939 w 1192"/>
                <a:gd name="T85" fmla="*/ 0 h 1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192" h="1258">
                  <a:moveTo>
                    <a:pt x="939" y="0"/>
                  </a:moveTo>
                  <a:lnTo>
                    <a:pt x="939" y="0"/>
                  </a:lnTo>
                  <a:lnTo>
                    <a:pt x="1192" y="869"/>
                  </a:lnTo>
                  <a:lnTo>
                    <a:pt x="1192" y="869"/>
                  </a:lnTo>
                  <a:lnTo>
                    <a:pt x="1169" y="887"/>
                  </a:lnTo>
                  <a:lnTo>
                    <a:pt x="1145" y="903"/>
                  </a:lnTo>
                  <a:lnTo>
                    <a:pt x="1120" y="919"/>
                  </a:lnTo>
                  <a:lnTo>
                    <a:pt x="1094" y="936"/>
                  </a:lnTo>
                  <a:lnTo>
                    <a:pt x="1067" y="951"/>
                  </a:lnTo>
                  <a:lnTo>
                    <a:pt x="1040" y="967"/>
                  </a:lnTo>
                  <a:lnTo>
                    <a:pt x="983" y="997"/>
                  </a:lnTo>
                  <a:lnTo>
                    <a:pt x="923" y="1026"/>
                  </a:lnTo>
                  <a:lnTo>
                    <a:pt x="860" y="1053"/>
                  </a:lnTo>
                  <a:lnTo>
                    <a:pt x="794" y="1081"/>
                  </a:lnTo>
                  <a:lnTo>
                    <a:pt x="725" y="1106"/>
                  </a:lnTo>
                  <a:lnTo>
                    <a:pt x="654" y="1129"/>
                  </a:lnTo>
                  <a:lnTo>
                    <a:pt x="581" y="1152"/>
                  </a:lnTo>
                  <a:lnTo>
                    <a:pt x="505" y="1174"/>
                  </a:lnTo>
                  <a:lnTo>
                    <a:pt x="426" y="1194"/>
                  </a:lnTo>
                  <a:lnTo>
                    <a:pt x="346" y="1212"/>
                  </a:lnTo>
                  <a:lnTo>
                    <a:pt x="263" y="1228"/>
                  </a:lnTo>
                  <a:lnTo>
                    <a:pt x="177" y="1244"/>
                  </a:lnTo>
                  <a:lnTo>
                    <a:pt x="91" y="1258"/>
                  </a:lnTo>
                  <a:lnTo>
                    <a:pt x="91" y="1258"/>
                  </a:lnTo>
                  <a:lnTo>
                    <a:pt x="0" y="329"/>
                  </a:lnTo>
                  <a:lnTo>
                    <a:pt x="0" y="329"/>
                  </a:lnTo>
                  <a:lnTo>
                    <a:pt x="73" y="318"/>
                  </a:lnTo>
                  <a:lnTo>
                    <a:pt x="146" y="305"/>
                  </a:lnTo>
                  <a:lnTo>
                    <a:pt x="216" y="291"/>
                  </a:lnTo>
                  <a:lnTo>
                    <a:pt x="284" y="275"/>
                  </a:lnTo>
                  <a:lnTo>
                    <a:pt x="352" y="258"/>
                  </a:lnTo>
                  <a:lnTo>
                    <a:pt x="416" y="241"/>
                  </a:lnTo>
                  <a:lnTo>
                    <a:pt x="480" y="221"/>
                  </a:lnTo>
                  <a:lnTo>
                    <a:pt x="540" y="200"/>
                  </a:lnTo>
                  <a:lnTo>
                    <a:pt x="598" y="179"/>
                  </a:lnTo>
                  <a:lnTo>
                    <a:pt x="654" y="156"/>
                  </a:lnTo>
                  <a:lnTo>
                    <a:pt x="709" y="132"/>
                  </a:lnTo>
                  <a:lnTo>
                    <a:pt x="761" y="108"/>
                  </a:lnTo>
                  <a:lnTo>
                    <a:pt x="809" y="82"/>
                  </a:lnTo>
                  <a:lnTo>
                    <a:pt x="855" y="56"/>
                  </a:lnTo>
                  <a:lnTo>
                    <a:pt x="899" y="28"/>
                  </a:lnTo>
                  <a:lnTo>
                    <a:pt x="939" y="0"/>
                  </a:lnTo>
                  <a:lnTo>
                    <a:pt x="939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5" name="Freeform 71"/>
            <p:cNvSpPr>
              <a:spLocks/>
            </p:cNvSpPr>
            <p:nvPr/>
          </p:nvSpPr>
          <p:spPr bwMode="auto">
            <a:xfrm flipH="1">
              <a:off x="6890140" y="2494565"/>
              <a:ext cx="190933" cy="178009"/>
            </a:xfrm>
            <a:custGeom>
              <a:avLst/>
              <a:gdLst>
                <a:gd name="T0" fmla="*/ 0 w 1036"/>
                <a:gd name="T1" fmla="*/ 262 h 1245"/>
                <a:gd name="T2" fmla="*/ 0 w 1036"/>
                <a:gd name="T3" fmla="*/ 262 h 1245"/>
                <a:gd name="T4" fmla="*/ 60 w 1036"/>
                <a:gd name="T5" fmla="*/ 252 h 1245"/>
                <a:gd name="T6" fmla="*/ 118 w 1036"/>
                <a:gd name="T7" fmla="*/ 242 h 1245"/>
                <a:gd name="T8" fmla="*/ 176 w 1036"/>
                <a:gd name="T9" fmla="*/ 231 h 1245"/>
                <a:gd name="T10" fmla="*/ 232 w 1036"/>
                <a:gd name="T11" fmla="*/ 219 h 1245"/>
                <a:gd name="T12" fmla="*/ 286 w 1036"/>
                <a:gd name="T13" fmla="*/ 205 h 1245"/>
                <a:gd name="T14" fmla="*/ 339 w 1036"/>
                <a:gd name="T15" fmla="*/ 191 h 1245"/>
                <a:gd name="T16" fmla="*/ 390 w 1036"/>
                <a:gd name="T17" fmla="*/ 175 h 1245"/>
                <a:gd name="T18" fmla="*/ 440 w 1036"/>
                <a:gd name="T19" fmla="*/ 160 h 1245"/>
                <a:gd name="T20" fmla="*/ 487 w 1036"/>
                <a:gd name="T21" fmla="*/ 143 h 1245"/>
                <a:gd name="T22" fmla="*/ 534 w 1036"/>
                <a:gd name="T23" fmla="*/ 124 h 1245"/>
                <a:gd name="T24" fmla="*/ 578 w 1036"/>
                <a:gd name="T25" fmla="*/ 105 h 1245"/>
                <a:gd name="T26" fmla="*/ 620 w 1036"/>
                <a:gd name="T27" fmla="*/ 87 h 1245"/>
                <a:gd name="T28" fmla="*/ 661 w 1036"/>
                <a:gd name="T29" fmla="*/ 66 h 1245"/>
                <a:gd name="T30" fmla="*/ 700 w 1036"/>
                <a:gd name="T31" fmla="*/ 45 h 1245"/>
                <a:gd name="T32" fmla="*/ 736 w 1036"/>
                <a:gd name="T33" fmla="*/ 23 h 1245"/>
                <a:gd name="T34" fmla="*/ 770 w 1036"/>
                <a:gd name="T35" fmla="*/ 0 h 1245"/>
                <a:gd name="T36" fmla="*/ 770 w 1036"/>
                <a:gd name="T37" fmla="*/ 0 h 1245"/>
                <a:gd name="T38" fmla="*/ 1036 w 1036"/>
                <a:gd name="T39" fmla="*/ 916 h 1245"/>
                <a:gd name="T40" fmla="*/ 1036 w 1036"/>
                <a:gd name="T41" fmla="*/ 916 h 1245"/>
                <a:gd name="T42" fmla="*/ 996 w 1036"/>
                <a:gd name="T43" fmla="*/ 944 h 1245"/>
                <a:gd name="T44" fmla="*/ 952 w 1036"/>
                <a:gd name="T45" fmla="*/ 972 h 1245"/>
                <a:gd name="T46" fmla="*/ 906 w 1036"/>
                <a:gd name="T47" fmla="*/ 998 h 1245"/>
                <a:gd name="T48" fmla="*/ 858 w 1036"/>
                <a:gd name="T49" fmla="*/ 1024 h 1245"/>
                <a:gd name="T50" fmla="*/ 806 w 1036"/>
                <a:gd name="T51" fmla="*/ 1048 h 1245"/>
                <a:gd name="T52" fmla="*/ 751 w 1036"/>
                <a:gd name="T53" fmla="*/ 1072 h 1245"/>
                <a:gd name="T54" fmla="*/ 695 w 1036"/>
                <a:gd name="T55" fmla="*/ 1095 h 1245"/>
                <a:gd name="T56" fmla="*/ 637 w 1036"/>
                <a:gd name="T57" fmla="*/ 1116 h 1245"/>
                <a:gd name="T58" fmla="*/ 577 w 1036"/>
                <a:gd name="T59" fmla="*/ 1137 h 1245"/>
                <a:gd name="T60" fmla="*/ 513 w 1036"/>
                <a:gd name="T61" fmla="*/ 1157 h 1245"/>
                <a:gd name="T62" fmla="*/ 449 w 1036"/>
                <a:gd name="T63" fmla="*/ 1174 h 1245"/>
                <a:gd name="T64" fmla="*/ 381 w 1036"/>
                <a:gd name="T65" fmla="*/ 1191 h 1245"/>
                <a:gd name="T66" fmla="*/ 313 w 1036"/>
                <a:gd name="T67" fmla="*/ 1207 h 1245"/>
                <a:gd name="T68" fmla="*/ 243 w 1036"/>
                <a:gd name="T69" fmla="*/ 1221 h 1245"/>
                <a:gd name="T70" fmla="*/ 170 w 1036"/>
                <a:gd name="T71" fmla="*/ 1234 h 1245"/>
                <a:gd name="T72" fmla="*/ 97 w 1036"/>
                <a:gd name="T73" fmla="*/ 1245 h 1245"/>
                <a:gd name="T74" fmla="*/ 97 w 1036"/>
                <a:gd name="T75" fmla="*/ 1245 h 1245"/>
                <a:gd name="T76" fmla="*/ 0 w 1036"/>
                <a:gd name="T77" fmla="*/ 262 h 1245"/>
                <a:gd name="T78" fmla="*/ 0 w 1036"/>
                <a:gd name="T79" fmla="*/ 26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36" h="1245">
                  <a:moveTo>
                    <a:pt x="0" y="262"/>
                  </a:moveTo>
                  <a:lnTo>
                    <a:pt x="0" y="262"/>
                  </a:lnTo>
                  <a:lnTo>
                    <a:pt x="60" y="252"/>
                  </a:lnTo>
                  <a:lnTo>
                    <a:pt x="118" y="242"/>
                  </a:lnTo>
                  <a:lnTo>
                    <a:pt x="176" y="231"/>
                  </a:lnTo>
                  <a:lnTo>
                    <a:pt x="232" y="219"/>
                  </a:lnTo>
                  <a:lnTo>
                    <a:pt x="286" y="205"/>
                  </a:lnTo>
                  <a:lnTo>
                    <a:pt x="339" y="191"/>
                  </a:lnTo>
                  <a:lnTo>
                    <a:pt x="390" y="175"/>
                  </a:lnTo>
                  <a:lnTo>
                    <a:pt x="440" y="160"/>
                  </a:lnTo>
                  <a:lnTo>
                    <a:pt x="487" y="143"/>
                  </a:lnTo>
                  <a:lnTo>
                    <a:pt x="534" y="124"/>
                  </a:lnTo>
                  <a:lnTo>
                    <a:pt x="578" y="105"/>
                  </a:lnTo>
                  <a:lnTo>
                    <a:pt x="620" y="87"/>
                  </a:lnTo>
                  <a:lnTo>
                    <a:pt x="661" y="66"/>
                  </a:lnTo>
                  <a:lnTo>
                    <a:pt x="700" y="45"/>
                  </a:lnTo>
                  <a:lnTo>
                    <a:pt x="736" y="23"/>
                  </a:lnTo>
                  <a:lnTo>
                    <a:pt x="770" y="0"/>
                  </a:lnTo>
                  <a:lnTo>
                    <a:pt x="770" y="0"/>
                  </a:lnTo>
                  <a:lnTo>
                    <a:pt x="1036" y="916"/>
                  </a:lnTo>
                  <a:lnTo>
                    <a:pt x="1036" y="916"/>
                  </a:lnTo>
                  <a:lnTo>
                    <a:pt x="996" y="944"/>
                  </a:lnTo>
                  <a:lnTo>
                    <a:pt x="952" y="972"/>
                  </a:lnTo>
                  <a:lnTo>
                    <a:pt x="906" y="998"/>
                  </a:lnTo>
                  <a:lnTo>
                    <a:pt x="858" y="1024"/>
                  </a:lnTo>
                  <a:lnTo>
                    <a:pt x="806" y="1048"/>
                  </a:lnTo>
                  <a:lnTo>
                    <a:pt x="751" y="1072"/>
                  </a:lnTo>
                  <a:lnTo>
                    <a:pt x="695" y="1095"/>
                  </a:lnTo>
                  <a:lnTo>
                    <a:pt x="637" y="1116"/>
                  </a:lnTo>
                  <a:lnTo>
                    <a:pt x="577" y="1137"/>
                  </a:lnTo>
                  <a:lnTo>
                    <a:pt x="513" y="1157"/>
                  </a:lnTo>
                  <a:lnTo>
                    <a:pt x="449" y="1174"/>
                  </a:lnTo>
                  <a:lnTo>
                    <a:pt x="381" y="1191"/>
                  </a:lnTo>
                  <a:lnTo>
                    <a:pt x="313" y="1207"/>
                  </a:lnTo>
                  <a:lnTo>
                    <a:pt x="243" y="1221"/>
                  </a:lnTo>
                  <a:lnTo>
                    <a:pt x="170" y="1234"/>
                  </a:lnTo>
                  <a:lnTo>
                    <a:pt x="97" y="1245"/>
                  </a:lnTo>
                  <a:lnTo>
                    <a:pt x="97" y="1245"/>
                  </a:lnTo>
                  <a:lnTo>
                    <a:pt x="0" y="262"/>
                  </a:lnTo>
                  <a:lnTo>
                    <a:pt x="0" y="262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6" name="Freeform 72"/>
            <p:cNvSpPr>
              <a:spLocks/>
            </p:cNvSpPr>
            <p:nvPr/>
          </p:nvSpPr>
          <p:spPr bwMode="auto">
            <a:xfrm flipH="1">
              <a:off x="6985606" y="2240451"/>
              <a:ext cx="130299" cy="158660"/>
            </a:xfrm>
            <a:custGeom>
              <a:avLst/>
              <a:gdLst>
                <a:gd name="T0" fmla="*/ 0 w 706"/>
                <a:gd name="T1" fmla="*/ 117 h 1110"/>
                <a:gd name="T2" fmla="*/ 0 w 706"/>
                <a:gd name="T3" fmla="*/ 117 h 1110"/>
                <a:gd name="T4" fmla="*/ 63 w 706"/>
                <a:gd name="T5" fmla="*/ 108 h 1110"/>
                <a:gd name="T6" fmla="*/ 124 w 706"/>
                <a:gd name="T7" fmla="*/ 98 h 1110"/>
                <a:gd name="T8" fmla="*/ 184 w 706"/>
                <a:gd name="T9" fmla="*/ 85 h 1110"/>
                <a:gd name="T10" fmla="*/ 241 w 706"/>
                <a:gd name="T11" fmla="*/ 71 h 1110"/>
                <a:gd name="T12" fmla="*/ 295 w 706"/>
                <a:gd name="T13" fmla="*/ 55 h 1110"/>
                <a:gd name="T14" fmla="*/ 347 w 706"/>
                <a:gd name="T15" fmla="*/ 38 h 1110"/>
                <a:gd name="T16" fmla="*/ 396 w 706"/>
                <a:gd name="T17" fmla="*/ 20 h 1110"/>
                <a:gd name="T18" fmla="*/ 442 w 706"/>
                <a:gd name="T19" fmla="*/ 0 h 1110"/>
                <a:gd name="T20" fmla="*/ 442 w 706"/>
                <a:gd name="T21" fmla="*/ 0 h 1110"/>
                <a:gd name="T22" fmla="*/ 706 w 706"/>
                <a:gd name="T23" fmla="*/ 910 h 1110"/>
                <a:gd name="T24" fmla="*/ 706 w 706"/>
                <a:gd name="T25" fmla="*/ 910 h 1110"/>
                <a:gd name="T26" fmla="*/ 679 w 706"/>
                <a:gd name="T27" fmla="*/ 927 h 1110"/>
                <a:gd name="T28" fmla="*/ 649 w 706"/>
                <a:gd name="T29" fmla="*/ 944 h 1110"/>
                <a:gd name="T30" fmla="*/ 618 w 706"/>
                <a:gd name="T31" fmla="*/ 960 h 1110"/>
                <a:gd name="T32" fmla="*/ 586 w 706"/>
                <a:gd name="T33" fmla="*/ 976 h 1110"/>
                <a:gd name="T34" fmla="*/ 552 w 706"/>
                <a:gd name="T35" fmla="*/ 991 h 1110"/>
                <a:gd name="T36" fmla="*/ 516 w 706"/>
                <a:gd name="T37" fmla="*/ 1005 h 1110"/>
                <a:gd name="T38" fmla="*/ 480 w 706"/>
                <a:gd name="T39" fmla="*/ 1019 h 1110"/>
                <a:gd name="T40" fmla="*/ 443 w 706"/>
                <a:gd name="T41" fmla="*/ 1032 h 1110"/>
                <a:gd name="T42" fmla="*/ 403 w 706"/>
                <a:gd name="T43" fmla="*/ 1045 h 1110"/>
                <a:gd name="T44" fmla="*/ 363 w 706"/>
                <a:gd name="T45" fmla="*/ 1056 h 1110"/>
                <a:gd name="T46" fmla="*/ 321 w 706"/>
                <a:gd name="T47" fmla="*/ 1068 h 1110"/>
                <a:gd name="T48" fmla="*/ 278 w 706"/>
                <a:gd name="T49" fmla="*/ 1078 h 1110"/>
                <a:gd name="T50" fmla="*/ 235 w 706"/>
                <a:gd name="T51" fmla="*/ 1088 h 1110"/>
                <a:gd name="T52" fmla="*/ 189 w 706"/>
                <a:gd name="T53" fmla="*/ 1096 h 1110"/>
                <a:gd name="T54" fmla="*/ 143 w 706"/>
                <a:gd name="T55" fmla="*/ 1104 h 1110"/>
                <a:gd name="T56" fmla="*/ 96 w 706"/>
                <a:gd name="T57" fmla="*/ 1110 h 1110"/>
                <a:gd name="T58" fmla="*/ 96 w 706"/>
                <a:gd name="T59" fmla="*/ 1110 h 1110"/>
                <a:gd name="T60" fmla="*/ 0 w 706"/>
                <a:gd name="T61" fmla="*/ 117 h 1110"/>
                <a:gd name="T62" fmla="*/ 0 w 706"/>
                <a:gd name="T63" fmla="*/ 117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06" h="1110">
                  <a:moveTo>
                    <a:pt x="0" y="117"/>
                  </a:moveTo>
                  <a:lnTo>
                    <a:pt x="0" y="117"/>
                  </a:lnTo>
                  <a:lnTo>
                    <a:pt x="63" y="108"/>
                  </a:lnTo>
                  <a:lnTo>
                    <a:pt x="124" y="98"/>
                  </a:lnTo>
                  <a:lnTo>
                    <a:pt x="184" y="85"/>
                  </a:lnTo>
                  <a:lnTo>
                    <a:pt x="241" y="71"/>
                  </a:lnTo>
                  <a:lnTo>
                    <a:pt x="295" y="55"/>
                  </a:lnTo>
                  <a:lnTo>
                    <a:pt x="347" y="38"/>
                  </a:lnTo>
                  <a:lnTo>
                    <a:pt x="396" y="20"/>
                  </a:lnTo>
                  <a:lnTo>
                    <a:pt x="442" y="0"/>
                  </a:lnTo>
                  <a:lnTo>
                    <a:pt x="442" y="0"/>
                  </a:lnTo>
                  <a:lnTo>
                    <a:pt x="706" y="910"/>
                  </a:lnTo>
                  <a:lnTo>
                    <a:pt x="706" y="910"/>
                  </a:lnTo>
                  <a:lnTo>
                    <a:pt x="679" y="927"/>
                  </a:lnTo>
                  <a:lnTo>
                    <a:pt x="649" y="944"/>
                  </a:lnTo>
                  <a:lnTo>
                    <a:pt x="618" y="960"/>
                  </a:lnTo>
                  <a:lnTo>
                    <a:pt x="586" y="976"/>
                  </a:lnTo>
                  <a:lnTo>
                    <a:pt x="552" y="991"/>
                  </a:lnTo>
                  <a:lnTo>
                    <a:pt x="516" y="1005"/>
                  </a:lnTo>
                  <a:lnTo>
                    <a:pt x="480" y="1019"/>
                  </a:lnTo>
                  <a:lnTo>
                    <a:pt x="443" y="1032"/>
                  </a:lnTo>
                  <a:lnTo>
                    <a:pt x="403" y="1045"/>
                  </a:lnTo>
                  <a:lnTo>
                    <a:pt x="363" y="1056"/>
                  </a:lnTo>
                  <a:lnTo>
                    <a:pt x="321" y="1068"/>
                  </a:lnTo>
                  <a:lnTo>
                    <a:pt x="278" y="1078"/>
                  </a:lnTo>
                  <a:lnTo>
                    <a:pt x="235" y="1088"/>
                  </a:lnTo>
                  <a:lnTo>
                    <a:pt x="189" y="1096"/>
                  </a:lnTo>
                  <a:lnTo>
                    <a:pt x="143" y="1104"/>
                  </a:lnTo>
                  <a:lnTo>
                    <a:pt x="96" y="1110"/>
                  </a:lnTo>
                  <a:lnTo>
                    <a:pt x="96" y="1110"/>
                  </a:lnTo>
                  <a:lnTo>
                    <a:pt x="0" y="11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7" name="Freeform 73"/>
            <p:cNvSpPr>
              <a:spLocks/>
            </p:cNvSpPr>
            <p:nvPr/>
          </p:nvSpPr>
          <p:spPr bwMode="auto">
            <a:xfrm flipH="1">
              <a:off x="7474550" y="2903468"/>
              <a:ext cx="15481" cy="5160"/>
            </a:xfrm>
            <a:custGeom>
              <a:avLst/>
              <a:gdLst>
                <a:gd name="T0" fmla="*/ 0 w 85"/>
                <a:gd name="T1" fmla="*/ 1 h 38"/>
                <a:gd name="T2" fmla="*/ 1 w 85"/>
                <a:gd name="T3" fmla="*/ 0 h 38"/>
                <a:gd name="T4" fmla="*/ 1 w 85"/>
                <a:gd name="T5" fmla="*/ 0 h 38"/>
                <a:gd name="T6" fmla="*/ 43 w 85"/>
                <a:gd name="T7" fmla="*/ 18 h 38"/>
                <a:gd name="T8" fmla="*/ 85 w 85"/>
                <a:gd name="T9" fmla="*/ 35 h 38"/>
                <a:gd name="T10" fmla="*/ 84 w 85"/>
                <a:gd name="T11" fmla="*/ 38 h 38"/>
                <a:gd name="T12" fmla="*/ 84 w 85"/>
                <a:gd name="T13" fmla="*/ 38 h 38"/>
                <a:gd name="T14" fmla="*/ 42 w 85"/>
                <a:gd name="T15" fmla="*/ 21 h 38"/>
                <a:gd name="T16" fmla="*/ 0 w 85"/>
                <a:gd name="T17" fmla="*/ 2 h 38"/>
                <a:gd name="T18" fmla="*/ 1 w 85"/>
                <a:gd name="T19" fmla="*/ 0 h 38"/>
                <a:gd name="T20" fmla="*/ 0 w 85"/>
                <a:gd name="T21" fmla="*/ 1 h 38"/>
                <a:gd name="T22" fmla="*/ 1 w 85"/>
                <a:gd name="T23" fmla="*/ 0 h 38"/>
                <a:gd name="T24" fmla="*/ 1 w 85"/>
                <a:gd name="T25" fmla="*/ 0 h 38"/>
                <a:gd name="T26" fmla="*/ 43 w 85"/>
                <a:gd name="T27" fmla="*/ 19 h 38"/>
                <a:gd name="T28" fmla="*/ 85 w 85"/>
                <a:gd name="T29" fmla="*/ 35 h 38"/>
                <a:gd name="T30" fmla="*/ 84 w 85"/>
                <a:gd name="T31" fmla="*/ 36 h 38"/>
                <a:gd name="T32" fmla="*/ 84 w 85"/>
                <a:gd name="T33" fmla="*/ 38 h 38"/>
                <a:gd name="T34" fmla="*/ 84 w 85"/>
                <a:gd name="T35" fmla="*/ 38 h 38"/>
                <a:gd name="T36" fmla="*/ 42 w 85"/>
                <a:gd name="T37" fmla="*/ 20 h 38"/>
                <a:gd name="T38" fmla="*/ 0 w 85"/>
                <a:gd name="T39" fmla="*/ 2 h 38"/>
                <a:gd name="T40" fmla="*/ 0 w 85"/>
                <a:gd name="T41" fmla="*/ 1 h 38"/>
                <a:gd name="T42" fmla="*/ 1 w 85"/>
                <a:gd name="T43" fmla="*/ 0 h 38"/>
                <a:gd name="T44" fmla="*/ 0 w 85"/>
                <a:gd name="T45" fmla="*/ 1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5" h="38">
                  <a:moveTo>
                    <a:pt x="0" y="1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43" y="18"/>
                  </a:lnTo>
                  <a:lnTo>
                    <a:pt x="85" y="35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42" y="21"/>
                  </a:lnTo>
                  <a:lnTo>
                    <a:pt x="0" y="2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43" y="19"/>
                  </a:lnTo>
                  <a:lnTo>
                    <a:pt x="85" y="35"/>
                  </a:lnTo>
                  <a:lnTo>
                    <a:pt x="84" y="36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42" y="20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8" name="Freeform 74"/>
            <p:cNvSpPr>
              <a:spLocks/>
            </p:cNvSpPr>
            <p:nvPr/>
          </p:nvSpPr>
          <p:spPr bwMode="auto">
            <a:xfrm flipH="1">
              <a:off x="7533895" y="2885409"/>
              <a:ext cx="0" cy="1290"/>
            </a:xfrm>
            <a:custGeom>
              <a:avLst/>
              <a:gdLst>
                <a:gd name="T0" fmla="*/ 1 w 2"/>
                <a:gd name="T1" fmla="*/ 2 h 4"/>
                <a:gd name="T2" fmla="*/ 0 w 2"/>
                <a:gd name="T3" fmla="*/ 2 h 4"/>
                <a:gd name="T4" fmla="*/ 0 w 2"/>
                <a:gd name="T5" fmla="*/ 2 h 4"/>
                <a:gd name="T6" fmla="*/ 0 w 2"/>
                <a:gd name="T7" fmla="*/ 0 h 4"/>
                <a:gd name="T8" fmla="*/ 2 w 2"/>
                <a:gd name="T9" fmla="*/ 1 h 4"/>
                <a:gd name="T10" fmla="*/ 1 w 2"/>
                <a:gd name="T11" fmla="*/ 4 h 4"/>
                <a:gd name="T12" fmla="*/ 1 w 2"/>
                <a:gd name="T13" fmla="*/ 4 h 4"/>
                <a:gd name="T14" fmla="*/ 0 w 2"/>
                <a:gd name="T15" fmla="*/ 3 h 4"/>
                <a:gd name="T16" fmla="*/ 0 w 2"/>
                <a:gd name="T17" fmla="*/ 2 h 4"/>
                <a:gd name="T18" fmla="*/ 1 w 2"/>
                <a:gd name="T19" fmla="*/ 2 h 4"/>
                <a:gd name="T20" fmla="*/ 2 w 2"/>
                <a:gd name="T21" fmla="*/ 1 h 4"/>
                <a:gd name="T22" fmla="*/ 2 w 2"/>
                <a:gd name="T23" fmla="*/ 1 h 4"/>
                <a:gd name="T24" fmla="*/ 1 w 2"/>
                <a:gd name="T25" fmla="*/ 3 h 4"/>
                <a:gd name="T26" fmla="*/ 1 w 2"/>
                <a:gd name="T27" fmla="*/ 4 h 4"/>
                <a:gd name="T28" fmla="*/ 0 w 2"/>
                <a:gd name="T29" fmla="*/ 4 h 4"/>
                <a:gd name="T30" fmla="*/ 1 w 2"/>
                <a:gd name="T31" fmla="*/ 2 h 4"/>
                <a:gd name="T32" fmla="*/ 2 w 2"/>
                <a:gd name="T33" fmla="*/ 2 h 4"/>
                <a:gd name="T34" fmla="*/ 2 w 2"/>
                <a:gd name="T35" fmla="*/ 2 h 4"/>
                <a:gd name="T36" fmla="*/ 1 w 2"/>
                <a:gd name="T37" fmla="*/ 2 h 4"/>
                <a:gd name="T38" fmla="*/ 2 w 2"/>
                <a:gd name="T39" fmla="*/ 1 h 4"/>
                <a:gd name="T40" fmla="*/ 1 w 2"/>
                <a:gd name="T4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" h="4">
                  <a:moveTo>
                    <a:pt x="1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19" name="Freeform 75"/>
            <p:cNvSpPr>
              <a:spLocks/>
            </p:cNvSpPr>
            <p:nvPr/>
          </p:nvSpPr>
          <p:spPr bwMode="auto">
            <a:xfrm flipH="1">
              <a:off x="7064301" y="2021165"/>
              <a:ext cx="202544" cy="101904"/>
            </a:xfrm>
            <a:custGeom>
              <a:avLst/>
              <a:gdLst>
                <a:gd name="T0" fmla="*/ 955 w 1095"/>
                <a:gd name="T1" fmla="*/ 464 h 713"/>
                <a:gd name="T2" fmla="*/ 942 w 1095"/>
                <a:gd name="T3" fmla="*/ 423 h 713"/>
                <a:gd name="T4" fmla="*/ 915 w 1095"/>
                <a:gd name="T5" fmla="*/ 375 h 713"/>
                <a:gd name="T6" fmla="*/ 881 w 1095"/>
                <a:gd name="T7" fmla="*/ 344 h 713"/>
                <a:gd name="T8" fmla="*/ 840 w 1095"/>
                <a:gd name="T9" fmla="*/ 327 h 713"/>
                <a:gd name="T10" fmla="*/ 797 w 1095"/>
                <a:gd name="T11" fmla="*/ 325 h 713"/>
                <a:gd name="T12" fmla="*/ 767 w 1095"/>
                <a:gd name="T13" fmla="*/ 332 h 713"/>
                <a:gd name="T14" fmla="*/ 746 w 1095"/>
                <a:gd name="T15" fmla="*/ 342 h 713"/>
                <a:gd name="T16" fmla="*/ 731 w 1095"/>
                <a:gd name="T17" fmla="*/ 358 h 713"/>
                <a:gd name="T18" fmla="*/ 718 w 1095"/>
                <a:gd name="T19" fmla="*/ 386 h 713"/>
                <a:gd name="T20" fmla="*/ 709 w 1095"/>
                <a:gd name="T21" fmla="*/ 438 h 713"/>
                <a:gd name="T22" fmla="*/ 713 w 1095"/>
                <a:gd name="T23" fmla="*/ 519 h 713"/>
                <a:gd name="T24" fmla="*/ 719 w 1095"/>
                <a:gd name="T25" fmla="*/ 600 h 713"/>
                <a:gd name="T26" fmla="*/ 687 w 1095"/>
                <a:gd name="T27" fmla="*/ 706 h 713"/>
                <a:gd name="T28" fmla="*/ 552 w 1095"/>
                <a:gd name="T29" fmla="*/ 713 h 713"/>
                <a:gd name="T30" fmla="*/ 458 w 1095"/>
                <a:gd name="T31" fmla="*/ 709 h 713"/>
                <a:gd name="T32" fmla="*/ 325 w 1095"/>
                <a:gd name="T33" fmla="*/ 692 h 713"/>
                <a:gd name="T34" fmla="*/ 207 w 1095"/>
                <a:gd name="T35" fmla="*/ 663 h 713"/>
                <a:gd name="T36" fmla="*/ 109 w 1095"/>
                <a:gd name="T37" fmla="*/ 623 h 713"/>
                <a:gd name="T38" fmla="*/ 35 w 1095"/>
                <a:gd name="T39" fmla="*/ 575 h 713"/>
                <a:gd name="T40" fmla="*/ 8 w 1095"/>
                <a:gd name="T41" fmla="*/ 548 h 713"/>
                <a:gd name="T42" fmla="*/ 44 w 1095"/>
                <a:gd name="T43" fmla="*/ 416 h 713"/>
                <a:gd name="T44" fmla="*/ 72 w 1095"/>
                <a:gd name="T45" fmla="*/ 341 h 713"/>
                <a:gd name="T46" fmla="*/ 89 w 1095"/>
                <a:gd name="T47" fmla="*/ 288 h 713"/>
                <a:gd name="T48" fmla="*/ 114 w 1095"/>
                <a:gd name="T49" fmla="*/ 238 h 713"/>
                <a:gd name="T50" fmla="*/ 144 w 1095"/>
                <a:gd name="T51" fmla="*/ 191 h 713"/>
                <a:gd name="T52" fmla="*/ 181 w 1095"/>
                <a:gd name="T53" fmla="*/ 148 h 713"/>
                <a:gd name="T54" fmla="*/ 223 w 1095"/>
                <a:gd name="T55" fmla="*/ 110 h 713"/>
                <a:gd name="T56" fmla="*/ 271 w 1095"/>
                <a:gd name="T57" fmla="*/ 76 h 713"/>
                <a:gd name="T58" fmla="*/ 323 w 1095"/>
                <a:gd name="T59" fmla="*/ 48 h 713"/>
                <a:gd name="T60" fmla="*/ 379 w 1095"/>
                <a:gd name="T61" fmla="*/ 26 h 713"/>
                <a:gd name="T62" fmla="*/ 439 w 1095"/>
                <a:gd name="T63" fmla="*/ 11 h 713"/>
                <a:gd name="T64" fmla="*/ 502 w 1095"/>
                <a:gd name="T65" fmla="*/ 2 h 713"/>
                <a:gd name="T66" fmla="*/ 544 w 1095"/>
                <a:gd name="T67" fmla="*/ 0 h 713"/>
                <a:gd name="T68" fmla="*/ 604 w 1095"/>
                <a:gd name="T69" fmla="*/ 4 h 713"/>
                <a:gd name="T70" fmla="*/ 662 w 1095"/>
                <a:gd name="T71" fmla="*/ 14 h 713"/>
                <a:gd name="T72" fmla="*/ 717 w 1095"/>
                <a:gd name="T73" fmla="*/ 29 h 713"/>
                <a:gd name="T74" fmla="*/ 769 w 1095"/>
                <a:gd name="T75" fmla="*/ 50 h 713"/>
                <a:gd name="T76" fmla="*/ 818 w 1095"/>
                <a:gd name="T77" fmla="*/ 76 h 713"/>
                <a:gd name="T78" fmla="*/ 862 w 1095"/>
                <a:gd name="T79" fmla="*/ 107 h 713"/>
                <a:gd name="T80" fmla="*/ 903 w 1095"/>
                <a:gd name="T81" fmla="*/ 143 h 713"/>
                <a:gd name="T82" fmla="*/ 938 w 1095"/>
                <a:gd name="T83" fmla="*/ 181 h 713"/>
                <a:gd name="T84" fmla="*/ 968 w 1095"/>
                <a:gd name="T85" fmla="*/ 224 h 713"/>
                <a:gd name="T86" fmla="*/ 992 w 1095"/>
                <a:gd name="T87" fmla="*/ 270 h 713"/>
                <a:gd name="T88" fmla="*/ 1005 w 1095"/>
                <a:gd name="T89" fmla="*/ 302 h 713"/>
                <a:gd name="T90" fmla="*/ 1095 w 1095"/>
                <a:gd name="T91" fmla="*/ 550 h 713"/>
                <a:gd name="T92" fmla="*/ 1066 w 1095"/>
                <a:gd name="T93" fmla="*/ 578 h 713"/>
                <a:gd name="T94" fmla="*/ 1029 w 1095"/>
                <a:gd name="T95" fmla="*/ 606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95" h="713">
                  <a:moveTo>
                    <a:pt x="1000" y="622"/>
                  </a:moveTo>
                  <a:lnTo>
                    <a:pt x="1000" y="622"/>
                  </a:lnTo>
                  <a:lnTo>
                    <a:pt x="955" y="464"/>
                  </a:lnTo>
                  <a:lnTo>
                    <a:pt x="955" y="464"/>
                  </a:lnTo>
                  <a:lnTo>
                    <a:pt x="949" y="442"/>
                  </a:lnTo>
                  <a:lnTo>
                    <a:pt x="942" y="423"/>
                  </a:lnTo>
                  <a:lnTo>
                    <a:pt x="934" y="405"/>
                  </a:lnTo>
                  <a:lnTo>
                    <a:pt x="925" y="390"/>
                  </a:lnTo>
                  <a:lnTo>
                    <a:pt x="915" y="375"/>
                  </a:lnTo>
                  <a:lnTo>
                    <a:pt x="904" y="364"/>
                  </a:lnTo>
                  <a:lnTo>
                    <a:pt x="892" y="352"/>
                  </a:lnTo>
                  <a:lnTo>
                    <a:pt x="881" y="344"/>
                  </a:lnTo>
                  <a:lnTo>
                    <a:pt x="867" y="337"/>
                  </a:lnTo>
                  <a:lnTo>
                    <a:pt x="855" y="332"/>
                  </a:lnTo>
                  <a:lnTo>
                    <a:pt x="840" y="327"/>
                  </a:lnTo>
                  <a:lnTo>
                    <a:pt x="827" y="325"/>
                  </a:lnTo>
                  <a:lnTo>
                    <a:pt x="812" y="324"/>
                  </a:lnTo>
                  <a:lnTo>
                    <a:pt x="797" y="325"/>
                  </a:lnTo>
                  <a:lnTo>
                    <a:pt x="782" y="327"/>
                  </a:lnTo>
                  <a:lnTo>
                    <a:pt x="767" y="332"/>
                  </a:lnTo>
                  <a:lnTo>
                    <a:pt x="767" y="332"/>
                  </a:lnTo>
                  <a:lnTo>
                    <a:pt x="759" y="335"/>
                  </a:lnTo>
                  <a:lnTo>
                    <a:pt x="752" y="338"/>
                  </a:lnTo>
                  <a:lnTo>
                    <a:pt x="746" y="342"/>
                  </a:lnTo>
                  <a:lnTo>
                    <a:pt x="741" y="347"/>
                  </a:lnTo>
                  <a:lnTo>
                    <a:pt x="735" y="352"/>
                  </a:lnTo>
                  <a:lnTo>
                    <a:pt x="731" y="358"/>
                  </a:lnTo>
                  <a:lnTo>
                    <a:pt x="727" y="364"/>
                  </a:lnTo>
                  <a:lnTo>
                    <a:pt x="723" y="371"/>
                  </a:lnTo>
                  <a:lnTo>
                    <a:pt x="718" y="386"/>
                  </a:lnTo>
                  <a:lnTo>
                    <a:pt x="714" y="401"/>
                  </a:lnTo>
                  <a:lnTo>
                    <a:pt x="710" y="419"/>
                  </a:lnTo>
                  <a:lnTo>
                    <a:pt x="709" y="438"/>
                  </a:lnTo>
                  <a:lnTo>
                    <a:pt x="708" y="458"/>
                  </a:lnTo>
                  <a:lnTo>
                    <a:pt x="709" y="478"/>
                  </a:lnTo>
                  <a:lnTo>
                    <a:pt x="713" y="519"/>
                  </a:lnTo>
                  <a:lnTo>
                    <a:pt x="716" y="561"/>
                  </a:lnTo>
                  <a:lnTo>
                    <a:pt x="719" y="600"/>
                  </a:lnTo>
                  <a:lnTo>
                    <a:pt x="719" y="600"/>
                  </a:lnTo>
                  <a:lnTo>
                    <a:pt x="728" y="700"/>
                  </a:lnTo>
                  <a:lnTo>
                    <a:pt x="728" y="700"/>
                  </a:lnTo>
                  <a:lnTo>
                    <a:pt x="687" y="706"/>
                  </a:lnTo>
                  <a:lnTo>
                    <a:pt x="643" y="710"/>
                  </a:lnTo>
                  <a:lnTo>
                    <a:pt x="598" y="712"/>
                  </a:lnTo>
                  <a:lnTo>
                    <a:pt x="552" y="713"/>
                  </a:lnTo>
                  <a:lnTo>
                    <a:pt x="552" y="713"/>
                  </a:lnTo>
                  <a:lnTo>
                    <a:pt x="505" y="712"/>
                  </a:lnTo>
                  <a:lnTo>
                    <a:pt x="458" y="709"/>
                  </a:lnTo>
                  <a:lnTo>
                    <a:pt x="412" y="705"/>
                  </a:lnTo>
                  <a:lnTo>
                    <a:pt x="367" y="699"/>
                  </a:lnTo>
                  <a:lnTo>
                    <a:pt x="325" y="692"/>
                  </a:lnTo>
                  <a:lnTo>
                    <a:pt x="283" y="684"/>
                  </a:lnTo>
                  <a:lnTo>
                    <a:pt x="245" y="674"/>
                  </a:lnTo>
                  <a:lnTo>
                    <a:pt x="207" y="663"/>
                  </a:lnTo>
                  <a:lnTo>
                    <a:pt x="172" y="651"/>
                  </a:lnTo>
                  <a:lnTo>
                    <a:pt x="140" y="638"/>
                  </a:lnTo>
                  <a:lnTo>
                    <a:pt x="109" y="623"/>
                  </a:lnTo>
                  <a:lnTo>
                    <a:pt x="82" y="609"/>
                  </a:lnTo>
                  <a:lnTo>
                    <a:pt x="57" y="592"/>
                  </a:lnTo>
                  <a:lnTo>
                    <a:pt x="35" y="575"/>
                  </a:lnTo>
                  <a:lnTo>
                    <a:pt x="24" y="566"/>
                  </a:lnTo>
                  <a:lnTo>
                    <a:pt x="16" y="558"/>
                  </a:lnTo>
                  <a:lnTo>
                    <a:pt x="8" y="548"/>
                  </a:lnTo>
                  <a:lnTo>
                    <a:pt x="0" y="539"/>
                  </a:lnTo>
                  <a:lnTo>
                    <a:pt x="0" y="539"/>
                  </a:lnTo>
                  <a:lnTo>
                    <a:pt x="44" y="416"/>
                  </a:lnTo>
                  <a:lnTo>
                    <a:pt x="72" y="341"/>
                  </a:lnTo>
                  <a:lnTo>
                    <a:pt x="72" y="341"/>
                  </a:lnTo>
                  <a:lnTo>
                    <a:pt x="72" y="341"/>
                  </a:lnTo>
                  <a:lnTo>
                    <a:pt x="77" y="323"/>
                  </a:lnTo>
                  <a:lnTo>
                    <a:pt x="83" y="305"/>
                  </a:lnTo>
                  <a:lnTo>
                    <a:pt x="89" y="288"/>
                  </a:lnTo>
                  <a:lnTo>
                    <a:pt x="96" y="270"/>
                  </a:lnTo>
                  <a:lnTo>
                    <a:pt x="104" y="253"/>
                  </a:lnTo>
                  <a:lnTo>
                    <a:pt x="114" y="238"/>
                  </a:lnTo>
                  <a:lnTo>
                    <a:pt x="123" y="221"/>
                  </a:lnTo>
                  <a:lnTo>
                    <a:pt x="133" y="205"/>
                  </a:lnTo>
                  <a:lnTo>
                    <a:pt x="144" y="191"/>
                  </a:lnTo>
                  <a:lnTo>
                    <a:pt x="155" y="176"/>
                  </a:lnTo>
                  <a:lnTo>
                    <a:pt x="168" y="162"/>
                  </a:lnTo>
                  <a:lnTo>
                    <a:pt x="181" y="148"/>
                  </a:lnTo>
                  <a:lnTo>
                    <a:pt x="195" y="135"/>
                  </a:lnTo>
                  <a:lnTo>
                    <a:pt x="208" y="122"/>
                  </a:lnTo>
                  <a:lnTo>
                    <a:pt x="223" y="110"/>
                  </a:lnTo>
                  <a:lnTo>
                    <a:pt x="239" y="98"/>
                  </a:lnTo>
                  <a:lnTo>
                    <a:pt x="254" y="87"/>
                  </a:lnTo>
                  <a:lnTo>
                    <a:pt x="271" y="76"/>
                  </a:lnTo>
                  <a:lnTo>
                    <a:pt x="287" y="66"/>
                  </a:lnTo>
                  <a:lnTo>
                    <a:pt x="305" y="57"/>
                  </a:lnTo>
                  <a:lnTo>
                    <a:pt x="323" y="48"/>
                  </a:lnTo>
                  <a:lnTo>
                    <a:pt x="341" y="41"/>
                  </a:lnTo>
                  <a:lnTo>
                    <a:pt x="360" y="34"/>
                  </a:lnTo>
                  <a:lnTo>
                    <a:pt x="379" y="26"/>
                  </a:lnTo>
                  <a:lnTo>
                    <a:pt x="399" y="21"/>
                  </a:lnTo>
                  <a:lnTo>
                    <a:pt x="418" y="16"/>
                  </a:lnTo>
                  <a:lnTo>
                    <a:pt x="439" y="11"/>
                  </a:lnTo>
                  <a:lnTo>
                    <a:pt x="459" y="7"/>
                  </a:lnTo>
                  <a:lnTo>
                    <a:pt x="480" y="4"/>
                  </a:lnTo>
                  <a:lnTo>
                    <a:pt x="502" y="2"/>
                  </a:lnTo>
                  <a:lnTo>
                    <a:pt x="522" y="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565" y="1"/>
                  </a:lnTo>
                  <a:lnTo>
                    <a:pt x="585" y="2"/>
                  </a:lnTo>
                  <a:lnTo>
                    <a:pt x="604" y="4"/>
                  </a:lnTo>
                  <a:lnTo>
                    <a:pt x="624" y="6"/>
                  </a:lnTo>
                  <a:lnTo>
                    <a:pt x="643" y="10"/>
                  </a:lnTo>
                  <a:lnTo>
                    <a:pt x="662" y="14"/>
                  </a:lnTo>
                  <a:lnTo>
                    <a:pt x="680" y="18"/>
                  </a:lnTo>
                  <a:lnTo>
                    <a:pt x="699" y="23"/>
                  </a:lnTo>
                  <a:lnTo>
                    <a:pt x="717" y="29"/>
                  </a:lnTo>
                  <a:lnTo>
                    <a:pt x="734" y="36"/>
                  </a:lnTo>
                  <a:lnTo>
                    <a:pt x="752" y="43"/>
                  </a:lnTo>
                  <a:lnTo>
                    <a:pt x="769" y="50"/>
                  </a:lnTo>
                  <a:lnTo>
                    <a:pt x="785" y="59"/>
                  </a:lnTo>
                  <a:lnTo>
                    <a:pt x="802" y="67"/>
                  </a:lnTo>
                  <a:lnTo>
                    <a:pt x="818" y="76"/>
                  </a:lnTo>
                  <a:lnTo>
                    <a:pt x="833" y="86"/>
                  </a:lnTo>
                  <a:lnTo>
                    <a:pt x="848" y="96"/>
                  </a:lnTo>
                  <a:lnTo>
                    <a:pt x="862" y="107"/>
                  </a:lnTo>
                  <a:lnTo>
                    <a:pt x="876" y="119"/>
                  </a:lnTo>
                  <a:lnTo>
                    <a:pt x="889" y="130"/>
                  </a:lnTo>
                  <a:lnTo>
                    <a:pt x="903" y="143"/>
                  </a:lnTo>
                  <a:lnTo>
                    <a:pt x="914" y="155"/>
                  </a:lnTo>
                  <a:lnTo>
                    <a:pt x="927" y="168"/>
                  </a:lnTo>
                  <a:lnTo>
                    <a:pt x="938" y="181"/>
                  </a:lnTo>
                  <a:lnTo>
                    <a:pt x="949" y="196"/>
                  </a:lnTo>
                  <a:lnTo>
                    <a:pt x="958" y="210"/>
                  </a:lnTo>
                  <a:lnTo>
                    <a:pt x="968" y="224"/>
                  </a:lnTo>
                  <a:lnTo>
                    <a:pt x="977" y="240"/>
                  </a:lnTo>
                  <a:lnTo>
                    <a:pt x="985" y="254"/>
                  </a:lnTo>
                  <a:lnTo>
                    <a:pt x="992" y="270"/>
                  </a:lnTo>
                  <a:lnTo>
                    <a:pt x="998" y="287"/>
                  </a:lnTo>
                  <a:lnTo>
                    <a:pt x="1005" y="302"/>
                  </a:lnTo>
                  <a:lnTo>
                    <a:pt x="1005" y="302"/>
                  </a:lnTo>
                  <a:lnTo>
                    <a:pt x="1039" y="395"/>
                  </a:lnTo>
                  <a:lnTo>
                    <a:pt x="1095" y="550"/>
                  </a:lnTo>
                  <a:lnTo>
                    <a:pt x="1095" y="550"/>
                  </a:lnTo>
                  <a:lnTo>
                    <a:pt x="1087" y="560"/>
                  </a:lnTo>
                  <a:lnTo>
                    <a:pt x="1076" y="570"/>
                  </a:lnTo>
                  <a:lnTo>
                    <a:pt x="1066" y="578"/>
                  </a:lnTo>
                  <a:lnTo>
                    <a:pt x="1055" y="588"/>
                  </a:lnTo>
                  <a:lnTo>
                    <a:pt x="1042" y="597"/>
                  </a:lnTo>
                  <a:lnTo>
                    <a:pt x="1029" y="606"/>
                  </a:lnTo>
                  <a:lnTo>
                    <a:pt x="1000" y="622"/>
                  </a:lnTo>
                  <a:lnTo>
                    <a:pt x="1000" y="6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20" name="Freeform 76"/>
            <p:cNvSpPr>
              <a:spLocks/>
            </p:cNvSpPr>
            <p:nvPr/>
          </p:nvSpPr>
          <p:spPr bwMode="auto">
            <a:xfrm flipH="1">
              <a:off x="7082363" y="2067602"/>
              <a:ext cx="54184" cy="54177"/>
            </a:xfrm>
            <a:custGeom>
              <a:avLst/>
              <a:gdLst>
                <a:gd name="T0" fmla="*/ 59 w 292"/>
                <a:gd name="T1" fmla="*/ 8 h 376"/>
                <a:gd name="T2" fmla="*/ 59 w 292"/>
                <a:gd name="T3" fmla="*/ 8 h 376"/>
                <a:gd name="T4" fmla="*/ 74 w 292"/>
                <a:gd name="T5" fmla="*/ 3 h 376"/>
                <a:gd name="T6" fmla="*/ 89 w 292"/>
                <a:gd name="T7" fmla="*/ 1 h 376"/>
                <a:gd name="T8" fmla="*/ 104 w 292"/>
                <a:gd name="T9" fmla="*/ 0 h 376"/>
                <a:gd name="T10" fmla="*/ 119 w 292"/>
                <a:gd name="T11" fmla="*/ 1 h 376"/>
                <a:gd name="T12" fmla="*/ 132 w 292"/>
                <a:gd name="T13" fmla="*/ 3 h 376"/>
                <a:gd name="T14" fmla="*/ 147 w 292"/>
                <a:gd name="T15" fmla="*/ 8 h 376"/>
                <a:gd name="T16" fmla="*/ 159 w 292"/>
                <a:gd name="T17" fmla="*/ 13 h 376"/>
                <a:gd name="T18" fmla="*/ 173 w 292"/>
                <a:gd name="T19" fmla="*/ 20 h 376"/>
                <a:gd name="T20" fmla="*/ 184 w 292"/>
                <a:gd name="T21" fmla="*/ 28 h 376"/>
                <a:gd name="T22" fmla="*/ 196 w 292"/>
                <a:gd name="T23" fmla="*/ 40 h 376"/>
                <a:gd name="T24" fmla="*/ 207 w 292"/>
                <a:gd name="T25" fmla="*/ 51 h 376"/>
                <a:gd name="T26" fmla="*/ 217 w 292"/>
                <a:gd name="T27" fmla="*/ 66 h 376"/>
                <a:gd name="T28" fmla="*/ 226 w 292"/>
                <a:gd name="T29" fmla="*/ 81 h 376"/>
                <a:gd name="T30" fmla="*/ 234 w 292"/>
                <a:gd name="T31" fmla="*/ 99 h 376"/>
                <a:gd name="T32" fmla="*/ 241 w 292"/>
                <a:gd name="T33" fmla="*/ 118 h 376"/>
                <a:gd name="T34" fmla="*/ 247 w 292"/>
                <a:gd name="T35" fmla="*/ 140 h 376"/>
                <a:gd name="T36" fmla="*/ 247 w 292"/>
                <a:gd name="T37" fmla="*/ 140 h 376"/>
                <a:gd name="T38" fmla="*/ 292 w 292"/>
                <a:gd name="T39" fmla="*/ 298 h 376"/>
                <a:gd name="T40" fmla="*/ 292 w 292"/>
                <a:gd name="T41" fmla="*/ 298 h 376"/>
                <a:gd name="T42" fmla="*/ 264 w 292"/>
                <a:gd name="T43" fmla="*/ 311 h 376"/>
                <a:gd name="T44" fmla="*/ 235 w 292"/>
                <a:gd name="T45" fmla="*/ 323 h 376"/>
                <a:gd name="T46" fmla="*/ 203 w 292"/>
                <a:gd name="T47" fmla="*/ 335 h 376"/>
                <a:gd name="T48" fmla="*/ 170 w 292"/>
                <a:gd name="T49" fmla="*/ 345 h 376"/>
                <a:gd name="T50" fmla="*/ 136 w 292"/>
                <a:gd name="T51" fmla="*/ 354 h 376"/>
                <a:gd name="T52" fmla="*/ 98 w 292"/>
                <a:gd name="T53" fmla="*/ 363 h 376"/>
                <a:gd name="T54" fmla="*/ 60 w 292"/>
                <a:gd name="T55" fmla="*/ 370 h 376"/>
                <a:gd name="T56" fmla="*/ 20 w 292"/>
                <a:gd name="T57" fmla="*/ 376 h 376"/>
                <a:gd name="T58" fmla="*/ 20 w 292"/>
                <a:gd name="T59" fmla="*/ 376 h 376"/>
                <a:gd name="T60" fmla="*/ 11 w 292"/>
                <a:gd name="T61" fmla="*/ 276 h 376"/>
                <a:gd name="T62" fmla="*/ 11 w 292"/>
                <a:gd name="T63" fmla="*/ 276 h 376"/>
                <a:gd name="T64" fmla="*/ 8 w 292"/>
                <a:gd name="T65" fmla="*/ 237 h 376"/>
                <a:gd name="T66" fmla="*/ 5 w 292"/>
                <a:gd name="T67" fmla="*/ 195 h 376"/>
                <a:gd name="T68" fmla="*/ 1 w 292"/>
                <a:gd name="T69" fmla="*/ 154 h 376"/>
                <a:gd name="T70" fmla="*/ 0 w 292"/>
                <a:gd name="T71" fmla="*/ 134 h 376"/>
                <a:gd name="T72" fmla="*/ 1 w 292"/>
                <a:gd name="T73" fmla="*/ 114 h 376"/>
                <a:gd name="T74" fmla="*/ 2 w 292"/>
                <a:gd name="T75" fmla="*/ 95 h 376"/>
                <a:gd name="T76" fmla="*/ 6 w 292"/>
                <a:gd name="T77" fmla="*/ 77 h 376"/>
                <a:gd name="T78" fmla="*/ 10 w 292"/>
                <a:gd name="T79" fmla="*/ 62 h 376"/>
                <a:gd name="T80" fmla="*/ 15 w 292"/>
                <a:gd name="T81" fmla="*/ 47 h 376"/>
                <a:gd name="T82" fmla="*/ 19 w 292"/>
                <a:gd name="T83" fmla="*/ 40 h 376"/>
                <a:gd name="T84" fmla="*/ 23 w 292"/>
                <a:gd name="T85" fmla="*/ 34 h 376"/>
                <a:gd name="T86" fmla="*/ 27 w 292"/>
                <a:gd name="T87" fmla="*/ 28 h 376"/>
                <a:gd name="T88" fmla="*/ 33 w 292"/>
                <a:gd name="T89" fmla="*/ 23 h 376"/>
                <a:gd name="T90" fmla="*/ 38 w 292"/>
                <a:gd name="T91" fmla="*/ 18 h 376"/>
                <a:gd name="T92" fmla="*/ 44 w 292"/>
                <a:gd name="T93" fmla="*/ 14 h 376"/>
                <a:gd name="T94" fmla="*/ 51 w 292"/>
                <a:gd name="T95" fmla="*/ 11 h 376"/>
                <a:gd name="T96" fmla="*/ 59 w 292"/>
                <a:gd name="T97" fmla="*/ 8 h 376"/>
                <a:gd name="T98" fmla="*/ 59 w 292"/>
                <a:gd name="T99" fmla="*/ 8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376">
                  <a:moveTo>
                    <a:pt x="59" y="8"/>
                  </a:moveTo>
                  <a:lnTo>
                    <a:pt x="59" y="8"/>
                  </a:lnTo>
                  <a:lnTo>
                    <a:pt x="74" y="3"/>
                  </a:lnTo>
                  <a:lnTo>
                    <a:pt x="89" y="1"/>
                  </a:lnTo>
                  <a:lnTo>
                    <a:pt x="104" y="0"/>
                  </a:lnTo>
                  <a:lnTo>
                    <a:pt x="119" y="1"/>
                  </a:lnTo>
                  <a:lnTo>
                    <a:pt x="132" y="3"/>
                  </a:lnTo>
                  <a:lnTo>
                    <a:pt x="147" y="8"/>
                  </a:lnTo>
                  <a:lnTo>
                    <a:pt x="159" y="13"/>
                  </a:lnTo>
                  <a:lnTo>
                    <a:pt x="173" y="20"/>
                  </a:lnTo>
                  <a:lnTo>
                    <a:pt x="184" y="28"/>
                  </a:lnTo>
                  <a:lnTo>
                    <a:pt x="196" y="40"/>
                  </a:lnTo>
                  <a:lnTo>
                    <a:pt x="207" y="51"/>
                  </a:lnTo>
                  <a:lnTo>
                    <a:pt x="217" y="66"/>
                  </a:lnTo>
                  <a:lnTo>
                    <a:pt x="226" y="81"/>
                  </a:lnTo>
                  <a:lnTo>
                    <a:pt x="234" y="99"/>
                  </a:lnTo>
                  <a:lnTo>
                    <a:pt x="241" y="118"/>
                  </a:lnTo>
                  <a:lnTo>
                    <a:pt x="247" y="140"/>
                  </a:lnTo>
                  <a:lnTo>
                    <a:pt x="247" y="140"/>
                  </a:lnTo>
                  <a:lnTo>
                    <a:pt x="292" y="298"/>
                  </a:lnTo>
                  <a:lnTo>
                    <a:pt x="292" y="298"/>
                  </a:lnTo>
                  <a:lnTo>
                    <a:pt x="264" y="311"/>
                  </a:lnTo>
                  <a:lnTo>
                    <a:pt x="235" y="323"/>
                  </a:lnTo>
                  <a:lnTo>
                    <a:pt x="203" y="335"/>
                  </a:lnTo>
                  <a:lnTo>
                    <a:pt x="170" y="345"/>
                  </a:lnTo>
                  <a:lnTo>
                    <a:pt x="136" y="354"/>
                  </a:lnTo>
                  <a:lnTo>
                    <a:pt x="98" y="363"/>
                  </a:lnTo>
                  <a:lnTo>
                    <a:pt x="60" y="370"/>
                  </a:lnTo>
                  <a:lnTo>
                    <a:pt x="20" y="376"/>
                  </a:lnTo>
                  <a:lnTo>
                    <a:pt x="20" y="3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8" y="237"/>
                  </a:lnTo>
                  <a:lnTo>
                    <a:pt x="5" y="195"/>
                  </a:lnTo>
                  <a:lnTo>
                    <a:pt x="1" y="154"/>
                  </a:lnTo>
                  <a:lnTo>
                    <a:pt x="0" y="134"/>
                  </a:lnTo>
                  <a:lnTo>
                    <a:pt x="1" y="114"/>
                  </a:lnTo>
                  <a:lnTo>
                    <a:pt x="2" y="95"/>
                  </a:lnTo>
                  <a:lnTo>
                    <a:pt x="6" y="77"/>
                  </a:lnTo>
                  <a:lnTo>
                    <a:pt x="10" y="62"/>
                  </a:lnTo>
                  <a:lnTo>
                    <a:pt x="15" y="47"/>
                  </a:lnTo>
                  <a:lnTo>
                    <a:pt x="19" y="40"/>
                  </a:lnTo>
                  <a:lnTo>
                    <a:pt x="23" y="34"/>
                  </a:lnTo>
                  <a:lnTo>
                    <a:pt x="27" y="28"/>
                  </a:lnTo>
                  <a:lnTo>
                    <a:pt x="33" y="23"/>
                  </a:lnTo>
                  <a:lnTo>
                    <a:pt x="38" y="18"/>
                  </a:lnTo>
                  <a:lnTo>
                    <a:pt x="44" y="14"/>
                  </a:lnTo>
                  <a:lnTo>
                    <a:pt x="51" y="11"/>
                  </a:lnTo>
                  <a:lnTo>
                    <a:pt x="59" y="8"/>
                  </a:lnTo>
                  <a:lnTo>
                    <a:pt x="59" y="8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21" name="Freeform 77"/>
            <p:cNvSpPr>
              <a:spLocks noEditPoints="1"/>
            </p:cNvSpPr>
            <p:nvPr/>
          </p:nvSpPr>
          <p:spPr bwMode="auto">
            <a:xfrm flipH="1">
              <a:off x="6793383" y="2067602"/>
              <a:ext cx="740511" cy="877144"/>
            </a:xfrm>
            <a:custGeom>
              <a:avLst/>
              <a:gdLst>
                <a:gd name="T0" fmla="*/ 1012 w 4017"/>
                <a:gd name="T1" fmla="*/ 3103 h 6116"/>
                <a:gd name="T2" fmla="*/ 883 w 4017"/>
                <a:gd name="T3" fmla="*/ 3044 h 6116"/>
                <a:gd name="T4" fmla="*/ 627 w 4017"/>
                <a:gd name="T5" fmla="*/ 3975 h 6116"/>
                <a:gd name="T6" fmla="*/ 775 w 4017"/>
                <a:gd name="T7" fmla="*/ 4047 h 6116"/>
                <a:gd name="T8" fmla="*/ 318 w 4017"/>
                <a:gd name="T9" fmla="*/ 5869 h 6116"/>
                <a:gd name="T10" fmla="*/ 234 w 4017"/>
                <a:gd name="T11" fmla="*/ 5834 h 6116"/>
                <a:gd name="T12" fmla="*/ 75 w 4017"/>
                <a:gd name="T13" fmla="*/ 5753 h 6116"/>
                <a:gd name="T14" fmla="*/ 0 w 4017"/>
                <a:gd name="T15" fmla="*/ 5709 h 6116"/>
                <a:gd name="T16" fmla="*/ 358 w 4017"/>
                <a:gd name="T17" fmla="*/ 4837 h 6116"/>
                <a:gd name="T18" fmla="*/ 484 w 4017"/>
                <a:gd name="T19" fmla="*/ 4905 h 6116"/>
                <a:gd name="T20" fmla="*/ 2645 w 4017"/>
                <a:gd name="T21" fmla="*/ 5153 h 6116"/>
                <a:gd name="T22" fmla="*/ 2806 w 4017"/>
                <a:gd name="T23" fmla="*/ 6107 h 6116"/>
                <a:gd name="T24" fmla="*/ 3084 w 4017"/>
                <a:gd name="T25" fmla="*/ 6055 h 6116"/>
                <a:gd name="T26" fmla="*/ 3296 w 4017"/>
                <a:gd name="T27" fmla="*/ 6000 h 6116"/>
                <a:gd name="T28" fmla="*/ 3321 w 4017"/>
                <a:gd name="T29" fmla="*/ 5992 h 6116"/>
                <a:gd name="T30" fmla="*/ 3342 w 4017"/>
                <a:gd name="T31" fmla="*/ 5986 h 6116"/>
                <a:gd name="T32" fmla="*/ 3626 w 4017"/>
                <a:gd name="T33" fmla="*/ 5884 h 6116"/>
                <a:gd name="T34" fmla="*/ 3799 w 4017"/>
                <a:gd name="T35" fmla="*/ 5809 h 6116"/>
                <a:gd name="T36" fmla="*/ 3974 w 4017"/>
                <a:gd name="T37" fmla="*/ 5719 h 6116"/>
                <a:gd name="T38" fmla="*/ 3746 w 4017"/>
                <a:gd name="T39" fmla="*/ 4764 h 6116"/>
                <a:gd name="T40" fmla="*/ 3674 w 4017"/>
                <a:gd name="T41" fmla="*/ 4814 h 6116"/>
                <a:gd name="T42" fmla="*/ 3537 w 4017"/>
                <a:gd name="T43" fmla="*/ 4892 h 6116"/>
                <a:gd name="T44" fmla="*/ 3279 w 4017"/>
                <a:gd name="T45" fmla="*/ 5001 h 6116"/>
                <a:gd name="T46" fmla="*/ 2980 w 4017"/>
                <a:gd name="T47" fmla="*/ 5089 h 6116"/>
                <a:gd name="T48" fmla="*/ 2645 w 4017"/>
                <a:gd name="T49" fmla="*/ 5153 h 6116"/>
                <a:gd name="T50" fmla="*/ 2517 w 4017"/>
                <a:gd name="T51" fmla="*/ 3231 h 6116"/>
                <a:gd name="T52" fmla="*/ 2743 w 4017"/>
                <a:gd name="T53" fmla="*/ 3184 h 6116"/>
                <a:gd name="T54" fmla="*/ 2944 w 4017"/>
                <a:gd name="T55" fmla="*/ 3122 h 6116"/>
                <a:gd name="T56" fmla="*/ 3118 w 4017"/>
                <a:gd name="T57" fmla="*/ 3045 h 6116"/>
                <a:gd name="T58" fmla="*/ 3227 w 4017"/>
                <a:gd name="T59" fmla="*/ 2979 h 6116"/>
                <a:gd name="T60" fmla="*/ 3409 w 4017"/>
                <a:gd name="T61" fmla="*/ 3951 h 6116"/>
                <a:gd name="T62" fmla="*/ 3208 w 4017"/>
                <a:gd name="T63" fmla="*/ 4051 h 6116"/>
                <a:gd name="T64" fmla="*/ 2970 w 4017"/>
                <a:gd name="T65" fmla="*/ 4136 h 6116"/>
                <a:gd name="T66" fmla="*/ 2700 w 4017"/>
                <a:gd name="T67" fmla="*/ 4200 h 6116"/>
                <a:gd name="T68" fmla="*/ 2457 w 4017"/>
                <a:gd name="T69" fmla="*/ 3241 h 6116"/>
                <a:gd name="T70" fmla="*/ 2333 w 4017"/>
                <a:gd name="T71" fmla="*/ 1314 h 6116"/>
                <a:gd name="T72" fmla="*/ 2565 w 4017"/>
                <a:gd name="T73" fmla="*/ 1261 h 6116"/>
                <a:gd name="T74" fmla="*/ 2712 w 4017"/>
                <a:gd name="T75" fmla="*/ 1206 h 6116"/>
                <a:gd name="T76" fmla="*/ 2919 w 4017"/>
                <a:gd name="T77" fmla="*/ 2150 h 6116"/>
                <a:gd name="T78" fmla="*/ 2786 w 4017"/>
                <a:gd name="T79" fmla="*/ 2211 h 6116"/>
                <a:gd name="T80" fmla="*/ 2633 w 4017"/>
                <a:gd name="T81" fmla="*/ 2262 h 6116"/>
                <a:gd name="T82" fmla="*/ 2459 w 4017"/>
                <a:gd name="T83" fmla="*/ 2302 h 6116"/>
                <a:gd name="T84" fmla="*/ 2270 w 4017"/>
                <a:gd name="T85" fmla="*/ 1323 h 6116"/>
                <a:gd name="T86" fmla="*/ 2231 w 4017"/>
                <a:gd name="T87" fmla="*/ 3 h 6116"/>
                <a:gd name="T88" fmla="*/ 2289 w 4017"/>
                <a:gd name="T89" fmla="*/ 3 h 6116"/>
                <a:gd name="T90" fmla="*/ 2341 w 4017"/>
                <a:gd name="T91" fmla="*/ 28 h 6116"/>
                <a:gd name="T92" fmla="*/ 2383 w 4017"/>
                <a:gd name="T93" fmla="*/ 81 h 6116"/>
                <a:gd name="T94" fmla="*/ 2404 w 4017"/>
                <a:gd name="T95" fmla="*/ 140 h 6116"/>
                <a:gd name="T96" fmla="*/ 2392 w 4017"/>
                <a:gd name="T97" fmla="*/ 323 h 6116"/>
                <a:gd name="T98" fmla="*/ 2255 w 4017"/>
                <a:gd name="T99" fmla="*/ 363 h 6116"/>
                <a:gd name="T100" fmla="*/ 2168 w 4017"/>
                <a:gd name="T101" fmla="*/ 276 h 6116"/>
                <a:gd name="T102" fmla="*/ 2158 w 4017"/>
                <a:gd name="T103" fmla="*/ 154 h 6116"/>
                <a:gd name="T104" fmla="*/ 2163 w 4017"/>
                <a:gd name="T105" fmla="*/ 77 h 6116"/>
                <a:gd name="T106" fmla="*/ 2180 w 4017"/>
                <a:gd name="T107" fmla="*/ 34 h 6116"/>
                <a:gd name="T108" fmla="*/ 2201 w 4017"/>
                <a:gd name="T109" fmla="*/ 14 h 6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017" h="6116">
                  <a:moveTo>
                    <a:pt x="775" y="4047"/>
                  </a:moveTo>
                  <a:lnTo>
                    <a:pt x="775" y="4047"/>
                  </a:lnTo>
                  <a:lnTo>
                    <a:pt x="1012" y="3103"/>
                  </a:lnTo>
                  <a:lnTo>
                    <a:pt x="1012" y="3103"/>
                  </a:lnTo>
                  <a:lnTo>
                    <a:pt x="977" y="3089"/>
                  </a:lnTo>
                  <a:lnTo>
                    <a:pt x="945" y="3074"/>
                  </a:lnTo>
                  <a:lnTo>
                    <a:pt x="913" y="3059"/>
                  </a:lnTo>
                  <a:lnTo>
                    <a:pt x="883" y="3044"/>
                  </a:lnTo>
                  <a:lnTo>
                    <a:pt x="883" y="3044"/>
                  </a:lnTo>
                  <a:lnTo>
                    <a:pt x="582" y="3949"/>
                  </a:lnTo>
                  <a:lnTo>
                    <a:pt x="582" y="3949"/>
                  </a:lnTo>
                  <a:lnTo>
                    <a:pt x="627" y="3975"/>
                  </a:lnTo>
                  <a:lnTo>
                    <a:pt x="674" y="4000"/>
                  </a:lnTo>
                  <a:lnTo>
                    <a:pt x="723" y="4024"/>
                  </a:lnTo>
                  <a:lnTo>
                    <a:pt x="775" y="4047"/>
                  </a:lnTo>
                  <a:lnTo>
                    <a:pt x="775" y="4047"/>
                  </a:lnTo>
                  <a:close/>
                  <a:moveTo>
                    <a:pt x="552" y="4937"/>
                  </a:moveTo>
                  <a:lnTo>
                    <a:pt x="552" y="4937"/>
                  </a:lnTo>
                  <a:lnTo>
                    <a:pt x="319" y="5869"/>
                  </a:lnTo>
                  <a:lnTo>
                    <a:pt x="318" y="5869"/>
                  </a:lnTo>
                  <a:lnTo>
                    <a:pt x="318" y="5869"/>
                  </a:lnTo>
                  <a:lnTo>
                    <a:pt x="276" y="5852"/>
                  </a:lnTo>
                  <a:lnTo>
                    <a:pt x="234" y="5834"/>
                  </a:lnTo>
                  <a:lnTo>
                    <a:pt x="234" y="5834"/>
                  </a:lnTo>
                  <a:lnTo>
                    <a:pt x="190" y="5813"/>
                  </a:lnTo>
                  <a:lnTo>
                    <a:pt x="149" y="5792"/>
                  </a:lnTo>
                  <a:lnTo>
                    <a:pt x="110" y="5772"/>
                  </a:lnTo>
                  <a:lnTo>
                    <a:pt x="75" y="5753"/>
                  </a:lnTo>
                  <a:lnTo>
                    <a:pt x="23" y="5723"/>
                  </a:lnTo>
                  <a:lnTo>
                    <a:pt x="0" y="5710"/>
                  </a:lnTo>
                  <a:lnTo>
                    <a:pt x="0" y="5709"/>
                  </a:lnTo>
                  <a:lnTo>
                    <a:pt x="0" y="5709"/>
                  </a:lnTo>
                  <a:lnTo>
                    <a:pt x="301" y="4801"/>
                  </a:lnTo>
                  <a:lnTo>
                    <a:pt x="301" y="4801"/>
                  </a:lnTo>
                  <a:lnTo>
                    <a:pt x="329" y="4819"/>
                  </a:lnTo>
                  <a:lnTo>
                    <a:pt x="358" y="4837"/>
                  </a:lnTo>
                  <a:lnTo>
                    <a:pt x="388" y="4855"/>
                  </a:lnTo>
                  <a:lnTo>
                    <a:pt x="418" y="4871"/>
                  </a:lnTo>
                  <a:lnTo>
                    <a:pt x="450" y="4888"/>
                  </a:lnTo>
                  <a:lnTo>
                    <a:pt x="484" y="4905"/>
                  </a:lnTo>
                  <a:lnTo>
                    <a:pt x="517" y="4921"/>
                  </a:lnTo>
                  <a:lnTo>
                    <a:pt x="552" y="4937"/>
                  </a:lnTo>
                  <a:lnTo>
                    <a:pt x="552" y="4937"/>
                  </a:lnTo>
                  <a:close/>
                  <a:moveTo>
                    <a:pt x="2645" y="5153"/>
                  </a:moveTo>
                  <a:lnTo>
                    <a:pt x="2645" y="5153"/>
                  </a:lnTo>
                  <a:lnTo>
                    <a:pt x="2740" y="6116"/>
                  </a:lnTo>
                  <a:lnTo>
                    <a:pt x="2740" y="6116"/>
                  </a:lnTo>
                  <a:lnTo>
                    <a:pt x="2806" y="6107"/>
                  </a:lnTo>
                  <a:lnTo>
                    <a:pt x="2875" y="6096"/>
                  </a:lnTo>
                  <a:lnTo>
                    <a:pt x="2943" y="6083"/>
                  </a:lnTo>
                  <a:lnTo>
                    <a:pt x="3013" y="6070"/>
                  </a:lnTo>
                  <a:lnTo>
                    <a:pt x="3084" y="6055"/>
                  </a:lnTo>
                  <a:lnTo>
                    <a:pt x="3154" y="6038"/>
                  </a:lnTo>
                  <a:lnTo>
                    <a:pt x="3225" y="6020"/>
                  </a:lnTo>
                  <a:lnTo>
                    <a:pt x="3296" y="6000"/>
                  </a:lnTo>
                  <a:lnTo>
                    <a:pt x="3296" y="6000"/>
                  </a:lnTo>
                  <a:lnTo>
                    <a:pt x="3307" y="5997"/>
                  </a:lnTo>
                  <a:lnTo>
                    <a:pt x="3307" y="5997"/>
                  </a:lnTo>
                  <a:lnTo>
                    <a:pt x="3321" y="5992"/>
                  </a:lnTo>
                  <a:lnTo>
                    <a:pt x="3321" y="5992"/>
                  </a:lnTo>
                  <a:lnTo>
                    <a:pt x="3338" y="5987"/>
                  </a:lnTo>
                  <a:lnTo>
                    <a:pt x="3338" y="5987"/>
                  </a:lnTo>
                  <a:lnTo>
                    <a:pt x="3342" y="5986"/>
                  </a:lnTo>
                  <a:lnTo>
                    <a:pt x="3342" y="5986"/>
                  </a:lnTo>
                  <a:lnTo>
                    <a:pt x="3421" y="5960"/>
                  </a:lnTo>
                  <a:lnTo>
                    <a:pt x="3502" y="5932"/>
                  </a:lnTo>
                  <a:lnTo>
                    <a:pt x="3585" y="5901"/>
                  </a:lnTo>
                  <a:lnTo>
                    <a:pt x="3626" y="5884"/>
                  </a:lnTo>
                  <a:lnTo>
                    <a:pt x="3669" y="5866"/>
                  </a:lnTo>
                  <a:lnTo>
                    <a:pt x="3713" y="5849"/>
                  </a:lnTo>
                  <a:lnTo>
                    <a:pt x="3755" y="5829"/>
                  </a:lnTo>
                  <a:lnTo>
                    <a:pt x="3799" y="5809"/>
                  </a:lnTo>
                  <a:lnTo>
                    <a:pt x="3843" y="5787"/>
                  </a:lnTo>
                  <a:lnTo>
                    <a:pt x="3886" y="5765"/>
                  </a:lnTo>
                  <a:lnTo>
                    <a:pt x="3930" y="5742"/>
                  </a:lnTo>
                  <a:lnTo>
                    <a:pt x="3974" y="5719"/>
                  </a:lnTo>
                  <a:lnTo>
                    <a:pt x="4016" y="5694"/>
                  </a:lnTo>
                  <a:lnTo>
                    <a:pt x="4017" y="5694"/>
                  </a:lnTo>
                  <a:lnTo>
                    <a:pt x="4017" y="5694"/>
                  </a:lnTo>
                  <a:lnTo>
                    <a:pt x="3746" y="4764"/>
                  </a:lnTo>
                  <a:lnTo>
                    <a:pt x="3746" y="4764"/>
                  </a:lnTo>
                  <a:lnTo>
                    <a:pt x="3723" y="4782"/>
                  </a:lnTo>
                  <a:lnTo>
                    <a:pt x="3699" y="4798"/>
                  </a:lnTo>
                  <a:lnTo>
                    <a:pt x="3674" y="4814"/>
                  </a:lnTo>
                  <a:lnTo>
                    <a:pt x="3648" y="4831"/>
                  </a:lnTo>
                  <a:lnTo>
                    <a:pt x="3621" y="4846"/>
                  </a:lnTo>
                  <a:lnTo>
                    <a:pt x="3594" y="4862"/>
                  </a:lnTo>
                  <a:lnTo>
                    <a:pt x="3537" y="4892"/>
                  </a:lnTo>
                  <a:lnTo>
                    <a:pt x="3477" y="4921"/>
                  </a:lnTo>
                  <a:lnTo>
                    <a:pt x="3414" y="4948"/>
                  </a:lnTo>
                  <a:lnTo>
                    <a:pt x="3348" y="4976"/>
                  </a:lnTo>
                  <a:lnTo>
                    <a:pt x="3279" y="5001"/>
                  </a:lnTo>
                  <a:lnTo>
                    <a:pt x="3208" y="5024"/>
                  </a:lnTo>
                  <a:lnTo>
                    <a:pt x="3135" y="5047"/>
                  </a:lnTo>
                  <a:lnTo>
                    <a:pt x="3059" y="5069"/>
                  </a:lnTo>
                  <a:lnTo>
                    <a:pt x="2980" y="5089"/>
                  </a:lnTo>
                  <a:lnTo>
                    <a:pt x="2900" y="5107"/>
                  </a:lnTo>
                  <a:lnTo>
                    <a:pt x="2817" y="5123"/>
                  </a:lnTo>
                  <a:lnTo>
                    <a:pt x="2731" y="5139"/>
                  </a:lnTo>
                  <a:lnTo>
                    <a:pt x="2645" y="5153"/>
                  </a:lnTo>
                  <a:lnTo>
                    <a:pt x="2645" y="5153"/>
                  </a:lnTo>
                  <a:close/>
                  <a:moveTo>
                    <a:pt x="2457" y="3241"/>
                  </a:moveTo>
                  <a:lnTo>
                    <a:pt x="2457" y="3241"/>
                  </a:lnTo>
                  <a:lnTo>
                    <a:pt x="2517" y="3231"/>
                  </a:lnTo>
                  <a:lnTo>
                    <a:pt x="2575" y="3221"/>
                  </a:lnTo>
                  <a:lnTo>
                    <a:pt x="2633" y="3210"/>
                  </a:lnTo>
                  <a:lnTo>
                    <a:pt x="2689" y="3198"/>
                  </a:lnTo>
                  <a:lnTo>
                    <a:pt x="2743" y="3184"/>
                  </a:lnTo>
                  <a:lnTo>
                    <a:pt x="2796" y="3170"/>
                  </a:lnTo>
                  <a:lnTo>
                    <a:pt x="2847" y="3154"/>
                  </a:lnTo>
                  <a:lnTo>
                    <a:pt x="2897" y="3139"/>
                  </a:lnTo>
                  <a:lnTo>
                    <a:pt x="2944" y="3122"/>
                  </a:lnTo>
                  <a:lnTo>
                    <a:pt x="2991" y="3103"/>
                  </a:lnTo>
                  <a:lnTo>
                    <a:pt x="3035" y="3084"/>
                  </a:lnTo>
                  <a:lnTo>
                    <a:pt x="3077" y="3066"/>
                  </a:lnTo>
                  <a:lnTo>
                    <a:pt x="3118" y="3045"/>
                  </a:lnTo>
                  <a:lnTo>
                    <a:pt x="3157" y="3024"/>
                  </a:lnTo>
                  <a:lnTo>
                    <a:pt x="3193" y="3002"/>
                  </a:lnTo>
                  <a:lnTo>
                    <a:pt x="3227" y="2979"/>
                  </a:lnTo>
                  <a:lnTo>
                    <a:pt x="3227" y="2979"/>
                  </a:lnTo>
                  <a:lnTo>
                    <a:pt x="3493" y="3895"/>
                  </a:lnTo>
                  <a:lnTo>
                    <a:pt x="3493" y="3895"/>
                  </a:lnTo>
                  <a:lnTo>
                    <a:pt x="3453" y="3923"/>
                  </a:lnTo>
                  <a:lnTo>
                    <a:pt x="3409" y="3951"/>
                  </a:lnTo>
                  <a:lnTo>
                    <a:pt x="3363" y="3977"/>
                  </a:lnTo>
                  <a:lnTo>
                    <a:pt x="3315" y="4003"/>
                  </a:lnTo>
                  <a:lnTo>
                    <a:pt x="3263" y="4027"/>
                  </a:lnTo>
                  <a:lnTo>
                    <a:pt x="3208" y="4051"/>
                  </a:lnTo>
                  <a:lnTo>
                    <a:pt x="3152" y="4074"/>
                  </a:lnTo>
                  <a:lnTo>
                    <a:pt x="3094" y="4095"/>
                  </a:lnTo>
                  <a:lnTo>
                    <a:pt x="3034" y="4116"/>
                  </a:lnTo>
                  <a:lnTo>
                    <a:pt x="2970" y="4136"/>
                  </a:lnTo>
                  <a:lnTo>
                    <a:pt x="2906" y="4153"/>
                  </a:lnTo>
                  <a:lnTo>
                    <a:pt x="2838" y="4170"/>
                  </a:lnTo>
                  <a:lnTo>
                    <a:pt x="2770" y="4186"/>
                  </a:lnTo>
                  <a:lnTo>
                    <a:pt x="2700" y="4200"/>
                  </a:lnTo>
                  <a:lnTo>
                    <a:pt x="2627" y="4213"/>
                  </a:lnTo>
                  <a:lnTo>
                    <a:pt x="2554" y="4224"/>
                  </a:lnTo>
                  <a:lnTo>
                    <a:pt x="2554" y="4224"/>
                  </a:lnTo>
                  <a:lnTo>
                    <a:pt x="2457" y="3241"/>
                  </a:lnTo>
                  <a:lnTo>
                    <a:pt x="2457" y="3241"/>
                  </a:lnTo>
                  <a:close/>
                  <a:moveTo>
                    <a:pt x="2270" y="1323"/>
                  </a:moveTo>
                  <a:lnTo>
                    <a:pt x="2270" y="1323"/>
                  </a:lnTo>
                  <a:lnTo>
                    <a:pt x="2333" y="1314"/>
                  </a:lnTo>
                  <a:lnTo>
                    <a:pt x="2394" y="1304"/>
                  </a:lnTo>
                  <a:lnTo>
                    <a:pt x="2454" y="1291"/>
                  </a:lnTo>
                  <a:lnTo>
                    <a:pt x="2511" y="1277"/>
                  </a:lnTo>
                  <a:lnTo>
                    <a:pt x="2565" y="1261"/>
                  </a:lnTo>
                  <a:lnTo>
                    <a:pt x="2617" y="1244"/>
                  </a:lnTo>
                  <a:lnTo>
                    <a:pt x="2666" y="1226"/>
                  </a:lnTo>
                  <a:lnTo>
                    <a:pt x="2712" y="1206"/>
                  </a:lnTo>
                  <a:lnTo>
                    <a:pt x="2712" y="1206"/>
                  </a:lnTo>
                  <a:lnTo>
                    <a:pt x="2976" y="2116"/>
                  </a:lnTo>
                  <a:lnTo>
                    <a:pt x="2976" y="2116"/>
                  </a:lnTo>
                  <a:lnTo>
                    <a:pt x="2949" y="2133"/>
                  </a:lnTo>
                  <a:lnTo>
                    <a:pt x="2919" y="2150"/>
                  </a:lnTo>
                  <a:lnTo>
                    <a:pt x="2888" y="2166"/>
                  </a:lnTo>
                  <a:lnTo>
                    <a:pt x="2856" y="2182"/>
                  </a:lnTo>
                  <a:lnTo>
                    <a:pt x="2822" y="2197"/>
                  </a:lnTo>
                  <a:lnTo>
                    <a:pt x="2786" y="2211"/>
                  </a:lnTo>
                  <a:lnTo>
                    <a:pt x="2750" y="2225"/>
                  </a:lnTo>
                  <a:lnTo>
                    <a:pt x="2713" y="2238"/>
                  </a:lnTo>
                  <a:lnTo>
                    <a:pt x="2673" y="2251"/>
                  </a:lnTo>
                  <a:lnTo>
                    <a:pt x="2633" y="2262"/>
                  </a:lnTo>
                  <a:lnTo>
                    <a:pt x="2591" y="2274"/>
                  </a:lnTo>
                  <a:lnTo>
                    <a:pt x="2548" y="2284"/>
                  </a:lnTo>
                  <a:lnTo>
                    <a:pt x="2505" y="2294"/>
                  </a:lnTo>
                  <a:lnTo>
                    <a:pt x="2459" y="2302"/>
                  </a:lnTo>
                  <a:lnTo>
                    <a:pt x="2413" y="2310"/>
                  </a:lnTo>
                  <a:lnTo>
                    <a:pt x="2366" y="2316"/>
                  </a:lnTo>
                  <a:lnTo>
                    <a:pt x="2366" y="2316"/>
                  </a:lnTo>
                  <a:lnTo>
                    <a:pt x="2270" y="1323"/>
                  </a:lnTo>
                  <a:lnTo>
                    <a:pt x="2270" y="1323"/>
                  </a:lnTo>
                  <a:close/>
                  <a:moveTo>
                    <a:pt x="2216" y="8"/>
                  </a:moveTo>
                  <a:lnTo>
                    <a:pt x="2216" y="8"/>
                  </a:lnTo>
                  <a:lnTo>
                    <a:pt x="2231" y="3"/>
                  </a:lnTo>
                  <a:lnTo>
                    <a:pt x="2246" y="1"/>
                  </a:lnTo>
                  <a:lnTo>
                    <a:pt x="2261" y="0"/>
                  </a:lnTo>
                  <a:lnTo>
                    <a:pt x="2276" y="1"/>
                  </a:lnTo>
                  <a:lnTo>
                    <a:pt x="2289" y="3"/>
                  </a:lnTo>
                  <a:lnTo>
                    <a:pt x="2304" y="8"/>
                  </a:lnTo>
                  <a:lnTo>
                    <a:pt x="2316" y="13"/>
                  </a:lnTo>
                  <a:lnTo>
                    <a:pt x="2330" y="20"/>
                  </a:lnTo>
                  <a:lnTo>
                    <a:pt x="2341" y="28"/>
                  </a:lnTo>
                  <a:lnTo>
                    <a:pt x="2353" y="40"/>
                  </a:lnTo>
                  <a:lnTo>
                    <a:pt x="2364" y="51"/>
                  </a:lnTo>
                  <a:lnTo>
                    <a:pt x="2374" y="66"/>
                  </a:lnTo>
                  <a:lnTo>
                    <a:pt x="2383" y="81"/>
                  </a:lnTo>
                  <a:lnTo>
                    <a:pt x="2391" y="99"/>
                  </a:lnTo>
                  <a:lnTo>
                    <a:pt x="2398" y="118"/>
                  </a:lnTo>
                  <a:lnTo>
                    <a:pt x="2404" y="140"/>
                  </a:lnTo>
                  <a:lnTo>
                    <a:pt x="2404" y="140"/>
                  </a:lnTo>
                  <a:lnTo>
                    <a:pt x="2449" y="298"/>
                  </a:lnTo>
                  <a:lnTo>
                    <a:pt x="2449" y="298"/>
                  </a:lnTo>
                  <a:lnTo>
                    <a:pt x="2421" y="311"/>
                  </a:lnTo>
                  <a:lnTo>
                    <a:pt x="2392" y="323"/>
                  </a:lnTo>
                  <a:lnTo>
                    <a:pt x="2360" y="335"/>
                  </a:lnTo>
                  <a:lnTo>
                    <a:pt x="2327" y="345"/>
                  </a:lnTo>
                  <a:lnTo>
                    <a:pt x="2293" y="354"/>
                  </a:lnTo>
                  <a:lnTo>
                    <a:pt x="2255" y="363"/>
                  </a:lnTo>
                  <a:lnTo>
                    <a:pt x="2217" y="370"/>
                  </a:lnTo>
                  <a:lnTo>
                    <a:pt x="2177" y="376"/>
                  </a:lnTo>
                  <a:lnTo>
                    <a:pt x="2177" y="376"/>
                  </a:lnTo>
                  <a:lnTo>
                    <a:pt x="2168" y="276"/>
                  </a:lnTo>
                  <a:lnTo>
                    <a:pt x="2168" y="276"/>
                  </a:lnTo>
                  <a:lnTo>
                    <a:pt x="2165" y="237"/>
                  </a:lnTo>
                  <a:lnTo>
                    <a:pt x="2162" y="195"/>
                  </a:lnTo>
                  <a:lnTo>
                    <a:pt x="2158" y="154"/>
                  </a:lnTo>
                  <a:lnTo>
                    <a:pt x="2157" y="134"/>
                  </a:lnTo>
                  <a:lnTo>
                    <a:pt x="2158" y="114"/>
                  </a:lnTo>
                  <a:lnTo>
                    <a:pt x="2159" y="95"/>
                  </a:lnTo>
                  <a:lnTo>
                    <a:pt x="2163" y="77"/>
                  </a:lnTo>
                  <a:lnTo>
                    <a:pt x="2167" y="62"/>
                  </a:lnTo>
                  <a:lnTo>
                    <a:pt x="2172" y="47"/>
                  </a:lnTo>
                  <a:lnTo>
                    <a:pt x="2176" y="40"/>
                  </a:lnTo>
                  <a:lnTo>
                    <a:pt x="2180" y="34"/>
                  </a:lnTo>
                  <a:lnTo>
                    <a:pt x="2184" y="28"/>
                  </a:lnTo>
                  <a:lnTo>
                    <a:pt x="2190" y="23"/>
                  </a:lnTo>
                  <a:lnTo>
                    <a:pt x="2195" y="18"/>
                  </a:lnTo>
                  <a:lnTo>
                    <a:pt x="2201" y="14"/>
                  </a:lnTo>
                  <a:lnTo>
                    <a:pt x="2208" y="11"/>
                  </a:lnTo>
                  <a:lnTo>
                    <a:pt x="2216" y="8"/>
                  </a:lnTo>
                  <a:lnTo>
                    <a:pt x="2216" y="8"/>
                  </a:lnTo>
                  <a:close/>
                </a:path>
              </a:pathLst>
            </a:custGeom>
            <a:solidFill>
              <a:srgbClr val="BCBEC0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22" name="Freeform 78"/>
            <p:cNvSpPr>
              <a:spLocks/>
            </p:cNvSpPr>
            <p:nvPr/>
          </p:nvSpPr>
          <p:spPr bwMode="auto">
            <a:xfrm flipH="1">
              <a:off x="7033339" y="2110170"/>
              <a:ext cx="99337" cy="147051"/>
            </a:xfrm>
            <a:custGeom>
              <a:avLst/>
              <a:gdLst>
                <a:gd name="T0" fmla="*/ 272 w 535"/>
                <a:gd name="T1" fmla="*/ 0 h 1025"/>
                <a:gd name="T2" fmla="*/ 272 w 535"/>
                <a:gd name="T3" fmla="*/ 0 h 1025"/>
                <a:gd name="T4" fmla="*/ 535 w 535"/>
                <a:gd name="T5" fmla="*/ 908 h 1025"/>
                <a:gd name="T6" fmla="*/ 535 w 535"/>
                <a:gd name="T7" fmla="*/ 908 h 1025"/>
                <a:gd name="T8" fmla="*/ 489 w 535"/>
                <a:gd name="T9" fmla="*/ 928 h 1025"/>
                <a:gd name="T10" fmla="*/ 440 w 535"/>
                <a:gd name="T11" fmla="*/ 946 h 1025"/>
                <a:gd name="T12" fmla="*/ 388 w 535"/>
                <a:gd name="T13" fmla="*/ 963 h 1025"/>
                <a:gd name="T14" fmla="*/ 334 w 535"/>
                <a:gd name="T15" fmla="*/ 979 h 1025"/>
                <a:gd name="T16" fmla="*/ 277 w 535"/>
                <a:gd name="T17" fmla="*/ 993 h 1025"/>
                <a:gd name="T18" fmla="*/ 217 w 535"/>
                <a:gd name="T19" fmla="*/ 1006 h 1025"/>
                <a:gd name="T20" fmla="*/ 156 w 535"/>
                <a:gd name="T21" fmla="*/ 1016 h 1025"/>
                <a:gd name="T22" fmla="*/ 93 w 535"/>
                <a:gd name="T23" fmla="*/ 1025 h 1025"/>
                <a:gd name="T24" fmla="*/ 93 w 535"/>
                <a:gd name="T25" fmla="*/ 1025 h 1025"/>
                <a:gd name="T26" fmla="*/ 0 w 535"/>
                <a:gd name="T27" fmla="*/ 78 h 1025"/>
                <a:gd name="T28" fmla="*/ 0 w 535"/>
                <a:gd name="T29" fmla="*/ 78 h 1025"/>
                <a:gd name="T30" fmla="*/ 40 w 535"/>
                <a:gd name="T31" fmla="*/ 72 h 1025"/>
                <a:gd name="T32" fmla="*/ 78 w 535"/>
                <a:gd name="T33" fmla="*/ 65 h 1025"/>
                <a:gd name="T34" fmla="*/ 116 w 535"/>
                <a:gd name="T35" fmla="*/ 56 h 1025"/>
                <a:gd name="T36" fmla="*/ 150 w 535"/>
                <a:gd name="T37" fmla="*/ 47 h 1025"/>
                <a:gd name="T38" fmla="*/ 183 w 535"/>
                <a:gd name="T39" fmla="*/ 37 h 1025"/>
                <a:gd name="T40" fmla="*/ 215 w 535"/>
                <a:gd name="T41" fmla="*/ 25 h 1025"/>
                <a:gd name="T42" fmla="*/ 244 w 535"/>
                <a:gd name="T43" fmla="*/ 13 h 1025"/>
                <a:gd name="T44" fmla="*/ 272 w 535"/>
                <a:gd name="T45" fmla="*/ 0 h 1025"/>
                <a:gd name="T46" fmla="*/ 272 w 535"/>
                <a:gd name="T47" fmla="*/ 0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5" h="1025">
                  <a:moveTo>
                    <a:pt x="272" y="0"/>
                  </a:moveTo>
                  <a:lnTo>
                    <a:pt x="272" y="0"/>
                  </a:lnTo>
                  <a:lnTo>
                    <a:pt x="535" y="908"/>
                  </a:lnTo>
                  <a:lnTo>
                    <a:pt x="535" y="908"/>
                  </a:lnTo>
                  <a:lnTo>
                    <a:pt x="489" y="928"/>
                  </a:lnTo>
                  <a:lnTo>
                    <a:pt x="440" y="946"/>
                  </a:lnTo>
                  <a:lnTo>
                    <a:pt x="388" y="963"/>
                  </a:lnTo>
                  <a:lnTo>
                    <a:pt x="334" y="979"/>
                  </a:lnTo>
                  <a:lnTo>
                    <a:pt x="277" y="993"/>
                  </a:lnTo>
                  <a:lnTo>
                    <a:pt x="217" y="1006"/>
                  </a:lnTo>
                  <a:lnTo>
                    <a:pt x="156" y="1016"/>
                  </a:lnTo>
                  <a:lnTo>
                    <a:pt x="93" y="1025"/>
                  </a:lnTo>
                  <a:lnTo>
                    <a:pt x="93" y="1025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40" y="72"/>
                  </a:lnTo>
                  <a:lnTo>
                    <a:pt x="78" y="65"/>
                  </a:lnTo>
                  <a:lnTo>
                    <a:pt x="116" y="56"/>
                  </a:lnTo>
                  <a:lnTo>
                    <a:pt x="150" y="47"/>
                  </a:lnTo>
                  <a:lnTo>
                    <a:pt x="183" y="37"/>
                  </a:lnTo>
                  <a:lnTo>
                    <a:pt x="215" y="25"/>
                  </a:lnTo>
                  <a:lnTo>
                    <a:pt x="244" y="13"/>
                  </a:lnTo>
                  <a:lnTo>
                    <a:pt x="272" y="0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5A23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23" name="Freeform 79"/>
            <p:cNvSpPr>
              <a:spLocks noEditPoints="1"/>
            </p:cNvSpPr>
            <p:nvPr/>
          </p:nvSpPr>
          <p:spPr bwMode="auto">
            <a:xfrm flipH="1">
              <a:off x="6843696" y="2110170"/>
              <a:ext cx="634724" cy="696555"/>
            </a:xfrm>
            <a:custGeom>
              <a:avLst/>
              <a:gdLst>
                <a:gd name="T0" fmla="*/ 612 w 3445"/>
                <a:gd name="T1" fmla="*/ 2761 h 4855"/>
                <a:gd name="T2" fmla="*/ 711 w 3445"/>
                <a:gd name="T3" fmla="*/ 2805 h 4855"/>
                <a:gd name="T4" fmla="*/ 806 w 3445"/>
                <a:gd name="T5" fmla="*/ 2430 h 4855"/>
                <a:gd name="T6" fmla="*/ 817 w 3445"/>
                <a:gd name="T7" fmla="*/ 2381 h 4855"/>
                <a:gd name="T8" fmla="*/ 821 w 3445"/>
                <a:gd name="T9" fmla="*/ 2341 h 4855"/>
                <a:gd name="T10" fmla="*/ 818 w 3445"/>
                <a:gd name="T11" fmla="*/ 2313 h 4855"/>
                <a:gd name="T12" fmla="*/ 810 w 3445"/>
                <a:gd name="T13" fmla="*/ 2295 h 4855"/>
                <a:gd name="T14" fmla="*/ 798 w 3445"/>
                <a:gd name="T15" fmla="*/ 2285 h 4855"/>
                <a:gd name="T16" fmla="*/ 782 w 3445"/>
                <a:gd name="T17" fmla="*/ 2285 h 4855"/>
                <a:gd name="T18" fmla="*/ 765 w 3445"/>
                <a:gd name="T19" fmla="*/ 2294 h 4855"/>
                <a:gd name="T20" fmla="*/ 746 w 3445"/>
                <a:gd name="T21" fmla="*/ 2310 h 4855"/>
                <a:gd name="T22" fmla="*/ 711 w 3445"/>
                <a:gd name="T23" fmla="*/ 2369 h 4855"/>
                <a:gd name="T24" fmla="*/ 661 w 3445"/>
                <a:gd name="T25" fmla="*/ 2509 h 4855"/>
                <a:gd name="T26" fmla="*/ 474 w 3445"/>
                <a:gd name="T27" fmla="*/ 3749 h 4855"/>
                <a:gd name="T28" fmla="*/ 251 w 3445"/>
                <a:gd name="T29" fmla="*/ 4639 h 4855"/>
                <a:gd name="T30" fmla="*/ 149 w 3445"/>
                <a:gd name="T31" fmla="*/ 4590 h 4855"/>
                <a:gd name="T32" fmla="*/ 57 w 3445"/>
                <a:gd name="T33" fmla="*/ 4539 h 4855"/>
                <a:gd name="T34" fmla="*/ 0 w 3445"/>
                <a:gd name="T35" fmla="*/ 4503 h 4855"/>
                <a:gd name="T36" fmla="*/ 326 w 3445"/>
                <a:gd name="T37" fmla="*/ 3677 h 4855"/>
                <a:gd name="T38" fmla="*/ 474 w 3445"/>
                <a:gd name="T39" fmla="*/ 3749 h 4855"/>
                <a:gd name="T40" fmla="*/ 2156 w 3445"/>
                <a:gd name="T41" fmla="*/ 2943 h 4855"/>
                <a:gd name="T42" fmla="*/ 2332 w 3445"/>
                <a:gd name="T43" fmla="*/ 2912 h 4855"/>
                <a:gd name="T44" fmla="*/ 2495 w 3445"/>
                <a:gd name="T45" fmla="*/ 2872 h 4855"/>
                <a:gd name="T46" fmla="*/ 2643 w 3445"/>
                <a:gd name="T47" fmla="*/ 2824 h 4855"/>
                <a:gd name="T48" fmla="*/ 2776 w 3445"/>
                <a:gd name="T49" fmla="*/ 2768 h 4855"/>
                <a:gd name="T50" fmla="*/ 2892 w 3445"/>
                <a:gd name="T51" fmla="*/ 2704 h 4855"/>
                <a:gd name="T52" fmla="*/ 2675 w 3445"/>
                <a:gd name="T53" fmla="*/ 1818 h 4855"/>
                <a:gd name="T54" fmla="*/ 2618 w 3445"/>
                <a:gd name="T55" fmla="*/ 1852 h 4855"/>
                <a:gd name="T56" fmla="*/ 2521 w 3445"/>
                <a:gd name="T57" fmla="*/ 1899 h 4855"/>
                <a:gd name="T58" fmla="*/ 2412 w 3445"/>
                <a:gd name="T59" fmla="*/ 1940 h 4855"/>
                <a:gd name="T60" fmla="*/ 2290 w 3445"/>
                <a:gd name="T61" fmla="*/ 1976 h 4855"/>
                <a:gd name="T62" fmla="*/ 2158 w 3445"/>
                <a:gd name="T63" fmla="*/ 2004 h 4855"/>
                <a:gd name="T64" fmla="*/ 2065 w 3445"/>
                <a:gd name="T65" fmla="*/ 2018 h 4855"/>
                <a:gd name="T66" fmla="*/ 3192 w 3445"/>
                <a:gd name="T67" fmla="*/ 3597 h 4855"/>
                <a:gd name="T68" fmla="*/ 3445 w 3445"/>
                <a:gd name="T69" fmla="*/ 4466 h 4855"/>
                <a:gd name="T70" fmla="*/ 3373 w 3445"/>
                <a:gd name="T71" fmla="*/ 4516 h 4855"/>
                <a:gd name="T72" fmla="*/ 3293 w 3445"/>
                <a:gd name="T73" fmla="*/ 4564 h 4855"/>
                <a:gd name="T74" fmla="*/ 3113 w 3445"/>
                <a:gd name="T75" fmla="*/ 4650 h 4855"/>
                <a:gd name="T76" fmla="*/ 2907 w 3445"/>
                <a:gd name="T77" fmla="*/ 4726 h 4855"/>
                <a:gd name="T78" fmla="*/ 2679 w 3445"/>
                <a:gd name="T79" fmla="*/ 4791 h 4855"/>
                <a:gd name="T80" fmla="*/ 2430 w 3445"/>
                <a:gd name="T81" fmla="*/ 4841 h 4855"/>
                <a:gd name="T82" fmla="*/ 2253 w 3445"/>
                <a:gd name="T83" fmla="*/ 3926 h 4855"/>
                <a:gd name="T84" fmla="*/ 2399 w 3445"/>
                <a:gd name="T85" fmla="*/ 3902 h 4855"/>
                <a:gd name="T86" fmla="*/ 2605 w 3445"/>
                <a:gd name="T87" fmla="*/ 3855 h 4855"/>
                <a:gd name="T88" fmla="*/ 2793 w 3445"/>
                <a:gd name="T89" fmla="*/ 3797 h 4855"/>
                <a:gd name="T90" fmla="*/ 2962 w 3445"/>
                <a:gd name="T91" fmla="*/ 3729 h 4855"/>
                <a:gd name="T92" fmla="*/ 3108 w 3445"/>
                <a:gd name="T93" fmla="*/ 3653 h 4855"/>
                <a:gd name="T94" fmla="*/ 3192 w 3445"/>
                <a:gd name="T95" fmla="*/ 3597 h 4855"/>
                <a:gd name="T96" fmla="*/ 2411 w 3445"/>
                <a:gd name="T97" fmla="*/ 908 h 4855"/>
                <a:gd name="T98" fmla="*/ 2316 w 3445"/>
                <a:gd name="T99" fmla="*/ 946 h 4855"/>
                <a:gd name="T100" fmla="*/ 2153 w 3445"/>
                <a:gd name="T101" fmla="*/ 993 h 4855"/>
                <a:gd name="T102" fmla="*/ 1969 w 3445"/>
                <a:gd name="T103" fmla="*/ 1025 h 4855"/>
                <a:gd name="T104" fmla="*/ 1876 w 3445"/>
                <a:gd name="T105" fmla="*/ 78 h 4855"/>
                <a:gd name="T106" fmla="*/ 1992 w 3445"/>
                <a:gd name="T107" fmla="*/ 56 h 4855"/>
                <a:gd name="T108" fmla="*/ 2091 w 3445"/>
                <a:gd name="T109" fmla="*/ 25 h 4855"/>
                <a:gd name="T110" fmla="*/ 2148 w 3445"/>
                <a:gd name="T111" fmla="*/ 0 h 48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445" h="4855">
                  <a:moveTo>
                    <a:pt x="582" y="2746"/>
                  </a:moveTo>
                  <a:lnTo>
                    <a:pt x="582" y="2746"/>
                  </a:lnTo>
                  <a:lnTo>
                    <a:pt x="612" y="2761"/>
                  </a:lnTo>
                  <a:lnTo>
                    <a:pt x="644" y="2776"/>
                  </a:lnTo>
                  <a:lnTo>
                    <a:pt x="676" y="2791"/>
                  </a:lnTo>
                  <a:lnTo>
                    <a:pt x="711" y="2805"/>
                  </a:lnTo>
                  <a:lnTo>
                    <a:pt x="711" y="2805"/>
                  </a:lnTo>
                  <a:lnTo>
                    <a:pt x="773" y="2557"/>
                  </a:lnTo>
                  <a:lnTo>
                    <a:pt x="806" y="2430"/>
                  </a:lnTo>
                  <a:lnTo>
                    <a:pt x="806" y="2430"/>
                  </a:lnTo>
                  <a:lnTo>
                    <a:pt x="815" y="2396"/>
                  </a:lnTo>
                  <a:lnTo>
                    <a:pt x="817" y="2381"/>
                  </a:lnTo>
                  <a:lnTo>
                    <a:pt x="819" y="2366"/>
                  </a:lnTo>
                  <a:lnTo>
                    <a:pt x="820" y="2354"/>
                  </a:lnTo>
                  <a:lnTo>
                    <a:pt x="821" y="2341"/>
                  </a:lnTo>
                  <a:lnTo>
                    <a:pt x="820" y="2331"/>
                  </a:lnTo>
                  <a:lnTo>
                    <a:pt x="820" y="2322"/>
                  </a:lnTo>
                  <a:lnTo>
                    <a:pt x="818" y="2313"/>
                  </a:lnTo>
                  <a:lnTo>
                    <a:pt x="816" y="2306"/>
                  </a:lnTo>
                  <a:lnTo>
                    <a:pt x="813" y="2300"/>
                  </a:lnTo>
                  <a:lnTo>
                    <a:pt x="810" y="2295"/>
                  </a:lnTo>
                  <a:lnTo>
                    <a:pt x="806" y="2290"/>
                  </a:lnTo>
                  <a:lnTo>
                    <a:pt x="802" y="2287"/>
                  </a:lnTo>
                  <a:lnTo>
                    <a:pt x="798" y="2285"/>
                  </a:lnTo>
                  <a:lnTo>
                    <a:pt x="793" y="2284"/>
                  </a:lnTo>
                  <a:lnTo>
                    <a:pt x="788" y="2284"/>
                  </a:lnTo>
                  <a:lnTo>
                    <a:pt x="782" y="2285"/>
                  </a:lnTo>
                  <a:lnTo>
                    <a:pt x="776" y="2286"/>
                  </a:lnTo>
                  <a:lnTo>
                    <a:pt x="771" y="2289"/>
                  </a:lnTo>
                  <a:lnTo>
                    <a:pt x="765" y="2294"/>
                  </a:lnTo>
                  <a:lnTo>
                    <a:pt x="759" y="2298"/>
                  </a:lnTo>
                  <a:lnTo>
                    <a:pt x="752" y="2304"/>
                  </a:lnTo>
                  <a:lnTo>
                    <a:pt x="746" y="2310"/>
                  </a:lnTo>
                  <a:lnTo>
                    <a:pt x="734" y="2327"/>
                  </a:lnTo>
                  <a:lnTo>
                    <a:pt x="722" y="2346"/>
                  </a:lnTo>
                  <a:lnTo>
                    <a:pt x="711" y="2369"/>
                  </a:lnTo>
                  <a:lnTo>
                    <a:pt x="700" y="2395"/>
                  </a:lnTo>
                  <a:lnTo>
                    <a:pt x="700" y="2395"/>
                  </a:lnTo>
                  <a:lnTo>
                    <a:pt x="661" y="2509"/>
                  </a:lnTo>
                  <a:lnTo>
                    <a:pt x="582" y="2746"/>
                  </a:lnTo>
                  <a:lnTo>
                    <a:pt x="582" y="2746"/>
                  </a:lnTo>
                  <a:close/>
                  <a:moveTo>
                    <a:pt x="474" y="3749"/>
                  </a:moveTo>
                  <a:lnTo>
                    <a:pt x="474" y="3749"/>
                  </a:lnTo>
                  <a:lnTo>
                    <a:pt x="251" y="4639"/>
                  </a:lnTo>
                  <a:lnTo>
                    <a:pt x="251" y="4639"/>
                  </a:lnTo>
                  <a:lnTo>
                    <a:pt x="216" y="4623"/>
                  </a:lnTo>
                  <a:lnTo>
                    <a:pt x="183" y="4607"/>
                  </a:lnTo>
                  <a:lnTo>
                    <a:pt x="149" y="4590"/>
                  </a:lnTo>
                  <a:lnTo>
                    <a:pt x="117" y="4573"/>
                  </a:lnTo>
                  <a:lnTo>
                    <a:pt x="87" y="4557"/>
                  </a:lnTo>
                  <a:lnTo>
                    <a:pt x="57" y="4539"/>
                  </a:lnTo>
                  <a:lnTo>
                    <a:pt x="28" y="4521"/>
                  </a:lnTo>
                  <a:lnTo>
                    <a:pt x="0" y="4503"/>
                  </a:lnTo>
                  <a:lnTo>
                    <a:pt x="0" y="4503"/>
                  </a:lnTo>
                  <a:lnTo>
                    <a:pt x="281" y="3651"/>
                  </a:lnTo>
                  <a:lnTo>
                    <a:pt x="281" y="3651"/>
                  </a:lnTo>
                  <a:lnTo>
                    <a:pt x="326" y="3677"/>
                  </a:lnTo>
                  <a:lnTo>
                    <a:pt x="373" y="3702"/>
                  </a:lnTo>
                  <a:lnTo>
                    <a:pt x="422" y="3726"/>
                  </a:lnTo>
                  <a:lnTo>
                    <a:pt x="474" y="3749"/>
                  </a:lnTo>
                  <a:lnTo>
                    <a:pt x="474" y="3749"/>
                  </a:lnTo>
                  <a:close/>
                  <a:moveTo>
                    <a:pt x="2156" y="2943"/>
                  </a:moveTo>
                  <a:lnTo>
                    <a:pt x="2156" y="2943"/>
                  </a:lnTo>
                  <a:lnTo>
                    <a:pt x="2216" y="2933"/>
                  </a:lnTo>
                  <a:lnTo>
                    <a:pt x="2274" y="2923"/>
                  </a:lnTo>
                  <a:lnTo>
                    <a:pt x="2332" y="2912"/>
                  </a:lnTo>
                  <a:lnTo>
                    <a:pt x="2388" y="2900"/>
                  </a:lnTo>
                  <a:lnTo>
                    <a:pt x="2442" y="2886"/>
                  </a:lnTo>
                  <a:lnTo>
                    <a:pt x="2495" y="2872"/>
                  </a:lnTo>
                  <a:lnTo>
                    <a:pt x="2546" y="2856"/>
                  </a:lnTo>
                  <a:lnTo>
                    <a:pt x="2596" y="2841"/>
                  </a:lnTo>
                  <a:lnTo>
                    <a:pt x="2643" y="2824"/>
                  </a:lnTo>
                  <a:lnTo>
                    <a:pt x="2690" y="2805"/>
                  </a:lnTo>
                  <a:lnTo>
                    <a:pt x="2734" y="2786"/>
                  </a:lnTo>
                  <a:lnTo>
                    <a:pt x="2776" y="2768"/>
                  </a:lnTo>
                  <a:lnTo>
                    <a:pt x="2817" y="2747"/>
                  </a:lnTo>
                  <a:lnTo>
                    <a:pt x="2856" y="2726"/>
                  </a:lnTo>
                  <a:lnTo>
                    <a:pt x="2892" y="2704"/>
                  </a:lnTo>
                  <a:lnTo>
                    <a:pt x="2926" y="2681"/>
                  </a:lnTo>
                  <a:lnTo>
                    <a:pt x="2926" y="2681"/>
                  </a:lnTo>
                  <a:lnTo>
                    <a:pt x="2675" y="1818"/>
                  </a:lnTo>
                  <a:lnTo>
                    <a:pt x="2675" y="1818"/>
                  </a:lnTo>
                  <a:lnTo>
                    <a:pt x="2648" y="1835"/>
                  </a:lnTo>
                  <a:lnTo>
                    <a:pt x="2618" y="1852"/>
                  </a:lnTo>
                  <a:lnTo>
                    <a:pt x="2587" y="1868"/>
                  </a:lnTo>
                  <a:lnTo>
                    <a:pt x="2555" y="1884"/>
                  </a:lnTo>
                  <a:lnTo>
                    <a:pt x="2521" y="1899"/>
                  </a:lnTo>
                  <a:lnTo>
                    <a:pt x="2485" y="1913"/>
                  </a:lnTo>
                  <a:lnTo>
                    <a:pt x="2449" y="1927"/>
                  </a:lnTo>
                  <a:lnTo>
                    <a:pt x="2412" y="1940"/>
                  </a:lnTo>
                  <a:lnTo>
                    <a:pt x="2372" y="1953"/>
                  </a:lnTo>
                  <a:lnTo>
                    <a:pt x="2332" y="1964"/>
                  </a:lnTo>
                  <a:lnTo>
                    <a:pt x="2290" y="1976"/>
                  </a:lnTo>
                  <a:lnTo>
                    <a:pt x="2247" y="1986"/>
                  </a:lnTo>
                  <a:lnTo>
                    <a:pt x="2204" y="1996"/>
                  </a:lnTo>
                  <a:lnTo>
                    <a:pt x="2158" y="2004"/>
                  </a:lnTo>
                  <a:lnTo>
                    <a:pt x="2112" y="2012"/>
                  </a:lnTo>
                  <a:lnTo>
                    <a:pt x="2065" y="2018"/>
                  </a:lnTo>
                  <a:lnTo>
                    <a:pt x="2065" y="2018"/>
                  </a:lnTo>
                  <a:lnTo>
                    <a:pt x="2156" y="2943"/>
                  </a:lnTo>
                  <a:lnTo>
                    <a:pt x="2156" y="2943"/>
                  </a:lnTo>
                  <a:close/>
                  <a:moveTo>
                    <a:pt x="3192" y="3597"/>
                  </a:moveTo>
                  <a:lnTo>
                    <a:pt x="3192" y="3597"/>
                  </a:lnTo>
                  <a:lnTo>
                    <a:pt x="3445" y="4466"/>
                  </a:lnTo>
                  <a:lnTo>
                    <a:pt x="3445" y="4466"/>
                  </a:lnTo>
                  <a:lnTo>
                    <a:pt x="3422" y="4484"/>
                  </a:lnTo>
                  <a:lnTo>
                    <a:pt x="3398" y="4500"/>
                  </a:lnTo>
                  <a:lnTo>
                    <a:pt x="3373" y="4516"/>
                  </a:lnTo>
                  <a:lnTo>
                    <a:pt x="3347" y="4533"/>
                  </a:lnTo>
                  <a:lnTo>
                    <a:pt x="3320" y="4548"/>
                  </a:lnTo>
                  <a:lnTo>
                    <a:pt x="3293" y="4564"/>
                  </a:lnTo>
                  <a:lnTo>
                    <a:pt x="3236" y="4594"/>
                  </a:lnTo>
                  <a:lnTo>
                    <a:pt x="3176" y="4623"/>
                  </a:lnTo>
                  <a:lnTo>
                    <a:pt x="3113" y="4650"/>
                  </a:lnTo>
                  <a:lnTo>
                    <a:pt x="3047" y="4678"/>
                  </a:lnTo>
                  <a:lnTo>
                    <a:pt x="2978" y="4703"/>
                  </a:lnTo>
                  <a:lnTo>
                    <a:pt x="2907" y="4726"/>
                  </a:lnTo>
                  <a:lnTo>
                    <a:pt x="2834" y="4749"/>
                  </a:lnTo>
                  <a:lnTo>
                    <a:pt x="2758" y="4771"/>
                  </a:lnTo>
                  <a:lnTo>
                    <a:pt x="2679" y="4791"/>
                  </a:lnTo>
                  <a:lnTo>
                    <a:pt x="2599" y="4809"/>
                  </a:lnTo>
                  <a:lnTo>
                    <a:pt x="2516" y="4825"/>
                  </a:lnTo>
                  <a:lnTo>
                    <a:pt x="2430" y="4841"/>
                  </a:lnTo>
                  <a:lnTo>
                    <a:pt x="2344" y="4855"/>
                  </a:lnTo>
                  <a:lnTo>
                    <a:pt x="2344" y="4855"/>
                  </a:lnTo>
                  <a:lnTo>
                    <a:pt x="2253" y="3926"/>
                  </a:lnTo>
                  <a:lnTo>
                    <a:pt x="2253" y="3926"/>
                  </a:lnTo>
                  <a:lnTo>
                    <a:pt x="2326" y="3915"/>
                  </a:lnTo>
                  <a:lnTo>
                    <a:pt x="2399" y="3902"/>
                  </a:lnTo>
                  <a:lnTo>
                    <a:pt x="2469" y="3888"/>
                  </a:lnTo>
                  <a:lnTo>
                    <a:pt x="2537" y="3872"/>
                  </a:lnTo>
                  <a:lnTo>
                    <a:pt x="2605" y="3855"/>
                  </a:lnTo>
                  <a:lnTo>
                    <a:pt x="2669" y="3838"/>
                  </a:lnTo>
                  <a:lnTo>
                    <a:pt x="2733" y="3818"/>
                  </a:lnTo>
                  <a:lnTo>
                    <a:pt x="2793" y="3797"/>
                  </a:lnTo>
                  <a:lnTo>
                    <a:pt x="2851" y="3776"/>
                  </a:lnTo>
                  <a:lnTo>
                    <a:pt x="2907" y="3753"/>
                  </a:lnTo>
                  <a:lnTo>
                    <a:pt x="2962" y="3729"/>
                  </a:lnTo>
                  <a:lnTo>
                    <a:pt x="3014" y="3705"/>
                  </a:lnTo>
                  <a:lnTo>
                    <a:pt x="3062" y="3679"/>
                  </a:lnTo>
                  <a:lnTo>
                    <a:pt x="3108" y="3653"/>
                  </a:lnTo>
                  <a:lnTo>
                    <a:pt x="3152" y="3625"/>
                  </a:lnTo>
                  <a:lnTo>
                    <a:pt x="3192" y="3597"/>
                  </a:lnTo>
                  <a:lnTo>
                    <a:pt x="3192" y="3597"/>
                  </a:lnTo>
                  <a:close/>
                  <a:moveTo>
                    <a:pt x="2148" y="0"/>
                  </a:moveTo>
                  <a:lnTo>
                    <a:pt x="2148" y="0"/>
                  </a:lnTo>
                  <a:lnTo>
                    <a:pt x="2411" y="908"/>
                  </a:lnTo>
                  <a:lnTo>
                    <a:pt x="2411" y="908"/>
                  </a:lnTo>
                  <a:lnTo>
                    <a:pt x="2365" y="928"/>
                  </a:lnTo>
                  <a:lnTo>
                    <a:pt x="2316" y="946"/>
                  </a:lnTo>
                  <a:lnTo>
                    <a:pt x="2264" y="963"/>
                  </a:lnTo>
                  <a:lnTo>
                    <a:pt x="2210" y="979"/>
                  </a:lnTo>
                  <a:lnTo>
                    <a:pt x="2153" y="993"/>
                  </a:lnTo>
                  <a:lnTo>
                    <a:pt x="2093" y="1006"/>
                  </a:lnTo>
                  <a:lnTo>
                    <a:pt x="2032" y="1016"/>
                  </a:lnTo>
                  <a:lnTo>
                    <a:pt x="1969" y="1025"/>
                  </a:lnTo>
                  <a:lnTo>
                    <a:pt x="1969" y="1025"/>
                  </a:lnTo>
                  <a:lnTo>
                    <a:pt x="1876" y="78"/>
                  </a:lnTo>
                  <a:lnTo>
                    <a:pt x="1876" y="78"/>
                  </a:lnTo>
                  <a:lnTo>
                    <a:pt x="1916" y="72"/>
                  </a:lnTo>
                  <a:lnTo>
                    <a:pt x="1954" y="65"/>
                  </a:lnTo>
                  <a:lnTo>
                    <a:pt x="1992" y="56"/>
                  </a:lnTo>
                  <a:lnTo>
                    <a:pt x="2026" y="47"/>
                  </a:lnTo>
                  <a:lnTo>
                    <a:pt x="2059" y="37"/>
                  </a:lnTo>
                  <a:lnTo>
                    <a:pt x="2091" y="25"/>
                  </a:lnTo>
                  <a:lnTo>
                    <a:pt x="2120" y="13"/>
                  </a:lnTo>
                  <a:lnTo>
                    <a:pt x="2148" y="0"/>
                  </a:lnTo>
                  <a:lnTo>
                    <a:pt x="2148" y="0"/>
                  </a:lnTo>
                  <a:close/>
                </a:path>
              </a:pathLst>
            </a:custGeom>
            <a:solidFill>
              <a:srgbClr val="D5502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24" name="Freeform 80"/>
            <p:cNvSpPr>
              <a:spLocks noEditPoints="1"/>
            </p:cNvSpPr>
            <p:nvPr/>
          </p:nvSpPr>
          <p:spPr bwMode="auto">
            <a:xfrm flipH="1">
              <a:off x="6793383" y="2030195"/>
              <a:ext cx="1063034" cy="1071921"/>
            </a:xfrm>
            <a:custGeom>
              <a:avLst/>
              <a:gdLst>
                <a:gd name="T0" fmla="*/ 3292 w 5765"/>
                <a:gd name="T1" fmla="*/ 6405 h 7478"/>
                <a:gd name="T2" fmla="*/ 2428 w 5765"/>
                <a:gd name="T3" fmla="*/ 6250 h 7478"/>
                <a:gd name="T4" fmla="*/ 1985 w 5765"/>
                <a:gd name="T5" fmla="*/ 6088 h 7478"/>
                <a:gd name="T6" fmla="*/ 1611 w 5765"/>
                <a:gd name="T7" fmla="*/ 5851 h 7478"/>
                <a:gd name="T8" fmla="*/ 1479 w 5765"/>
                <a:gd name="T9" fmla="*/ 5664 h 7478"/>
                <a:gd name="T10" fmla="*/ 1454 w 5765"/>
                <a:gd name="T11" fmla="*/ 5448 h 7478"/>
                <a:gd name="T12" fmla="*/ 79 w 5765"/>
                <a:gd name="T13" fmla="*/ 5569 h 7478"/>
                <a:gd name="T14" fmla="*/ 5 w 5765"/>
                <a:gd name="T15" fmla="*/ 5685 h 7478"/>
                <a:gd name="T16" fmla="*/ 32 w 5765"/>
                <a:gd name="T17" fmla="*/ 5817 h 7478"/>
                <a:gd name="T18" fmla="*/ 3352 w 5765"/>
                <a:gd name="T19" fmla="*/ 7411 h 7478"/>
                <a:gd name="T20" fmla="*/ 3699 w 5765"/>
                <a:gd name="T21" fmla="*/ 7477 h 7478"/>
                <a:gd name="T22" fmla="*/ 1921 w 5765"/>
                <a:gd name="T23" fmla="*/ 4965 h 7478"/>
                <a:gd name="T24" fmla="*/ 1738 w 5765"/>
                <a:gd name="T25" fmla="*/ 4683 h 7478"/>
                <a:gd name="T26" fmla="*/ 2057 w 5765"/>
                <a:gd name="T27" fmla="*/ 3950 h 7478"/>
                <a:gd name="T28" fmla="*/ 2298 w 5765"/>
                <a:gd name="T29" fmla="*/ 4192 h 7478"/>
                <a:gd name="T30" fmla="*/ 2446 w 5765"/>
                <a:gd name="T31" fmla="*/ 5259 h 7478"/>
                <a:gd name="T32" fmla="*/ 3334 w 5765"/>
                <a:gd name="T33" fmla="*/ 5445 h 7478"/>
                <a:gd name="T34" fmla="*/ 4160 w 5765"/>
                <a:gd name="T35" fmla="*/ 5445 h 7478"/>
                <a:gd name="T36" fmla="*/ 4033 w 5765"/>
                <a:gd name="T37" fmla="*/ 4518 h 7478"/>
                <a:gd name="T38" fmla="*/ 3316 w 5765"/>
                <a:gd name="T39" fmla="*/ 4505 h 7478"/>
                <a:gd name="T40" fmla="*/ 2585 w 5765"/>
                <a:gd name="T41" fmla="*/ 4336 h 7478"/>
                <a:gd name="T42" fmla="*/ 5456 w 5765"/>
                <a:gd name="T43" fmla="*/ 3909 h 7478"/>
                <a:gd name="T44" fmla="*/ 5293 w 5765"/>
                <a:gd name="T45" fmla="*/ 4121 h 7478"/>
                <a:gd name="T46" fmla="*/ 5628 w 5765"/>
                <a:gd name="T47" fmla="*/ 4912 h 7478"/>
                <a:gd name="T48" fmla="*/ 5762 w 5765"/>
                <a:gd name="T49" fmla="*/ 4652 h 7478"/>
                <a:gd name="T50" fmla="*/ 4029 w 5765"/>
                <a:gd name="T51" fmla="*/ 2593 h 7478"/>
                <a:gd name="T52" fmla="*/ 3928 w 5765"/>
                <a:gd name="T53" fmla="*/ 3533 h 7478"/>
                <a:gd name="T54" fmla="*/ 3338 w 5765"/>
                <a:gd name="T55" fmla="*/ 3512 h 7478"/>
                <a:gd name="T56" fmla="*/ 2762 w 5765"/>
                <a:gd name="T57" fmla="*/ 3368 h 7478"/>
                <a:gd name="T58" fmla="*/ 2871 w 5765"/>
                <a:gd name="T59" fmla="*/ 2894 h 7478"/>
                <a:gd name="T60" fmla="*/ 2839 w 5765"/>
                <a:gd name="T61" fmla="*/ 2847 h 7478"/>
                <a:gd name="T62" fmla="*/ 2762 w 5765"/>
                <a:gd name="T63" fmla="*/ 2932 h 7478"/>
                <a:gd name="T64" fmla="*/ 2485 w 5765"/>
                <a:gd name="T65" fmla="*/ 3214 h 7478"/>
                <a:gd name="T66" fmla="*/ 2320 w 5765"/>
                <a:gd name="T67" fmla="*/ 2993 h 7478"/>
                <a:gd name="T68" fmla="*/ 2681 w 5765"/>
                <a:gd name="T69" fmla="*/ 2304 h 7478"/>
                <a:gd name="T70" fmla="*/ 2980 w 5765"/>
                <a:gd name="T71" fmla="*/ 2481 h 7478"/>
                <a:gd name="T72" fmla="*/ 3432 w 5765"/>
                <a:gd name="T73" fmla="*/ 2588 h 7478"/>
                <a:gd name="T74" fmla="*/ 4901 w 5765"/>
                <a:gd name="T75" fmla="*/ 2190 h 7478"/>
                <a:gd name="T76" fmla="*/ 4813 w 5765"/>
                <a:gd name="T77" fmla="*/ 2314 h 7478"/>
                <a:gd name="T78" fmla="*/ 5052 w 5765"/>
                <a:gd name="T79" fmla="*/ 3186 h 7478"/>
                <a:gd name="T80" fmla="*/ 5174 w 5765"/>
                <a:gd name="T81" fmla="*/ 3023 h 7478"/>
                <a:gd name="T82" fmla="*/ 4580 w 5765"/>
                <a:gd name="T83" fmla="*/ 1402 h 7478"/>
                <a:gd name="T84" fmla="*/ 4228 w 5765"/>
                <a:gd name="T85" fmla="*/ 547 h 7478"/>
                <a:gd name="T86" fmla="*/ 2897 w 5765"/>
                <a:gd name="T87" fmla="*/ 1381 h 7478"/>
                <a:gd name="T88" fmla="*/ 3099 w 5765"/>
                <a:gd name="T89" fmla="*/ 1495 h 7478"/>
                <a:gd name="T90" fmla="*/ 3680 w 5765"/>
                <a:gd name="T91" fmla="*/ 1604 h 7478"/>
                <a:gd name="T92" fmla="*/ 3886 w 5765"/>
                <a:gd name="T93" fmla="*/ 647 h 7478"/>
                <a:gd name="T94" fmla="*/ 3482 w 5765"/>
                <a:gd name="T95" fmla="*/ 625 h 7478"/>
                <a:gd name="T96" fmla="*/ 3215 w 5765"/>
                <a:gd name="T97" fmla="*/ 499 h 7478"/>
                <a:gd name="T98" fmla="*/ 3435 w 5765"/>
                <a:gd name="T99" fmla="*/ 151 h 7478"/>
                <a:gd name="T100" fmla="*/ 3550 w 5765"/>
                <a:gd name="T101" fmla="*/ 241 h 7478"/>
                <a:gd name="T102" fmla="*/ 3816 w 5765"/>
                <a:gd name="T103" fmla="*/ 270 h 7478"/>
                <a:gd name="T104" fmla="*/ 4045 w 5765"/>
                <a:gd name="T105" fmla="*/ 189 h 7478"/>
                <a:gd name="T106" fmla="*/ 4068 w 5765"/>
                <a:gd name="T107" fmla="*/ 122 h 7478"/>
                <a:gd name="T108" fmla="*/ 3954 w 5765"/>
                <a:gd name="T109" fmla="*/ 31 h 7478"/>
                <a:gd name="T110" fmla="*/ 3688 w 5765"/>
                <a:gd name="T111" fmla="*/ 3 h 7478"/>
                <a:gd name="T112" fmla="*/ 3459 w 5765"/>
                <a:gd name="T113" fmla="*/ 83 h 7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65" h="7478">
                  <a:moveTo>
                    <a:pt x="3747" y="7478"/>
                  </a:moveTo>
                  <a:lnTo>
                    <a:pt x="3747" y="6431"/>
                  </a:lnTo>
                  <a:lnTo>
                    <a:pt x="3747" y="6431"/>
                  </a:lnTo>
                  <a:lnTo>
                    <a:pt x="3730" y="6431"/>
                  </a:lnTo>
                  <a:lnTo>
                    <a:pt x="3679" y="6430"/>
                  </a:lnTo>
                  <a:lnTo>
                    <a:pt x="3598" y="6427"/>
                  </a:lnTo>
                  <a:lnTo>
                    <a:pt x="3492" y="6421"/>
                  </a:lnTo>
                  <a:lnTo>
                    <a:pt x="3430" y="6417"/>
                  </a:lnTo>
                  <a:lnTo>
                    <a:pt x="3364" y="6412"/>
                  </a:lnTo>
                  <a:lnTo>
                    <a:pt x="3292" y="6405"/>
                  </a:lnTo>
                  <a:lnTo>
                    <a:pt x="3217" y="6397"/>
                  </a:lnTo>
                  <a:lnTo>
                    <a:pt x="3138" y="6388"/>
                  </a:lnTo>
                  <a:lnTo>
                    <a:pt x="3056" y="6377"/>
                  </a:lnTo>
                  <a:lnTo>
                    <a:pt x="2971" y="6365"/>
                  </a:lnTo>
                  <a:lnTo>
                    <a:pt x="2883" y="6351"/>
                  </a:lnTo>
                  <a:lnTo>
                    <a:pt x="2794" y="6335"/>
                  </a:lnTo>
                  <a:lnTo>
                    <a:pt x="2704" y="6317"/>
                  </a:lnTo>
                  <a:lnTo>
                    <a:pt x="2612" y="6297"/>
                  </a:lnTo>
                  <a:lnTo>
                    <a:pt x="2520" y="6274"/>
                  </a:lnTo>
                  <a:lnTo>
                    <a:pt x="2428" y="6250"/>
                  </a:lnTo>
                  <a:lnTo>
                    <a:pt x="2382" y="6237"/>
                  </a:lnTo>
                  <a:lnTo>
                    <a:pt x="2337" y="6223"/>
                  </a:lnTo>
                  <a:lnTo>
                    <a:pt x="2291" y="6208"/>
                  </a:lnTo>
                  <a:lnTo>
                    <a:pt x="2246" y="6193"/>
                  </a:lnTo>
                  <a:lnTo>
                    <a:pt x="2201" y="6177"/>
                  </a:lnTo>
                  <a:lnTo>
                    <a:pt x="2157" y="6161"/>
                  </a:lnTo>
                  <a:lnTo>
                    <a:pt x="2113" y="6144"/>
                  </a:lnTo>
                  <a:lnTo>
                    <a:pt x="2069" y="6126"/>
                  </a:lnTo>
                  <a:lnTo>
                    <a:pt x="2027" y="6107"/>
                  </a:lnTo>
                  <a:lnTo>
                    <a:pt x="1985" y="6088"/>
                  </a:lnTo>
                  <a:lnTo>
                    <a:pt x="1944" y="6068"/>
                  </a:lnTo>
                  <a:lnTo>
                    <a:pt x="1903" y="6047"/>
                  </a:lnTo>
                  <a:lnTo>
                    <a:pt x="1862" y="6025"/>
                  </a:lnTo>
                  <a:lnTo>
                    <a:pt x="1824" y="6003"/>
                  </a:lnTo>
                  <a:lnTo>
                    <a:pt x="1786" y="5979"/>
                  </a:lnTo>
                  <a:lnTo>
                    <a:pt x="1748" y="5955"/>
                  </a:lnTo>
                  <a:lnTo>
                    <a:pt x="1713" y="5930"/>
                  </a:lnTo>
                  <a:lnTo>
                    <a:pt x="1677" y="5905"/>
                  </a:lnTo>
                  <a:lnTo>
                    <a:pt x="1644" y="5878"/>
                  </a:lnTo>
                  <a:lnTo>
                    <a:pt x="1611" y="5851"/>
                  </a:lnTo>
                  <a:lnTo>
                    <a:pt x="1580" y="5822"/>
                  </a:lnTo>
                  <a:lnTo>
                    <a:pt x="1550" y="5793"/>
                  </a:lnTo>
                  <a:lnTo>
                    <a:pt x="1550" y="5793"/>
                  </a:lnTo>
                  <a:lnTo>
                    <a:pt x="1543" y="5784"/>
                  </a:lnTo>
                  <a:lnTo>
                    <a:pt x="1535" y="5774"/>
                  </a:lnTo>
                  <a:lnTo>
                    <a:pt x="1526" y="5759"/>
                  </a:lnTo>
                  <a:lnTo>
                    <a:pt x="1514" y="5741"/>
                  </a:lnTo>
                  <a:lnTo>
                    <a:pt x="1503" y="5719"/>
                  </a:lnTo>
                  <a:lnTo>
                    <a:pt x="1490" y="5693"/>
                  </a:lnTo>
                  <a:lnTo>
                    <a:pt x="1479" y="5664"/>
                  </a:lnTo>
                  <a:lnTo>
                    <a:pt x="1469" y="5631"/>
                  </a:lnTo>
                  <a:lnTo>
                    <a:pt x="1464" y="5614"/>
                  </a:lnTo>
                  <a:lnTo>
                    <a:pt x="1461" y="5595"/>
                  </a:lnTo>
                  <a:lnTo>
                    <a:pt x="1457" y="5576"/>
                  </a:lnTo>
                  <a:lnTo>
                    <a:pt x="1455" y="5556"/>
                  </a:lnTo>
                  <a:lnTo>
                    <a:pt x="1453" y="5536"/>
                  </a:lnTo>
                  <a:lnTo>
                    <a:pt x="1452" y="5515"/>
                  </a:lnTo>
                  <a:lnTo>
                    <a:pt x="1452" y="5493"/>
                  </a:lnTo>
                  <a:lnTo>
                    <a:pt x="1453" y="5471"/>
                  </a:lnTo>
                  <a:lnTo>
                    <a:pt x="1454" y="5448"/>
                  </a:lnTo>
                  <a:lnTo>
                    <a:pt x="1457" y="5424"/>
                  </a:lnTo>
                  <a:lnTo>
                    <a:pt x="1461" y="5399"/>
                  </a:lnTo>
                  <a:lnTo>
                    <a:pt x="1467" y="5374"/>
                  </a:lnTo>
                  <a:lnTo>
                    <a:pt x="1475" y="5349"/>
                  </a:lnTo>
                  <a:lnTo>
                    <a:pt x="1483" y="5323"/>
                  </a:lnTo>
                  <a:lnTo>
                    <a:pt x="1483" y="5323"/>
                  </a:lnTo>
                  <a:lnTo>
                    <a:pt x="1612" y="4955"/>
                  </a:lnTo>
                  <a:lnTo>
                    <a:pt x="1667" y="4799"/>
                  </a:lnTo>
                  <a:lnTo>
                    <a:pt x="79" y="5569"/>
                  </a:lnTo>
                  <a:lnTo>
                    <a:pt x="79" y="5569"/>
                  </a:lnTo>
                  <a:lnTo>
                    <a:pt x="76" y="5572"/>
                  </a:lnTo>
                  <a:lnTo>
                    <a:pt x="66" y="5581"/>
                  </a:lnTo>
                  <a:lnTo>
                    <a:pt x="52" y="5597"/>
                  </a:lnTo>
                  <a:lnTo>
                    <a:pt x="45" y="5606"/>
                  </a:lnTo>
                  <a:lnTo>
                    <a:pt x="37" y="5618"/>
                  </a:lnTo>
                  <a:lnTo>
                    <a:pt x="30" y="5629"/>
                  </a:lnTo>
                  <a:lnTo>
                    <a:pt x="22" y="5642"/>
                  </a:lnTo>
                  <a:lnTo>
                    <a:pt x="15" y="5655"/>
                  </a:lnTo>
                  <a:lnTo>
                    <a:pt x="10" y="5670"/>
                  </a:lnTo>
                  <a:lnTo>
                    <a:pt x="5" y="5685"/>
                  </a:lnTo>
                  <a:lnTo>
                    <a:pt x="1" y="5701"/>
                  </a:lnTo>
                  <a:lnTo>
                    <a:pt x="0" y="5718"/>
                  </a:lnTo>
                  <a:lnTo>
                    <a:pt x="1" y="5734"/>
                  </a:lnTo>
                  <a:lnTo>
                    <a:pt x="1" y="5734"/>
                  </a:lnTo>
                  <a:lnTo>
                    <a:pt x="4" y="5751"/>
                  </a:lnTo>
                  <a:lnTo>
                    <a:pt x="8" y="5767"/>
                  </a:lnTo>
                  <a:lnTo>
                    <a:pt x="12" y="5781"/>
                  </a:lnTo>
                  <a:lnTo>
                    <a:pt x="18" y="5794"/>
                  </a:lnTo>
                  <a:lnTo>
                    <a:pt x="24" y="5806"/>
                  </a:lnTo>
                  <a:lnTo>
                    <a:pt x="32" y="5817"/>
                  </a:lnTo>
                  <a:lnTo>
                    <a:pt x="39" y="5826"/>
                  </a:lnTo>
                  <a:lnTo>
                    <a:pt x="46" y="5834"/>
                  </a:lnTo>
                  <a:lnTo>
                    <a:pt x="61" y="5848"/>
                  </a:lnTo>
                  <a:lnTo>
                    <a:pt x="73" y="5857"/>
                  </a:lnTo>
                  <a:lnTo>
                    <a:pt x="82" y="5864"/>
                  </a:lnTo>
                  <a:lnTo>
                    <a:pt x="85" y="5866"/>
                  </a:lnTo>
                  <a:lnTo>
                    <a:pt x="3323" y="7398"/>
                  </a:lnTo>
                  <a:lnTo>
                    <a:pt x="3323" y="7398"/>
                  </a:lnTo>
                  <a:lnTo>
                    <a:pt x="3330" y="7401"/>
                  </a:lnTo>
                  <a:lnTo>
                    <a:pt x="3352" y="7411"/>
                  </a:lnTo>
                  <a:lnTo>
                    <a:pt x="3388" y="7422"/>
                  </a:lnTo>
                  <a:lnTo>
                    <a:pt x="3410" y="7430"/>
                  </a:lnTo>
                  <a:lnTo>
                    <a:pt x="3436" y="7437"/>
                  </a:lnTo>
                  <a:lnTo>
                    <a:pt x="3466" y="7444"/>
                  </a:lnTo>
                  <a:lnTo>
                    <a:pt x="3498" y="7452"/>
                  </a:lnTo>
                  <a:lnTo>
                    <a:pt x="3532" y="7458"/>
                  </a:lnTo>
                  <a:lnTo>
                    <a:pt x="3571" y="7464"/>
                  </a:lnTo>
                  <a:lnTo>
                    <a:pt x="3611" y="7469"/>
                  </a:lnTo>
                  <a:lnTo>
                    <a:pt x="3654" y="7473"/>
                  </a:lnTo>
                  <a:lnTo>
                    <a:pt x="3699" y="7477"/>
                  </a:lnTo>
                  <a:lnTo>
                    <a:pt x="3747" y="7478"/>
                  </a:lnTo>
                  <a:lnTo>
                    <a:pt x="3747" y="7478"/>
                  </a:lnTo>
                  <a:close/>
                  <a:moveTo>
                    <a:pt x="2332" y="4214"/>
                  </a:moveTo>
                  <a:lnTo>
                    <a:pt x="2332" y="4214"/>
                  </a:lnTo>
                  <a:lnTo>
                    <a:pt x="2051" y="5066"/>
                  </a:lnTo>
                  <a:lnTo>
                    <a:pt x="2051" y="5066"/>
                  </a:lnTo>
                  <a:lnTo>
                    <a:pt x="2015" y="5041"/>
                  </a:lnTo>
                  <a:lnTo>
                    <a:pt x="1982" y="5018"/>
                  </a:lnTo>
                  <a:lnTo>
                    <a:pt x="1950" y="4991"/>
                  </a:lnTo>
                  <a:lnTo>
                    <a:pt x="1921" y="4965"/>
                  </a:lnTo>
                  <a:lnTo>
                    <a:pt x="1893" y="4939"/>
                  </a:lnTo>
                  <a:lnTo>
                    <a:pt x="1867" y="4912"/>
                  </a:lnTo>
                  <a:lnTo>
                    <a:pt x="1843" y="4885"/>
                  </a:lnTo>
                  <a:lnTo>
                    <a:pt x="1822" y="4858"/>
                  </a:lnTo>
                  <a:lnTo>
                    <a:pt x="1802" y="4830"/>
                  </a:lnTo>
                  <a:lnTo>
                    <a:pt x="1784" y="4801"/>
                  </a:lnTo>
                  <a:lnTo>
                    <a:pt x="1770" y="4773"/>
                  </a:lnTo>
                  <a:lnTo>
                    <a:pt x="1756" y="4742"/>
                  </a:lnTo>
                  <a:lnTo>
                    <a:pt x="1746" y="4713"/>
                  </a:lnTo>
                  <a:lnTo>
                    <a:pt x="1738" y="4683"/>
                  </a:lnTo>
                  <a:lnTo>
                    <a:pt x="1732" y="4653"/>
                  </a:lnTo>
                  <a:lnTo>
                    <a:pt x="1728" y="4623"/>
                  </a:lnTo>
                  <a:lnTo>
                    <a:pt x="1728" y="4623"/>
                  </a:lnTo>
                  <a:lnTo>
                    <a:pt x="2015" y="3813"/>
                  </a:lnTo>
                  <a:lnTo>
                    <a:pt x="2015" y="3813"/>
                  </a:lnTo>
                  <a:lnTo>
                    <a:pt x="2018" y="3841"/>
                  </a:lnTo>
                  <a:lnTo>
                    <a:pt x="2025" y="3868"/>
                  </a:lnTo>
                  <a:lnTo>
                    <a:pt x="2033" y="3895"/>
                  </a:lnTo>
                  <a:lnTo>
                    <a:pt x="2043" y="3922"/>
                  </a:lnTo>
                  <a:lnTo>
                    <a:pt x="2057" y="3950"/>
                  </a:lnTo>
                  <a:lnTo>
                    <a:pt x="2071" y="3976"/>
                  </a:lnTo>
                  <a:lnTo>
                    <a:pt x="2089" y="4002"/>
                  </a:lnTo>
                  <a:lnTo>
                    <a:pt x="2108" y="4027"/>
                  </a:lnTo>
                  <a:lnTo>
                    <a:pt x="2130" y="4052"/>
                  </a:lnTo>
                  <a:lnTo>
                    <a:pt x="2153" y="4077"/>
                  </a:lnTo>
                  <a:lnTo>
                    <a:pt x="2178" y="4101"/>
                  </a:lnTo>
                  <a:lnTo>
                    <a:pt x="2206" y="4125"/>
                  </a:lnTo>
                  <a:lnTo>
                    <a:pt x="2235" y="4148"/>
                  </a:lnTo>
                  <a:lnTo>
                    <a:pt x="2265" y="4170"/>
                  </a:lnTo>
                  <a:lnTo>
                    <a:pt x="2298" y="4192"/>
                  </a:lnTo>
                  <a:lnTo>
                    <a:pt x="2332" y="4214"/>
                  </a:lnTo>
                  <a:lnTo>
                    <a:pt x="2332" y="4214"/>
                  </a:lnTo>
                  <a:close/>
                  <a:moveTo>
                    <a:pt x="2525" y="4312"/>
                  </a:moveTo>
                  <a:lnTo>
                    <a:pt x="2525" y="4312"/>
                  </a:lnTo>
                  <a:lnTo>
                    <a:pt x="2302" y="5202"/>
                  </a:lnTo>
                  <a:lnTo>
                    <a:pt x="2302" y="5202"/>
                  </a:lnTo>
                  <a:lnTo>
                    <a:pt x="2337" y="5217"/>
                  </a:lnTo>
                  <a:lnTo>
                    <a:pt x="2373" y="5231"/>
                  </a:lnTo>
                  <a:lnTo>
                    <a:pt x="2409" y="5246"/>
                  </a:lnTo>
                  <a:lnTo>
                    <a:pt x="2446" y="5259"/>
                  </a:lnTo>
                  <a:lnTo>
                    <a:pt x="2523" y="5285"/>
                  </a:lnTo>
                  <a:lnTo>
                    <a:pt x="2603" y="5310"/>
                  </a:lnTo>
                  <a:lnTo>
                    <a:pt x="2686" y="5334"/>
                  </a:lnTo>
                  <a:lnTo>
                    <a:pt x="2771" y="5355"/>
                  </a:lnTo>
                  <a:lnTo>
                    <a:pt x="2859" y="5375"/>
                  </a:lnTo>
                  <a:lnTo>
                    <a:pt x="2950" y="5393"/>
                  </a:lnTo>
                  <a:lnTo>
                    <a:pt x="3042" y="5409"/>
                  </a:lnTo>
                  <a:lnTo>
                    <a:pt x="3138" y="5423"/>
                  </a:lnTo>
                  <a:lnTo>
                    <a:pt x="3235" y="5435"/>
                  </a:lnTo>
                  <a:lnTo>
                    <a:pt x="3334" y="5445"/>
                  </a:lnTo>
                  <a:lnTo>
                    <a:pt x="3435" y="5453"/>
                  </a:lnTo>
                  <a:lnTo>
                    <a:pt x="3537" y="5458"/>
                  </a:lnTo>
                  <a:lnTo>
                    <a:pt x="3641" y="5462"/>
                  </a:lnTo>
                  <a:lnTo>
                    <a:pt x="3747" y="5463"/>
                  </a:lnTo>
                  <a:lnTo>
                    <a:pt x="3747" y="5463"/>
                  </a:lnTo>
                  <a:lnTo>
                    <a:pt x="3832" y="5462"/>
                  </a:lnTo>
                  <a:lnTo>
                    <a:pt x="3916" y="5460"/>
                  </a:lnTo>
                  <a:lnTo>
                    <a:pt x="3998" y="5456"/>
                  </a:lnTo>
                  <a:lnTo>
                    <a:pt x="4080" y="5452"/>
                  </a:lnTo>
                  <a:lnTo>
                    <a:pt x="4160" y="5445"/>
                  </a:lnTo>
                  <a:lnTo>
                    <a:pt x="4240" y="5437"/>
                  </a:lnTo>
                  <a:lnTo>
                    <a:pt x="4318" y="5428"/>
                  </a:lnTo>
                  <a:lnTo>
                    <a:pt x="4395" y="5418"/>
                  </a:lnTo>
                  <a:lnTo>
                    <a:pt x="4395" y="5418"/>
                  </a:lnTo>
                  <a:lnTo>
                    <a:pt x="4304" y="4489"/>
                  </a:lnTo>
                  <a:lnTo>
                    <a:pt x="4304" y="4489"/>
                  </a:lnTo>
                  <a:lnTo>
                    <a:pt x="4238" y="4499"/>
                  </a:lnTo>
                  <a:lnTo>
                    <a:pt x="4170" y="4506"/>
                  </a:lnTo>
                  <a:lnTo>
                    <a:pt x="4102" y="4513"/>
                  </a:lnTo>
                  <a:lnTo>
                    <a:pt x="4033" y="4518"/>
                  </a:lnTo>
                  <a:lnTo>
                    <a:pt x="3963" y="4523"/>
                  </a:lnTo>
                  <a:lnTo>
                    <a:pt x="3892" y="4526"/>
                  </a:lnTo>
                  <a:lnTo>
                    <a:pt x="3820" y="4528"/>
                  </a:lnTo>
                  <a:lnTo>
                    <a:pt x="3747" y="4529"/>
                  </a:lnTo>
                  <a:lnTo>
                    <a:pt x="3747" y="4529"/>
                  </a:lnTo>
                  <a:lnTo>
                    <a:pt x="3658" y="4528"/>
                  </a:lnTo>
                  <a:lnTo>
                    <a:pt x="3571" y="4525"/>
                  </a:lnTo>
                  <a:lnTo>
                    <a:pt x="3484" y="4521"/>
                  </a:lnTo>
                  <a:lnTo>
                    <a:pt x="3399" y="4513"/>
                  </a:lnTo>
                  <a:lnTo>
                    <a:pt x="3316" y="4505"/>
                  </a:lnTo>
                  <a:lnTo>
                    <a:pt x="3234" y="4496"/>
                  </a:lnTo>
                  <a:lnTo>
                    <a:pt x="3153" y="4484"/>
                  </a:lnTo>
                  <a:lnTo>
                    <a:pt x="3075" y="4471"/>
                  </a:lnTo>
                  <a:lnTo>
                    <a:pt x="2998" y="4456"/>
                  </a:lnTo>
                  <a:lnTo>
                    <a:pt x="2924" y="4439"/>
                  </a:lnTo>
                  <a:lnTo>
                    <a:pt x="2851" y="4422"/>
                  </a:lnTo>
                  <a:lnTo>
                    <a:pt x="2780" y="4402"/>
                  </a:lnTo>
                  <a:lnTo>
                    <a:pt x="2713" y="4382"/>
                  </a:lnTo>
                  <a:lnTo>
                    <a:pt x="2647" y="4360"/>
                  </a:lnTo>
                  <a:lnTo>
                    <a:pt x="2585" y="4336"/>
                  </a:lnTo>
                  <a:lnTo>
                    <a:pt x="2525" y="4312"/>
                  </a:lnTo>
                  <a:lnTo>
                    <a:pt x="2525" y="4312"/>
                  </a:lnTo>
                  <a:close/>
                  <a:moveTo>
                    <a:pt x="5765" y="4625"/>
                  </a:moveTo>
                  <a:lnTo>
                    <a:pt x="5765" y="4625"/>
                  </a:lnTo>
                  <a:lnTo>
                    <a:pt x="5479" y="3817"/>
                  </a:lnTo>
                  <a:lnTo>
                    <a:pt x="5479" y="3817"/>
                  </a:lnTo>
                  <a:lnTo>
                    <a:pt x="5476" y="3840"/>
                  </a:lnTo>
                  <a:lnTo>
                    <a:pt x="5471" y="3863"/>
                  </a:lnTo>
                  <a:lnTo>
                    <a:pt x="5465" y="3886"/>
                  </a:lnTo>
                  <a:lnTo>
                    <a:pt x="5456" y="3909"/>
                  </a:lnTo>
                  <a:lnTo>
                    <a:pt x="5447" y="3932"/>
                  </a:lnTo>
                  <a:lnTo>
                    <a:pt x="5436" y="3954"/>
                  </a:lnTo>
                  <a:lnTo>
                    <a:pt x="5423" y="3976"/>
                  </a:lnTo>
                  <a:lnTo>
                    <a:pt x="5409" y="3997"/>
                  </a:lnTo>
                  <a:lnTo>
                    <a:pt x="5393" y="4018"/>
                  </a:lnTo>
                  <a:lnTo>
                    <a:pt x="5375" y="4040"/>
                  </a:lnTo>
                  <a:lnTo>
                    <a:pt x="5357" y="4061"/>
                  </a:lnTo>
                  <a:lnTo>
                    <a:pt x="5337" y="4081"/>
                  </a:lnTo>
                  <a:lnTo>
                    <a:pt x="5315" y="4102"/>
                  </a:lnTo>
                  <a:lnTo>
                    <a:pt x="5293" y="4121"/>
                  </a:lnTo>
                  <a:lnTo>
                    <a:pt x="5268" y="4141"/>
                  </a:lnTo>
                  <a:lnTo>
                    <a:pt x="5243" y="4160"/>
                  </a:lnTo>
                  <a:lnTo>
                    <a:pt x="5243" y="4160"/>
                  </a:lnTo>
                  <a:lnTo>
                    <a:pt x="5496" y="5029"/>
                  </a:lnTo>
                  <a:lnTo>
                    <a:pt x="5496" y="5029"/>
                  </a:lnTo>
                  <a:lnTo>
                    <a:pt x="5526" y="5007"/>
                  </a:lnTo>
                  <a:lnTo>
                    <a:pt x="5554" y="4984"/>
                  </a:lnTo>
                  <a:lnTo>
                    <a:pt x="5580" y="4960"/>
                  </a:lnTo>
                  <a:lnTo>
                    <a:pt x="5605" y="4936"/>
                  </a:lnTo>
                  <a:lnTo>
                    <a:pt x="5628" y="4912"/>
                  </a:lnTo>
                  <a:lnTo>
                    <a:pt x="5650" y="4887"/>
                  </a:lnTo>
                  <a:lnTo>
                    <a:pt x="5670" y="4862"/>
                  </a:lnTo>
                  <a:lnTo>
                    <a:pt x="5687" y="4837"/>
                  </a:lnTo>
                  <a:lnTo>
                    <a:pt x="5704" y="4812"/>
                  </a:lnTo>
                  <a:lnTo>
                    <a:pt x="5718" y="4786"/>
                  </a:lnTo>
                  <a:lnTo>
                    <a:pt x="5731" y="4760"/>
                  </a:lnTo>
                  <a:lnTo>
                    <a:pt x="5741" y="4733"/>
                  </a:lnTo>
                  <a:lnTo>
                    <a:pt x="5751" y="4706"/>
                  </a:lnTo>
                  <a:lnTo>
                    <a:pt x="5757" y="4680"/>
                  </a:lnTo>
                  <a:lnTo>
                    <a:pt x="5762" y="4652"/>
                  </a:lnTo>
                  <a:lnTo>
                    <a:pt x="5765" y="4625"/>
                  </a:lnTo>
                  <a:lnTo>
                    <a:pt x="5765" y="4625"/>
                  </a:lnTo>
                  <a:close/>
                  <a:moveTo>
                    <a:pt x="3751" y="2608"/>
                  </a:moveTo>
                  <a:lnTo>
                    <a:pt x="3751" y="2608"/>
                  </a:lnTo>
                  <a:lnTo>
                    <a:pt x="3799" y="2606"/>
                  </a:lnTo>
                  <a:lnTo>
                    <a:pt x="3846" y="2605"/>
                  </a:lnTo>
                  <a:lnTo>
                    <a:pt x="3893" y="2603"/>
                  </a:lnTo>
                  <a:lnTo>
                    <a:pt x="3939" y="2600"/>
                  </a:lnTo>
                  <a:lnTo>
                    <a:pt x="3984" y="2597"/>
                  </a:lnTo>
                  <a:lnTo>
                    <a:pt x="4029" y="2593"/>
                  </a:lnTo>
                  <a:lnTo>
                    <a:pt x="4073" y="2588"/>
                  </a:lnTo>
                  <a:lnTo>
                    <a:pt x="4116" y="2581"/>
                  </a:lnTo>
                  <a:lnTo>
                    <a:pt x="4116" y="2581"/>
                  </a:lnTo>
                  <a:lnTo>
                    <a:pt x="4207" y="3506"/>
                  </a:lnTo>
                  <a:lnTo>
                    <a:pt x="4207" y="3506"/>
                  </a:lnTo>
                  <a:lnTo>
                    <a:pt x="4153" y="3513"/>
                  </a:lnTo>
                  <a:lnTo>
                    <a:pt x="4098" y="3519"/>
                  </a:lnTo>
                  <a:lnTo>
                    <a:pt x="4043" y="3524"/>
                  </a:lnTo>
                  <a:lnTo>
                    <a:pt x="3985" y="3530"/>
                  </a:lnTo>
                  <a:lnTo>
                    <a:pt x="3928" y="3533"/>
                  </a:lnTo>
                  <a:lnTo>
                    <a:pt x="3870" y="3535"/>
                  </a:lnTo>
                  <a:lnTo>
                    <a:pt x="3811" y="3537"/>
                  </a:lnTo>
                  <a:lnTo>
                    <a:pt x="3751" y="3537"/>
                  </a:lnTo>
                  <a:lnTo>
                    <a:pt x="3751" y="3537"/>
                  </a:lnTo>
                  <a:lnTo>
                    <a:pt x="3680" y="3537"/>
                  </a:lnTo>
                  <a:lnTo>
                    <a:pt x="3610" y="3534"/>
                  </a:lnTo>
                  <a:lnTo>
                    <a:pt x="3540" y="3531"/>
                  </a:lnTo>
                  <a:lnTo>
                    <a:pt x="3472" y="3525"/>
                  </a:lnTo>
                  <a:lnTo>
                    <a:pt x="3404" y="3519"/>
                  </a:lnTo>
                  <a:lnTo>
                    <a:pt x="3338" y="3512"/>
                  </a:lnTo>
                  <a:lnTo>
                    <a:pt x="3273" y="3503"/>
                  </a:lnTo>
                  <a:lnTo>
                    <a:pt x="3210" y="3492"/>
                  </a:lnTo>
                  <a:lnTo>
                    <a:pt x="3147" y="3481"/>
                  </a:lnTo>
                  <a:lnTo>
                    <a:pt x="3087" y="3468"/>
                  </a:lnTo>
                  <a:lnTo>
                    <a:pt x="3029" y="3454"/>
                  </a:lnTo>
                  <a:lnTo>
                    <a:pt x="2972" y="3439"/>
                  </a:lnTo>
                  <a:lnTo>
                    <a:pt x="2916" y="3422"/>
                  </a:lnTo>
                  <a:lnTo>
                    <a:pt x="2863" y="3406"/>
                  </a:lnTo>
                  <a:lnTo>
                    <a:pt x="2811" y="3387"/>
                  </a:lnTo>
                  <a:lnTo>
                    <a:pt x="2762" y="3368"/>
                  </a:lnTo>
                  <a:lnTo>
                    <a:pt x="2762" y="3368"/>
                  </a:lnTo>
                  <a:lnTo>
                    <a:pt x="2824" y="3120"/>
                  </a:lnTo>
                  <a:lnTo>
                    <a:pt x="2857" y="2993"/>
                  </a:lnTo>
                  <a:lnTo>
                    <a:pt x="2857" y="2993"/>
                  </a:lnTo>
                  <a:lnTo>
                    <a:pt x="2866" y="2959"/>
                  </a:lnTo>
                  <a:lnTo>
                    <a:pt x="2868" y="2944"/>
                  </a:lnTo>
                  <a:lnTo>
                    <a:pt x="2870" y="2929"/>
                  </a:lnTo>
                  <a:lnTo>
                    <a:pt x="2871" y="2917"/>
                  </a:lnTo>
                  <a:lnTo>
                    <a:pt x="2872" y="2904"/>
                  </a:lnTo>
                  <a:lnTo>
                    <a:pt x="2871" y="2894"/>
                  </a:lnTo>
                  <a:lnTo>
                    <a:pt x="2871" y="2885"/>
                  </a:lnTo>
                  <a:lnTo>
                    <a:pt x="2869" y="2876"/>
                  </a:lnTo>
                  <a:lnTo>
                    <a:pt x="2867" y="2869"/>
                  </a:lnTo>
                  <a:lnTo>
                    <a:pt x="2864" y="2863"/>
                  </a:lnTo>
                  <a:lnTo>
                    <a:pt x="2861" y="2858"/>
                  </a:lnTo>
                  <a:lnTo>
                    <a:pt x="2857" y="2853"/>
                  </a:lnTo>
                  <a:lnTo>
                    <a:pt x="2853" y="2850"/>
                  </a:lnTo>
                  <a:lnTo>
                    <a:pt x="2849" y="2848"/>
                  </a:lnTo>
                  <a:lnTo>
                    <a:pt x="2844" y="2847"/>
                  </a:lnTo>
                  <a:lnTo>
                    <a:pt x="2839" y="2847"/>
                  </a:lnTo>
                  <a:lnTo>
                    <a:pt x="2833" y="2848"/>
                  </a:lnTo>
                  <a:lnTo>
                    <a:pt x="2827" y="2849"/>
                  </a:lnTo>
                  <a:lnTo>
                    <a:pt x="2822" y="2852"/>
                  </a:lnTo>
                  <a:lnTo>
                    <a:pt x="2816" y="2857"/>
                  </a:lnTo>
                  <a:lnTo>
                    <a:pt x="2810" y="2861"/>
                  </a:lnTo>
                  <a:lnTo>
                    <a:pt x="2803" y="2867"/>
                  </a:lnTo>
                  <a:lnTo>
                    <a:pt x="2797" y="2873"/>
                  </a:lnTo>
                  <a:lnTo>
                    <a:pt x="2785" y="2890"/>
                  </a:lnTo>
                  <a:lnTo>
                    <a:pt x="2773" y="2909"/>
                  </a:lnTo>
                  <a:lnTo>
                    <a:pt x="2762" y="2932"/>
                  </a:lnTo>
                  <a:lnTo>
                    <a:pt x="2751" y="2958"/>
                  </a:lnTo>
                  <a:lnTo>
                    <a:pt x="2751" y="2958"/>
                  </a:lnTo>
                  <a:lnTo>
                    <a:pt x="2712" y="3072"/>
                  </a:lnTo>
                  <a:lnTo>
                    <a:pt x="2633" y="3309"/>
                  </a:lnTo>
                  <a:lnTo>
                    <a:pt x="2633" y="3309"/>
                  </a:lnTo>
                  <a:lnTo>
                    <a:pt x="2601" y="3291"/>
                  </a:lnTo>
                  <a:lnTo>
                    <a:pt x="2569" y="3272"/>
                  </a:lnTo>
                  <a:lnTo>
                    <a:pt x="2539" y="3254"/>
                  </a:lnTo>
                  <a:lnTo>
                    <a:pt x="2511" y="3234"/>
                  </a:lnTo>
                  <a:lnTo>
                    <a:pt x="2485" y="3214"/>
                  </a:lnTo>
                  <a:lnTo>
                    <a:pt x="2460" y="3194"/>
                  </a:lnTo>
                  <a:lnTo>
                    <a:pt x="2437" y="3173"/>
                  </a:lnTo>
                  <a:lnTo>
                    <a:pt x="2416" y="3151"/>
                  </a:lnTo>
                  <a:lnTo>
                    <a:pt x="2396" y="3130"/>
                  </a:lnTo>
                  <a:lnTo>
                    <a:pt x="2378" y="3108"/>
                  </a:lnTo>
                  <a:lnTo>
                    <a:pt x="2363" y="3086"/>
                  </a:lnTo>
                  <a:lnTo>
                    <a:pt x="2349" y="3063"/>
                  </a:lnTo>
                  <a:lnTo>
                    <a:pt x="2338" y="3040"/>
                  </a:lnTo>
                  <a:lnTo>
                    <a:pt x="2327" y="3016"/>
                  </a:lnTo>
                  <a:lnTo>
                    <a:pt x="2320" y="2993"/>
                  </a:lnTo>
                  <a:lnTo>
                    <a:pt x="2314" y="2969"/>
                  </a:lnTo>
                  <a:lnTo>
                    <a:pt x="2314" y="2969"/>
                  </a:lnTo>
                  <a:lnTo>
                    <a:pt x="2596" y="2173"/>
                  </a:lnTo>
                  <a:lnTo>
                    <a:pt x="2596" y="2173"/>
                  </a:lnTo>
                  <a:lnTo>
                    <a:pt x="2605" y="2196"/>
                  </a:lnTo>
                  <a:lnTo>
                    <a:pt x="2615" y="2218"/>
                  </a:lnTo>
                  <a:lnTo>
                    <a:pt x="2628" y="2240"/>
                  </a:lnTo>
                  <a:lnTo>
                    <a:pt x="2643" y="2262"/>
                  </a:lnTo>
                  <a:lnTo>
                    <a:pt x="2661" y="2283"/>
                  </a:lnTo>
                  <a:lnTo>
                    <a:pt x="2681" y="2304"/>
                  </a:lnTo>
                  <a:lnTo>
                    <a:pt x="2701" y="2324"/>
                  </a:lnTo>
                  <a:lnTo>
                    <a:pt x="2725" y="2344"/>
                  </a:lnTo>
                  <a:lnTo>
                    <a:pt x="2751" y="2364"/>
                  </a:lnTo>
                  <a:lnTo>
                    <a:pt x="2778" y="2382"/>
                  </a:lnTo>
                  <a:lnTo>
                    <a:pt x="2807" y="2400"/>
                  </a:lnTo>
                  <a:lnTo>
                    <a:pt x="2839" y="2418"/>
                  </a:lnTo>
                  <a:lnTo>
                    <a:pt x="2872" y="2435"/>
                  </a:lnTo>
                  <a:lnTo>
                    <a:pt x="2906" y="2451"/>
                  </a:lnTo>
                  <a:lnTo>
                    <a:pt x="2943" y="2467"/>
                  </a:lnTo>
                  <a:lnTo>
                    <a:pt x="2980" y="2481"/>
                  </a:lnTo>
                  <a:lnTo>
                    <a:pt x="3020" y="2496"/>
                  </a:lnTo>
                  <a:lnTo>
                    <a:pt x="3060" y="2510"/>
                  </a:lnTo>
                  <a:lnTo>
                    <a:pt x="3103" y="2522"/>
                  </a:lnTo>
                  <a:lnTo>
                    <a:pt x="3146" y="2535"/>
                  </a:lnTo>
                  <a:lnTo>
                    <a:pt x="3191" y="2545"/>
                  </a:lnTo>
                  <a:lnTo>
                    <a:pt x="3237" y="2555"/>
                  </a:lnTo>
                  <a:lnTo>
                    <a:pt x="3284" y="2565"/>
                  </a:lnTo>
                  <a:lnTo>
                    <a:pt x="3332" y="2573"/>
                  </a:lnTo>
                  <a:lnTo>
                    <a:pt x="3381" y="2581"/>
                  </a:lnTo>
                  <a:lnTo>
                    <a:pt x="3432" y="2588"/>
                  </a:lnTo>
                  <a:lnTo>
                    <a:pt x="3483" y="2594"/>
                  </a:lnTo>
                  <a:lnTo>
                    <a:pt x="3535" y="2598"/>
                  </a:lnTo>
                  <a:lnTo>
                    <a:pt x="3588" y="2602"/>
                  </a:lnTo>
                  <a:lnTo>
                    <a:pt x="3642" y="2604"/>
                  </a:lnTo>
                  <a:lnTo>
                    <a:pt x="3696" y="2606"/>
                  </a:lnTo>
                  <a:lnTo>
                    <a:pt x="3751" y="2608"/>
                  </a:lnTo>
                  <a:lnTo>
                    <a:pt x="3751" y="2608"/>
                  </a:lnTo>
                  <a:close/>
                  <a:moveTo>
                    <a:pt x="5185" y="2988"/>
                  </a:moveTo>
                  <a:lnTo>
                    <a:pt x="5185" y="2988"/>
                  </a:lnTo>
                  <a:lnTo>
                    <a:pt x="4901" y="2190"/>
                  </a:lnTo>
                  <a:lnTo>
                    <a:pt x="4901" y="2190"/>
                  </a:lnTo>
                  <a:lnTo>
                    <a:pt x="4896" y="2203"/>
                  </a:lnTo>
                  <a:lnTo>
                    <a:pt x="4890" y="2216"/>
                  </a:lnTo>
                  <a:lnTo>
                    <a:pt x="4883" y="2228"/>
                  </a:lnTo>
                  <a:lnTo>
                    <a:pt x="4874" y="2242"/>
                  </a:lnTo>
                  <a:lnTo>
                    <a:pt x="4866" y="2254"/>
                  </a:lnTo>
                  <a:lnTo>
                    <a:pt x="4857" y="2266"/>
                  </a:lnTo>
                  <a:lnTo>
                    <a:pt x="4846" y="2278"/>
                  </a:lnTo>
                  <a:lnTo>
                    <a:pt x="4836" y="2291"/>
                  </a:lnTo>
                  <a:lnTo>
                    <a:pt x="4813" y="2314"/>
                  </a:lnTo>
                  <a:lnTo>
                    <a:pt x="4786" y="2338"/>
                  </a:lnTo>
                  <a:lnTo>
                    <a:pt x="4758" y="2360"/>
                  </a:lnTo>
                  <a:lnTo>
                    <a:pt x="4726" y="2381"/>
                  </a:lnTo>
                  <a:lnTo>
                    <a:pt x="4726" y="2381"/>
                  </a:lnTo>
                  <a:lnTo>
                    <a:pt x="4977" y="3244"/>
                  </a:lnTo>
                  <a:lnTo>
                    <a:pt x="4977" y="3244"/>
                  </a:lnTo>
                  <a:lnTo>
                    <a:pt x="4997" y="3231"/>
                  </a:lnTo>
                  <a:lnTo>
                    <a:pt x="5017" y="3216"/>
                  </a:lnTo>
                  <a:lnTo>
                    <a:pt x="5035" y="3200"/>
                  </a:lnTo>
                  <a:lnTo>
                    <a:pt x="5052" y="3186"/>
                  </a:lnTo>
                  <a:lnTo>
                    <a:pt x="5069" y="3170"/>
                  </a:lnTo>
                  <a:lnTo>
                    <a:pt x="5084" y="3155"/>
                  </a:lnTo>
                  <a:lnTo>
                    <a:pt x="5099" y="3139"/>
                  </a:lnTo>
                  <a:lnTo>
                    <a:pt x="5113" y="3123"/>
                  </a:lnTo>
                  <a:lnTo>
                    <a:pt x="5126" y="3107"/>
                  </a:lnTo>
                  <a:lnTo>
                    <a:pt x="5137" y="3090"/>
                  </a:lnTo>
                  <a:lnTo>
                    <a:pt x="5148" y="3074"/>
                  </a:lnTo>
                  <a:lnTo>
                    <a:pt x="5157" y="3057"/>
                  </a:lnTo>
                  <a:lnTo>
                    <a:pt x="5166" y="3040"/>
                  </a:lnTo>
                  <a:lnTo>
                    <a:pt x="5174" y="3023"/>
                  </a:lnTo>
                  <a:lnTo>
                    <a:pt x="5180" y="3006"/>
                  </a:lnTo>
                  <a:lnTo>
                    <a:pt x="5185" y="2988"/>
                  </a:lnTo>
                  <a:lnTo>
                    <a:pt x="5185" y="2988"/>
                  </a:lnTo>
                  <a:close/>
                  <a:moveTo>
                    <a:pt x="4294" y="491"/>
                  </a:moveTo>
                  <a:lnTo>
                    <a:pt x="4294" y="491"/>
                  </a:lnTo>
                  <a:lnTo>
                    <a:pt x="4432" y="874"/>
                  </a:lnTo>
                  <a:lnTo>
                    <a:pt x="4611" y="1377"/>
                  </a:lnTo>
                  <a:lnTo>
                    <a:pt x="4611" y="1377"/>
                  </a:lnTo>
                  <a:lnTo>
                    <a:pt x="4596" y="1389"/>
                  </a:lnTo>
                  <a:lnTo>
                    <a:pt x="4580" y="1402"/>
                  </a:lnTo>
                  <a:lnTo>
                    <a:pt x="4562" y="1414"/>
                  </a:lnTo>
                  <a:lnTo>
                    <a:pt x="4544" y="1426"/>
                  </a:lnTo>
                  <a:lnTo>
                    <a:pt x="4525" y="1437"/>
                  </a:lnTo>
                  <a:lnTo>
                    <a:pt x="4504" y="1449"/>
                  </a:lnTo>
                  <a:lnTo>
                    <a:pt x="4483" y="1459"/>
                  </a:lnTo>
                  <a:lnTo>
                    <a:pt x="4462" y="1471"/>
                  </a:lnTo>
                  <a:lnTo>
                    <a:pt x="4462" y="1471"/>
                  </a:lnTo>
                  <a:lnTo>
                    <a:pt x="4199" y="563"/>
                  </a:lnTo>
                  <a:lnTo>
                    <a:pt x="4199" y="563"/>
                  </a:lnTo>
                  <a:lnTo>
                    <a:pt x="4228" y="547"/>
                  </a:lnTo>
                  <a:lnTo>
                    <a:pt x="4241" y="538"/>
                  </a:lnTo>
                  <a:lnTo>
                    <a:pt x="4254" y="529"/>
                  </a:lnTo>
                  <a:lnTo>
                    <a:pt x="4265" y="519"/>
                  </a:lnTo>
                  <a:lnTo>
                    <a:pt x="4275" y="511"/>
                  </a:lnTo>
                  <a:lnTo>
                    <a:pt x="4286" y="501"/>
                  </a:lnTo>
                  <a:lnTo>
                    <a:pt x="4294" y="491"/>
                  </a:lnTo>
                  <a:lnTo>
                    <a:pt x="4294" y="491"/>
                  </a:lnTo>
                  <a:close/>
                  <a:moveTo>
                    <a:pt x="2881" y="1368"/>
                  </a:moveTo>
                  <a:lnTo>
                    <a:pt x="2881" y="1368"/>
                  </a:lnTo>
                  <a:lnTo>
                    <a:pt x="2897" y="1381"/>
                  </a:lnTo>
                  <a:lnTo>
                    <a:pt x="2912" y="1394"/>
                  </a:lnTo>
                  <a:lnTo>
                    <a:pt x="2929" y="1406"/>
                  </a:lnTo>
                  <a:lnTo>
                    <a:pt x="2948" y="1419"/>
                  </a:lnTo>
                  <a:lnTo>
                    <a:pt x="2967" y="1430"/>
                  </a:lnTo>
                  <a:lnTo>
                    <a:pt x="2986" y="1442"/>
                  </a:lnTo>
                  <a:lnTo>
                    <a:pt x="3007" y="1453"/>
                  </a:lnTo>
                  <a:lnTo>
                    <a:pt x="3029" y="1464"/>
                  </a:lnTo>
                  <a:lnTo>
                    <a:pt x="3051" y="1475"/>
                  </a:lnTo>
                  <a:lnTo>
                    <a:pt x="3075" y="1485"/>
                  </a:lnTo>
                  <a:lnTo>
                    <a:pt x="3099" y="1495"/>
                  </a:lnTo>
                  <a:lnTo>
                    <a:pt x="3124" y="1504"/>
                  </a:lnTo>
                  <a:lnTo>
                    <a:pt x="3176" y="1523"/>
                  </a:lnTo>
                  <a:lnTo>
                    <a:pt x="3231" y="1538"/>
                  </a:lnTo>
                  <a:lnTo>
                    <a:pt x="3288" y="1554"/>
                  </a:lnTo>
                  <a:lnTo>
                    <a:pt x="3348" y="1567"/>
                  </a:lnTo>
                  <a:lnTo>
                    <a:pt x="3410" y="1578"/>
                  </a:lnTo>
                  <a:lnTo>
                    <a:pt x="3475" y="1587"/>
                  </a:lnTo>
                  <a:lnTo>
                    <a:pt x="3541" y="1595"/>
                  </a:lnTo>
                  <a:lnTo>
                    <a:pt x="3610" y="1600"/>
                  </a:lnTo>
                  <a:lnTo>
                    <a:pt x="3680" y="1604"/>
                  </a:lnTo>
                  <a:lnTo>
                    <a:pt x="3751" y="1605"/>
                  </a:lnTo>
                  <a:lnTo>
                    <a:pt x="3751" y="1605"/>
                  </a:lnTo>
                  <a:lnTo>
                    <a:pt x="3821" y="1604"/>
                  </a:lnTo>
                  <a:lnTo>
                    <a:pt x="3889" y="1601"/>
                  </a:lnTo>
                  <a:lnTo>
                    <a:pt x="3955" y="1596"/>
                  </a:lnTo>
                  <a:lnTo>
                    <a:pt x="4020" y="1588"/>
                  </a:lnTo>
                  <a:lnTo>
                    <a:pt x="4020" y="1588"/>
                  </a:lnTo>
                  <a:lnTo>
                    <a:pt x="3927" y="641"/>
                  </a:lnTo>
                  <a:lnTo>
                    <a:pt x="3927" y="641"/>
                  </a:lnTo>
                  <a:lnTo>
                    <a:pt x="3886" y="647"/>
                  </a:lnTo>
                  <a:lnTo>
                    <a:pt x="3842" y="651"/>
                  </a:lnTo>
                  <a:lnTo>
                    <a:pt x="3797" y="653"/>
                  </a:lnTo>
                  <a:lnTo>
                    <a:pt x="3751" y="654"/>
                  </a:lnTo>
                  <a:lnTo>
                    <a:pt x="3751" y="654"/>
                  </a:lnTo>
                  <a:lnTo>
                    <a:pt x="3704" y="653"/>
                  </a:lnTo>
                  <a:lnTo>
                    <a:pt x="3657" y="650"/>
                  </a:lnTo>
                  <a:lnTo>
                    <a:pt x="3611" y="646"/>
                  </a:lnTo>
                  <a:lnTo>
                    <a:pt x="3566" y="640"/>
                  </a:lnTo>
                  <a:lnTo>
                    <a:pt x="3524" y="633"/>
                  </a:lnTo>
                  <a:lnTo>
                    <a:pt x="3482" y="625"/>
                  </a:lnTo>
                  <a:lnTo>
                    <a:pt x="3444" y="615"/>
                  </a:lnTo>
                  <a:lnTo>
                    <a:pt x="3406" y="604"/>
                  </a:lnTo>
                  <a:lnTo>
                    <a:pt x="3371" y="592"/>
                  </a:lnTo>
                  <a:lnTo>
                    <a:pt x="3339" y="579"/>
                  </a:lnTo>
                  <a:lnTo>
                    <a:pt x="3308" y="564"/>
                  </a:lnTo>
                  <a:lnTo>
                    <a:pt x="3281" y="550"/>
                  </a:lnTo>
                  <a:lnTo>
                    <a:pt x="3256" y="533"/>
                  </a:lnTo>
                  <a:lnTo>
                    <a:pt x="3234" y="516"/>
                  </a:lnTo>
                  <a:lnTo>
                    <a:pt x="3223" y="507"/>
                  </a:lnTo>
                  <a:lnTo>
                    <a:pt x="3215" y="499"/>
                  </a:lnTo>
                  <a:lnTo>
                    <a:pt x="3207" y="489"/>
                  </a:lnTo>
                  <a:lnTo>
                    <a:pt x="3199" y="480"/>
                  </a:lnTo>
                  <a:lnTo>
                    <a:pt x="3199" y="480"/>
                  </a:lnTo>
                  <a:lnTo>
                    <a:pt x="3064" y="856"/>
                  </a:lnTo>
                  <a:lnTo>
                    <a:pt x="2881" y="1368"/>
                  </a:lnTo>
                  <a:lnTo>
                    <a:pt x="2881" y="1368"/>
                  </a:lnTo>
                  <a:close/>
                  <a:moveTo>
                    <a:pt x="3434" y="136"/>
                  </a:moveTo>
                  <a:lnTo>
                    <a:pt x="3434" y="136"/>
                  </a:lnTo>
                  <a:lnTo>
                    <a:pt x="3434" y="143"/>
                  </a:lnTo>
                  <a:lnTo>
                    <a:pt x="3435" y="151"/>
                  </a:lnTo>
                  <a:lnTo>
                    <a:pt x="3438" y="157"/>
                  </a:lnTo>
                  <a:lnTo>
                    <a:pt x="3441" y="164"/>
                  </a:lnTo>
                  <a:lnTo>
                    <a:pt x="3444" y="170"/>
                  </a:lnTo>
                  <a:lnTo>
                    <a:pt x="3448" y="177"/>
                  </a:lnTo>
                  <a:lnTo>
                    <a:pt x="3459" y="189"/>
                  </a:lnTo>
                  <a:lnTo>
                    <a:pt x="3472" y="202"/>
                  </a:lnTo>
                  <a:lnTo>
                    <a:pt x="3488" y="213"/>
                  </a:lnTo>
                  <a:lnTo>
                    <a:pt x="3506" y="224"/>
                  </a:lnTo>
                  <a:lnTo>
                    <a:pt x="3527" y="233"/>
                  </a:lnTo>
                  <a:lnTo>
                    <a:pt x="3550" y="241"/>
                  </a:lnTo>
                  <a:lnTo>
                    <a:pt x="3574" y="250"/>
                  </a:lnTo>
                  <a:lnTo>
                    <a:pt x="3601" y="256"/>
                  </a:lnTo>
                  <a:lnTo>
                    <a:pt x="3628" y="262"/>
                  </a:lnTo>
                  <a:lnTo>
                    <a:pt x="3657" y="266"/>
                  </a:lnTo>
                  <a:lnTo>
                    <a:pt x="3688" y="270"/>
                  </a:lnTo>
                  <a:lnTo>
                    <a:pt x="3719" y="273"/>
                  </a:lnTo>
                  <a:lnTo>
                    <a:pt x="3751" y="273"/>
                  </a:lnTo>
                  <a:lnTo>
                    <a:pt x="3751" y="273"/>
                  </a:lnTo>
                  <a:lnTo>
                    <a:pt x="3784" y="273"/>
                  </a:lnTo>
                  <a:lnTo>
                    <a:pt x="3816" y="270"/>
                  </a:lnTo>
                  <a:lnTo>
                    <a:pt x="3846" y="266"/>
                  </a:lnTo>
                  <a:lnTo>
                    <a:pt x="3875" y="262"/>
                  </a:lnTo>
                  <a:lnTo>
                    <a:pt x="3903" y="256"/>
                  </a:lnTo>
                  <a:lnTo>
                    <a:pt x="3929" y="250"/>
                  </a:lnTo>
                  <a:lnTo>
                    <a:pt x="3954" y="241"/>
                  </a:lnTo>
                  <a:lnTo>
                    <a:pt x="3976" y="233"/>
                  </a:lnTo>
                  <a:lnTo>
                    <a:pt x="3997" y="224"/>
                  </a:lnTo>
                  <a:lnTo>
                    <a:pt x="4016" y="213"/>
                  </a:lnTo>
                  <a:lnTo>
                    <a:pt x="4031" y="202"/>
                  </a:lnTo>
                  <a:lnTo>
                    <a:pt x="4045" y="189"/>
                  </a:lnTo>
                  <a:lnTo>
                    <a:pt x="4055" y="177"/>
                  </a:lnTo>
                  <a:lnTo>
                    <a:pt x="4059" y="170"/>
                  </a:lnTo>
                  <a:lnTo>
                    <a:pt x="4062" y="164"/>
                  </a:lnTo>
                  <a:lnTo>
                    <a:pt x="4065" y="157"/>
                  </a:lnTo>
                  <a:lnTo>
                    <a:pt x="4068" y="151"/>
                  </a:lnTo>
                  <a:lnTo>
                    <a:pt x="4069" y="143"/>
                  </a:lnTo>
                  <a:lnTo>
                    <a:pt x="4070" y="136"/>
                  </a:lnTo>
                  <a:lnTo>
                    <a:pt x="4070" y="136"/>
                  </a:lnTo>
                  <a:lnTo>
                    <a:pt x="4069" y="130"/>
                  </a:lnTo>
                  <a:lnTo>
                    <a:pt x="4068" y="122"/>
                  </a:lnTo>
                  <a:lnTo>
                    <a:pt x="4065" y="115"/>
                  </a:lnTo>
                  <a:lnTo>
                    <a:pt x="4062" y="109"/>
                  </a:lnTo>
                  <a:lnTo>
                    <a:pt x="4059" y="103"/>
                  </a:lnTo>
                  <a:lnTo>
                    <a:pt x="4055" y="95"/>
                  </a:lnTo>
                  <a:lnTo>
                    <a:pt x="4045" y="83"/>
                  </a:lnTo>
                  <a:lnTo>
                    <a:pt x="4031" y="71"/>
                  </a:lnTo>
                  <a:lnTo>
                    <a:pt x="4016" y="60"/>
                  </a:lnTo>
                  <a:lnTo>
                    <a:pt x="3997" y="50"/>
                  </a:lnTo>
                  <a:lnTo>
                    <a:pt x="3976" y="40"/>
                  </a:lnTo>
                  <a:lnTo>
                    <a:pt x="3954" y="31"/>
                  </a:lnTo>
                  <a:lnTo>
                    <a:pt x="3929" y="23"/>
                  </a:lnTo>
                  <a:lnTo>
                    <a:pt x="3903" y="16"/>
                  </a:lnTo>
                  <a:lnTo>
                    <a:pt x="3875" y="11"/>
                  </a:lnTo>
                  <a:lnTo>
                    <a:pt x="3846" y="6"/>
                  </a:lnTo>
                  <a:lnTo>
                    <a:pt x="3816" y="3"/>
                  </a:lnTo>
                  <a:lnTo>
                    <a:pt x="3784" y="1"/>
                  </a:lnTo>
                  <a:lnTo>
                    <a:pt x="3751" y="0"/>
                  </a:lnTo>
                  <a:lnTo>
                    <a:pt x="3751" y="0"/>
                  </a:lnTo>
                  <a:lnTo>
                    <a:pt x="3719" y="1"/>
                  </a:lnTo>
                  <a:lnTo>
                    <a:pt x="3688" y="3"/>
                  </a:lnTo>
                  <a:lnTo>
                    <a:pt x="3657" y="6"/>
                  </a:lnTo>
                  <a:lnTo>
                    <a:pt x="3628" y="11"/>
                  </a:lnTo>
                  <a:lnTo>
                    <a:pt x="3601" y="16"/>
                  </a:lnTo>
                  <a:lnTo>
                    <a:pt x="3574" y="23"/>
                  </a:lnTo>
                  <a:lnTo>
                    <a:pt x="3550" y="31"/>
                  </a:lnTo>
                  <a:lnTo>
                    <a:pt x="3527" y="40"/>
                  </a:lnTo>
                  <a:lnTo>
                    <a:pt x="3506" y="50"/>
                  </a:lnTo>
                  <a:lnTo>
                    <a:pt x="3488" y="60"/>
                  </a:lnTo>
                  <a:lnTo>
                    <a:pt x="3472" y="71"/>
                  </a:lnTo>
                  <a:lnTo>
                    <a:pt x="3459" y="83"/>
                  </a:lnTo>
                  <a:lnTo>
                    <a:pt x="3448" y="95"/>
                  </a:lnTo>
                  <a:lnTo>
                    <a:pt x="3444" y="103"/>
                  </a:lnTo>
                  <a:lnTo>
                    <a:pt x="3441" y="109"/>
                  </a:lnTo>
                  <a:lnTo>
                    <a:pt x="3438" y="115"/>
                  </a:lnTo>
                  <a:lnTo>
                    <a:pt x="3435" y="122"/>
                  </a:lnTo>
                  <a:lnTo>
                    <a:pt x="3434" y="130"/>
                  </a:lnTo>
                  <a:lnTo>
                    <a:pt x="3434" y="136"/>
                  </a:lnTo>
                  <a:lnTo>
                    <a:pt x="3434" y="136"/>
                  </a:lnTo>
                  <a:close/>
                </a:path>
              </a:pathLst>
            </a:custGeom>
            <a:solidFill>
              <a:srgbClr val="F15A29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425" name="Freeform 83"/>
            <p:cNvSpPr>
              <a:spLocks/>
            </p:cNvSpPr>
            <p:nvPr/>
          </p:nvSpPr>
          <p:spPr bwMode="auto">
            <a:xfrm flipH="1">
              <a:off x="6474731" y="2848002"/>
              <a:ext cx="1381686" cy="261854"/>
            </a:xfrm>
            <a:custGeom>
              <a:avLst/>
              <a:gdLst>
                <a:gd name="T0" fmla="*/ 1 w 7498"/>
                <a:gd name="T1" fmla="*/ 15 h 1827"/>
                <a:gd name="T2" fmla="*/ 14 w 7498"/>
                <a:gd name="T3" fmla="*/ 65 h 1827"/>
                <a:gd name="T4" fmla="*/ 32 w 7498"/>
                <a:gd name="T5" fmla="*/ 101 h 1827"/>
                <a:gd name="T6" fmla="*/ 60 w 7498"/>
                <a:gd name="T7" fmla="*/ 136 h 1827"/>
                <a:gd name="T8" fmla="*/ 102 w 7498"/>
                <a:gd name="T9" fmla="*/ 166 h 1827"/>
                <a:gd name="T10" fmla="*/ 273 w 7498"/>
                <a:gd name="T11" fmla="*/ 248 h 1827"/>
                <a:gd name="T12" fmla="*/ 3325 w 7498"/>
                <a:gd name="T13" fmla="*/ 1690 h 1827"/>
                <a:gd name="T14" fmla="*/ 3358 w 7498"/>
                <a:gd name="T15" fmla="*/ 1703 h 1827"/>
                <a:gd name="T16" fmla="*/ 3449 w 7498"/>
                <a:gd name="T17" fmla="*/ 1730 h 1827"/>
                <a:gd name="T18" fmla="*/ 3547 w 7498"/>
                <a:gd name="T19" fmla="*/ 1751 h 1827"/>
                <a:gd name="T20" fmla="*/ 3663 w 7498"/>
                <a:gd name="T21" fmla="*/ 1766 h 1827"/>
                <a:gd name="T22" fmla="*/ 3749 w 7498"/>
                <a:gd name="T23" fmla="*/ 1770 h 1827"/>
                <a:gd name="T24" fmla="*/ 3876 w 7498"/>
                <a:gd name="T25" fmla="*/ 1762 h 1827"/>
                <a:gd name="T26" fmla="*/ 3987 w 7498"/>
                <a:gd name="T27" fmla="*/ 1745 h 1827"/>
                <a:gd name="T28" fmla="*/ 4077 w 7498"/>
                <a:gd name="T29" fmla="*/ 1723 h 1827"/>
                <a:gd name="T30" fmla="*/ 4165 w 7498"/>
                <a:gd name="T31" fmla="*/ 1693 h 1827"/>
                <a:gd name="T32" fmla="*/ 5743 w 7498"/>
                <a:gd name="T33" fmla="*/ 951 h 1827"/>
                <a:gd name="T34" fmla="*/ 7342 w 7498"/>
                <a:gd name="T35" fmla="*/ 193 h 1827"/>
                <a:gd name="T36" fmla="*/ 7412 w 7498"/>
                <a:gd name="T37" fmla="*/ 157 h 1827"/>
                <a:gd name="T38" fmla="*/ 7449 w 7498"/>
                <a:gd name="T39" fmla="*/ 124 h 1827"/>
                <a:gd name="T40" fmla="*/ 7474 w 7498"/>
                <a:gd name="T41" fmla="*/ 89 h 1827"/>
                <a:gd name="T42" fmla="*/ 7489 w 7498"/>
                <a:gd name="T43" fmla="*/ 53 h 1827"/>
                <a:gd name="T44" fmla="*/ 7498 w 7498"/>
                <a:gd name="T45" fmla="*/ 0 h 1827"/>
                <a:gd name="T46" fmla="*/ 7498 w 7498"/>
                <a:gd name="T47" fmla="*/ 46 h 1827"/>
                <a:gd name="T48" fmla="*/ 7495 w 7498"/>
                <a:gd name="T49" fmla="*/ 87 h 1827"/>
                <a:gd name="T50" fmla="*/ 7484 w 7498"/>
                <a:gd name="T51" fmla="*/ 126 h 1827"/>
                <a:gd name="T52" fmla="*/ 7459 w 7498"/>
                <a:gd name="T53" fmla="*/ 171 h 1827"/>
                <a:gd name="T54" fmla="*/ 7415 w 7498"/>
                <a:gd name="T55" fmla="*/ 212 h 1827"/>
                <a:gd name="T56" fmla="*/ 7396 w 7498"/>
                <a:gd name="T57" fmla="*/ 223 h 1827"/>
                <a:gd name="T58" fmla="*/ 6846 w 7498"/>
                <a:gd name="T59" fmla="*/ 487 h 1827"/>
                <a:gd name="T60" fmla="*/ 4173 w 7498"/>
                <a:gd name="T61" fmla="*/ 1748 h 1827"/>
                <a:gd name="T62" fmla="*/ 4102 w 7498"/>
                <a:gd name="T63" fmla="*/ 1773 h 1827"/>
                <a:gd name="T64" fmla="*/ 4020 w 7498"/>
                <a:gd name="T65" fmla="*/ 1795 h 1827"/>
                <a:gd name="T66" fmla="*/ 3915 w 7498"/>
                <a:gd name="T67" fmla="*/ 1814 h 1827"/>
                <a:gd name="T68" fmla="*/ 3793 w 7498"/>
                <a:gd name="T69" fmla="*/ 1826 h 1827"/>
                <a:gd name="T70" fmla="*/ 3706 w 7498"/>
                <a:gd name="T71" fmla="*/ 1826 h 1827"/>
                <a:gd name="T72" fmla="*/ 3584 w 7498"/>
                <a:gd name="T73" fmla="*/ 1814 h 1827"/>
                <a:gd name="T74" fmla="*/ 3479 w 7498"/>
                <a:gd name="T75" fmla="*/ 1795 h 1827"/>
                <a:gd name="T76" fmla="*/ 3397 w 7498"/>
                <a:gd name="T77" fmla="*/ 1773 h 1827"/>
                <a:gd name="T78" fmla="*/ 3325 w 7498"/>
                <a:gd name="T79" fmla="*/ 1748 h 1827"/>
                <a:gd name="T80" fmla="*/ 652 w 7498"/>
                <a:gd name="T81" fmla="*/ 487 h 1827"/>
                <a:gd name="T82" fmla="*/ 102 w 7498"/>
                <a:gd name="T83" fmla="*/ 223 h 1827"/>
                <a:gd name="T84" fmla="*/ 84 w 7498"/>
                <a:gd name="T85" fmla="*/ 212 h 1827"/>
                <a:gd name="T86" fmla="*/ 40 w 7498"/>
                <a:gd name="T87" fmla="*/ 171 h 1827"/>
                <a:gd name="T88" fmla="*/ 15 w 7498"/>
                <a:gd name="T89" fmla="*/ 126 h 1827"/>
                <a:gd name="T90" fmla="*/ 3 w 7498"/>
                <a:gd name="T91" fmla="*/ 87 h 1827"/>
                <a:gd name="T92" fmla="*/ 0 w 7498"/>
                <a:gd name="T93" fmla="*/ 46 h 1827"/>
                <a:gd name="T94" fmla="*/ 0 w 7498"/>
                <a:gd name="T95" fmla="*/ 0 h 1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498" h="1827">
                  <a:moveTo>
                    <a:pt x="0" y="0"/>
                  </a:moveTo>
                  <a:lnTo>
                    <a:pt x="0" y="0"/>
                  </a:lnTo>
                  <a:lnTo>
                    <a:pt x="1" y="15"/>
                  </a:lnTo>
                  <a:lnTo>
                    <a:pt x="5" y="33"/>
                  </a:lnTo>
                  <a:lnTo>
                    <a:pt x="10" y="53"/>
                  </a:lnTo>
                  <a:lnTo>
                    <a:pt x="14" y="65"/>
                  </a:lnTo>
                  <a:lnTo>
                    <a:pt x="18" y="77"/>
                  </a:lnTo>
                  <a:lnTo>
                    <a:pt x="24" y="89"/>
                  </a:lnTo>
                  <a:lnTo>
                    <a:pt x="32" y="101"/>
                  </a:lnTo>
                  <a:lnTo>
                    <a:pt x="39" y="113"/>
                  </a:lnTo>
                  <a:lnTo>
                    <a:pt x="49" y="124"/>
                  </a:lnTo>
                  <a:lnTo>
                    <a:pt x="60" y="136"/>
                  </a:lnTo>
                  <a:lnTo>
                    <a:pt x="72" y="147"/>
                  </a:lnTo>
                  <a:lnTo>
                    <a:pt x="87" y="157"/>
                  </a:lnTo>
                  <a:lnTo>
                    <a:pt x="102" y="166"/>
                  </a:lnTo>
                  <a:lnTo>
                    <a:pt x="102" y="166"/>
                  </a:lnTo>
                  <a:lnTo>
                    <a:pt x="156" y="193"/>
                  </a:lnTo>
                  <a:lnTo>
                    <a:pt x="273" y="248"/>
                  </a:lnTo>
                  <a:lnTo>
                    <a:pt x="652" y="430"/>
                  </a:lnTo>
                  <a:lnTo>
                    <a:pt x="1755" y="951"/>
                  </a:lnTo>
                  <a:lnTo>
                    <a:pt x="3325" y="1690"/>
                  </a:lnTo>
                  <a:lnTo>
                    <a:pt x="3325" y="1690"/>
                  </a:lnTo>
                  <a:lnTo>
                    <a:pt x="3333" y="1693"/>
                  </a:lnTo>
                  <a:lnTo>
                    <a:pt x="3358" y="1703"/>
                  </a:lnTo>
                  <a:lnTo>
                    <a:pt x="3397" y="1715"/>
                  </a:lnTo>
                  <a:lnTo>
                    <a:pt x="3422" y="1723"/>
                  </a:lnTo>
                  <a:lnTo>
                    <a:pt x="3449" y="1730"/>
                  </a:lnTo>
                  <a:lnTo>
                    <a:pt x="3479" y="1737"/>
                  </a:lnTo>
                  <a:lnTo>
                    <a:pt x="3511" y="1745"/>
                  </a:lnTo>
                  <a:lnTo>
                    <a:pt x="3547" y="1751"/>
                  </a:lnTo>
                  <a:lnTo>
                    <a:pt x="3584" y="1757"/>
                  </a:lnTo>
                  <a:lnTo>
                    <a:pt x="3622" y="1762"/>
                  </a:lnTo>
                  <a:lnTo>
                    <a:pt x="3663" y="1766"/>
                  </a:lnTo>
                  <a:lnTo>
                    <a:pt x="3706" y="1769"/>
                  </a:lnTo>
                  <a:lnTo>
                    <a:pt x="3749" y="1770"/>
                  </a:lnTo>
                  <a:lnTo>
                    <a:pt x="3749" y="1770"/>
                  </a:lnTo>
                  <a:lnTo>
                    <a:pt x="3793" y="1769"/>
                  </a:lnTo>
                  <a:lnTo>
                    <a:pt x="3836" y="1766"/>
                  </a:lnTo>
                  <a:lnTo>
                    <a:pt x="3876" y="1762"/>
                  </a:lnTo>
                  <a:lnTo>
                    <a:pt x="3915" y="1757"/>
                  </a:lnTo>
                  <a:lnTo>
                    <a:pt x="3952" y="1751"/>
                  </a:lnTo>
                  <a:lnTo>
                    <a:pt x="3987" y="1745"/>
                  </a:lnTo>
                  <a:lnTo>
                    <a:pt x="4020" y="1737"/>
                  </a:lnTo>
                  <a:lnTo>
                    <a:pt x="4050" y="1730"/>
                  </a:lnTo>
                  <a:lnTo>
                    <a:pt x="4077" y="1723"/>
                  </a:lnTo>
                  <a:lnTo>
                    <a:pt x="4102" y="1715"/>
                  </a:lnTo>
                  <a:lnTo>
                    <a:pt x="4140" y="1703"/>
                  </a:lnTo>
                  <a:lnTo>
                    <a:pt x="4165" y="1693"/>
                  </a:lnTo>
                  <a:lnTo>
                    <a:pt x="4173" y="1690"/>
                  </a:lnTo>
                  <a:lnTo>
                    <a:pt x="4173" y="1690"/>
                  </a:lnTo>
                  <a:lnTo>
                    <a:pt x="5743" y="951"/>
                  </a:lnTo>
                  <a:lnTo>
                    <a:pt x="6846" y="430"/>
                  </a:lnTo>
                  <a:lnTo>
                    <a:pt x="7226" y="248"/>
                  </a:lnTo>
                  <a:lnTo>
                    <a:pt x="7342" y="193"/>
                  </a:lnTo>
                  <a:lnTo>
                    <a:pt x="7396" y="166"/>
                  </a:lnTo>
                  <a:lnTo>
                    <a:pt x="7396" y="166"/>
                  </a:lnTo>
                  <a:lnTo>
                    <a:pt x="7412" y="157"/>
                  </a:lnTo>
                  <a:lnTo>
                    <a:pt x="7427" y="146"/>
                  </a:lnTo>
                  <a:lnTo>
                    <a:pt x="7439" y="136"/>
                  </a:lnTo>
                  <a:lnTo>
                    <a:pt x="7449" y="124"/>
                  </a:lnTo>
                  <a:lnTo>
                    <a:pt x="7459" y="113"/>
                  </a:lnTo>
                  <a:lnTo>
                    <a:pt x="7467" y="101"/>
                  </a:lnTo>
                  <a:lnTo>
                    <a:pt x="7474" y="89"/>
                  </a:lnTo>
                  <a:lnTo>
                    <a:pt x="7481" y="77"/>
                  </a:lnTo>
                  <a:lnTo>
                    <a:pt x="7485" y="65"/>
                  </a:lnTo>
                  <a:lnTo>
                    <a:pt x="7489" y="53"/>
                  </a:lnTo>
                  <a:lnTo>
                    <a:pt x="7494" y="33"/>
                  </a:lnTo>
                  <a:lnTo>
                    <a:pt x="7497" y="15"/>
                  </a:lnTo>
                  <a:lnTo>
                    <a:pt x="7498" y="0"/>
                  </a:lnTo>
                  <a:lnTo>
                    <a:pt x="7498" y="0"/>
                  </a:lnTo>
                  <a:lnTo>
                    <a:pt x="7498" y="46"/>
                  </a:lnTo>
                  <a:lnTo>
                    <a:pt x="7498" y="46"/>
                  </a:lnTo>
                  <a:lnTo>
                    <a:pt x="7498" y="51"/>
                  </a:lnTo>
                  <a:lnTo>
                    <a:pt x="7498" y="66"/>
                  </a:lnTo>
                  <a:lnTo>
                    <a:pt x="7495" y="87"/>
                  </a:lnTo>
                  <a:lnTo>
                    <a:pt x="7492" y="99"/>
                  </a:lnTo>
                  <a:lnTo>
                    <a:pt x="7489" y="113"/>
                  </a:lnTo>
                  <a:lnTo>
                    <a:pt x="7484" y="126"/>
                  </a:lnTo>
                  <a:lnTo>
                    <a:pt x="7476" y="141"/>
                  </a:lnTo>
                  <a:lnTo>
                    <a:pt x="7469" y="157"/>
                  </a:lnTo>
                  <a:lnTo>
                    <a:pt x="7459" y="171"/>
                  </a:lnTo>
                  <a:lnTo>
                    <a:pt x="7446" y="185"/>
                  </a:lnTo>
                  <a:lnTo>
                    <a:pt x="7432" y="199"/>
                  </a:lnTo>
                  <a:lnTo>
                    <a:pt x="7415" y="212"/>
                  </a:lnTo>
                  <a:lnTo>
                    <a:pt x="7406" y="218"/>
                  </a:lnTo>
                  <a:lnTo>
                    <a:pt x="7396" y="223"/>
                  </a:lnTo>
                  <a:lnTo>
                    <a:pt x="7396" y="223"/>
                  </a:lnTo>
                  <a:lnTo>
                    <a:pt x="7342" y="250"/>
                  </a:lnTo>
                  <a:lnTo>
                    <a:pt x="7226" y="306"/>
                  </a:lnTo>
                  <a:lnTo>
                    <a:pt x="6846" y="487"/>
                  </a:lnTo>
                  <a:lnTo>
                    <a:pt x="5743" y="1008"/>
                  </a:lnTo>
                  <a:lnTo>
                    <a:pt x="4173" y="1748"/>
                  </a:lnTo>
                  <a:lnTo>
                    <a:pt x="4173" y="1748"/>
                  </a:lnTo>
                  <a:lnTo>
                    <a:pt x="4165" y="1751"/>
                  </a:lnTo>
                  <a:lnTo>
                    <a:pt x="4140" y="1760"/>
                  </a:lnTo>
                  <a:lnTo>
                    <a:pt x="4102" y="1773"/>
                  </a:lnTo>
                  <a:lnTo>
                    <a:pt x="4077" y="1780"/>
                  </a:lnTo>
                  <a:lnTo>
                    <a:pt x="4050" y="1787"/>
                  </a:lnTo>
                  <a:lnTo>
                    <a:pt x="4020" y="1795"/>
                  </a:lnTo>
                  <a:lnTo>
                    <a:pt x="3987" y="1802"/>
                  </a:lnTo>
                  <a:lnTo>
                    <a:pt x="3952" y="1808"/>
                  </a:lnTo>
                  <a:lnTo>
                    <a:pt x="3915" y="1814"/>
                  </a:lnTo>
                  <a:lnTo>
                    <a:pt x="3876" y="1820"/>
                  </a:lnTo>
                  <a:lnTo>
                    <a:pt x="3836" y="1823"/>
                  </a:lnTo>
                  <a:lnTo>
                    <a:pt x="3793" y="1826"/>
                  </a:lnTo>
                  <a:lnTo>
                    <a:pt x="3749" y="1827"/>
                  </a:lnTo>
                  <a:lnTo>
                    <a:pt x="3749" y="1827"/>
                  </a:lnTo>
                  <a:lnTo>
                    <a:pt x="3706" y="1826"/>
                  </a:lnTo>
                  <a:lnTo>
                    <a:pt x="3663" y="1823"/>
                  </a:lnTo>
                  <a:lnTo>
                    <a:pt x="3622" y="1820"/>
                  </a:lnTo>
                  <a:lnTo>
                    <a:pt x="3584" y="1814"/>
                  </a:lnTo>
                  <a:lnTo>
                    <a:pt x="3547" y="1808"/>
                  </a:lnTo>
                  <a:lnTo>
                    <a:pt x="3511" y="1802"/>
                  </a:lnTo>
                  <a:lnTo>
                    <a:pt x="3479" y="1795"/>
                  </a:lnTo>
                  <a:lnTo>
                    <a:pt x="3449" y="1787"/>
                  </a:lnTo>
                  <a:lnTo>
                    <a:pt x="3422" y="1780"/>
                  </a:lnTo>
                  <a:lnTo>
                    <a:pt x="3397" y="1773"/>
                  </a:lnTo>
                  <a:lnTo>
                    <a:pt x="3358" y="1760"/>
                  </a:lnTo>
                  <a:lnTo>
                    <a:pt x="3333" y="1751"/>
                  </a:lnTo>
                  <a:lnTo>
                    <a:pt x="3325" y="1748"/>
                  </a:lnTo>
                  <a:lnTo>
                    <a:pt x="3325" y="1748"/>
                  </a:lnTo>
                  <a:lnTo>
                    <a:pt x="1755" y="1008"/>
                  </a:lnTo>
                  <a:lnTo>
                    <a:pt x="652" y="487"/>
                  </a:lnTo>
                  <a:lnTo>
                    <a:pt x="273" y="306"/>
                  </a:lnTo>
                  <a:lnTo>
                    <a:pt x="156" y="250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93" y="218"/>
                  </a:lnTo>
                  <a:lnTo>
                    <a:pt x="84" y="212"/>
                  </a:lnTo>
                  <a:lnTo>
                    <a:pt x="67" y="199"/>
                  </a:lnTo>
                  <a:lnTo>
                    <a:pt x="52" y="185"/>
                  </a:lnTo>
                  <a:lnTo>
                    <a:pt x="40" y="171"/>
                  </a:lnTo>
                  <a:lnTo>
                    <a:pt x="29" y="157"/>
                  </a:lnTo>
                  <a:lnTo>
                    <a:pt x="21" y="141"/>
                  </a:lnTo>
                  <a:lnTo>
                    <a:pt x="15" y="126"/>
                  </a:lnTo>
                  <a:lnTo>
                    <a:pt x="10" y="113"/>
                  </a:lnTo>
                  <a:lnTo>
                    <a:pt x="7" y="99"/>
                  </a:lnTo>
                  <a:lnTo>
                    <a:pt x="3" y="87"/>
                  </a:lnTo>
                  <a:lnTo>
                    <a:pt x="0" y="66"/>
                  </a:lnTo>
                  <a:lnTo>
                    <a:pt x="0" y="51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426" name="Rectangle 425"/>
          <p:cNvSpPr/>
          <p:nvPr/>
        </p:nvSpPr>
        <p:spPr>
          <a:xfrm>
            <a:off x="737051" y="3719765"/>
            <a:ext cx="18806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Lack of </a:t>
            </a:r>
            <a:r>
              <a:rPr lang="en-US" sz="2000" b="1" dirty="0" smtClean="0">
                <a:solidFill>
                  <a:schemeClr val="tx2"/>
                </a:solidFill>
              </a:rPr>
              <a:t>Awareness</a:t>
            </a: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427" name="Rectangle 426"/>
          <p:cNvSpPr/>
          <p:nvPr/>
        </p:nvSpPr>
        <p:spPr>
          <a:xfrm>
            <a:off x="4073268" y="5243567"/>
            <a:ext cx="18806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Many With Minor Need</a:t>
            </a:r>
          </a:p>
        </p:txBody>
      </p:sp>
      <p:sp>
        <p:nvSpPr>
          <p:cNvPr id="428" name="Rectangle 427"/>
          <p:cNvSpPr/>
          <p:nvPr/>
        </p:nvSpPr>
        <p:spPr>
          <a:xfrm>
            <a:off x="3022286" y="3265663"/>
            <a:ext cx="158212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Varying Needs</a:t>
            </a:r>
          </a:p>
        </p:txBody>
      </p:sp>
      <p:sp>
        <p:nvSpPr>
          <p:cNvPr id="429" name="Rectangle 428"/>
          <p:cNvSpPr/>
          <p:nvPr/>
        </p:nvSpPr>
        <p:spPr>
          <a:xfrm>
            <a:off x="4706490" y="4102768"/>
            <a:ext cx="18806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</a:rPr>
              <a:t>Lack of</a:t>
            </a:r>
          </a:p>
          <a:p>
            <a:pPr algn="ctr"/>
            <a:r>
              <a:rPr lang="en-US" sz="2000" b="1" dirty="0" smtClean="0">
                <a:solidFill>
                  <a:schemeClr val="tx2"/>
                </a:solidFill>
              </a:rPr>
              <a:t>Tech Skills</a:t>
            </a: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430" name="Rectangle 429"/>
          <p:cNvSpPr/>
          <p:nvPr/>
        </p:nvSpPr>
        <p:spPr>
          <a:xfrm>
            <a:off x="4248018" y="1959275"/>
            <a:ext cx="18806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Need For Training</a:t>
            </a:r>
          </a:p>
        </p:txBody>
      </p:sp>
      <p:sp>
        <p:nvSpPr>
          <p:cNvPr id="431" name="Rectangle 430"/>
          <p:cNvSpPr/>
          <p:nvPr/>
        </p:nvSpPr>
        <p:spPr>
          <a:xfrm>
            <a:off x="5929473" y="3203931"/>
            <a:ext cx="188069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</a:rPr>
              <a:t>Cost</a:t>
            </a: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432" name="Rectangle 431"/>
          <p:cNvSpPr/>
          <p:nvPr/>
        </p:nvSpPr>
        <p:spPr>
          <a:xfrm>
            <a:off x="7435140" y="2288864"/>
            <a:ext cx="18806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Web Performance</a:t>
            </a:r>
          </a:p>
        </p:txBody>
      </p:sp>
      <p:sp>
        <p:nvSpPr>
          <p:cNvPr id="433" name="Rectangle 432"/>
          <p:cNvSpPr/>
          <p:nvPr/>
        </p:nvSpPr>
        <p:spPr>
          <a:xfrm>
            <a:off x="5726030" y="1194302"/>
            <a:ext cx="18806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2"/>
                </a:solidFill>
              </a:rPr>
              <a:t>AT Feature Bloat</a:t>
            </a:r>
          </a:p>
        </p:txBody>
      </p:sp>
    </p:spTree>
    <p:extLst>
      <p:ext uri="{BB962C8B-B14F-4D97-AF65-F5344CB8AC3E}">
        <p14:creationId xmlns:p14="http://schemas.microsoft.com/office/powerpoint/2010/main" val="1846761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60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0"/>
                            </p:stCondLst>
                            <p:childTnLst>
                              <p:par>
                                <p:cTn id="25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0"/>
                            </p:stCondLst>
                            <p:childTnLst>
                              <p:par>
                                <p:cTn id="28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20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4000"/>
                            </p:stCondLst>
                            <p:childTnLst>
                              <p:par>
                                <p:cTn id="34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6000"/>
                            </p:stCondLst>
                            <p:childTnLst>
                              <p:par>
                                <p:cTn id="37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8000"/>
                            </p:stCondLst>
                            <p:childTnLst>
                              <p:par>
                                <p:cTn id="40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0000"/>
                            </p:stCondLst>
                            <p:childTnLst>
                              <p:par>
                                <p:cTn id="43" presetID="1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2000"/>
                            </p:stCondLst>
                            <p:childTnLst>
                              <p:par>
                                <p:cTn id="46" presetID="1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6" grpId="0"/>
      <p:bldP spid="427" grpId="0"/>
      <p:bldP spid="428" grpId="0"/>
      <p:bldP spid="429" grpId="0"/>
      <p:bldP spid="430" grpId="0"/>
      <p:bldP spid="431" grpId="0"/>
      <p:bldP spid="432" grpId="0"/>
      <p:bldP spid="43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0" y="6396335"/>
            <a:ext cx="9158431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>
            <a:spAutoFit/>
          </a:bodyPr>
          <a:lstStyle/>
          <a:p>
            <a:pPr marL="344488" algn="ctr"/>
            <a:r>
              <a:rPr lang="en-US" sz="2400" dirty="0" smtClean="0">
                <a:solidFill>
                  <a:prstClr val="white"/>
                </a:solidFill>
              </a:rPr>
              <a:t>It is critical to understand how needs vary</a:t>
            </a: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6" name="Rectangle 31"/>
          <p:cNvSpPr>
            <a:spLocks noChangeArrowheads="1"/>
          </p:cNvSpPr>
          <p:nvPr/>
        </p:nvSpPr>
        <p:spPr bwMode="auto">
          <a:xfrm>
            <a:off x="4307195" y="1836725"/>
            <a:ext cx="560388" cy="362347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wrap="square" anchor="ctr"/>
          <a:lstStyle/>
          <a:p>
            <a:pPr marL="169863" indent="-169863"/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" name="Text Box 32"/>
          <p:cNvSpPr txBox="1">
            <a:spLocks noChangeArrowheads="1"/>
          </p:cNvSpPr>
          <p:nvPr/>
        </p:nvSpPr>
        <p:spPr bwMode="auto">
          <a:xfrm>
            <a:off x="803584" y="1836725"/>
            <a:ext cx="1595778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1" name="Rectangle 34"/>
          <p:cNvSpPr>
            <a:spLocks noChangeArrowheads="1"/>
          </p:cNvSpPr>
          <p:nvPr/>
        </p:nvSpPr>
        <p:spPr bwMode="auto">
          <a:xfrm>
            <a:off x="803583" y="1441434"/>
            <a:ext cx="3503613" cy="395288"/>
          </a:xfrm>
          <a:prstGeom prst="round2SameRect">
            <a:avLst/>
          </a:prstGeom>
          <a:solidFill>
            <a:srgbClr val="245FA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655" tIns="0" rIns="95655" bIns="46988" anchor="ctr"/>
          <a:lstStyle/>
          <a:p>
            <a:pPr algn="ctr" defTabSz="966788"/>
            <a:r>
              <a:rPr lang="en-US" sz="1700" dirty="0" smtClean="0">
                <a:solidFill>
                  <a:srgbClr val="FFFFFF"/>
                </a:solidFill>
              </a:rPr>
              <a:t>Populations with Online Challenges</a:t>
            </a:r>
          </a:p>
        </p:txBody>
      </p:sp>
      <p:sp>
        <p:nvSpPr>
          <p:cNvPr id="35" name="AutoShape 42"/>
          <p:cNvSpPr>
            <a:spLocks noChangeArrowheads="1"/>
          </p:cNvSpPr>
          <p:nvPr/>
        </p:nvSpPr>
        <p:spPr bwMode="auto">
          <a:xfrm rot="5400000">
            <a:off x="4329420" y="2063734"/>
            <a:ext cx="534988" cy="209550"/>
          </a:xfrm>
          <a:prstGeom prst="triangle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90488" tIns="44450" rIns="90488" bIns="44450" anchor="ctr"/>
          <a:lstStyle/>
          <a:p>
            <a:pPr algn="ctr" eaLnBrk="0" hangingPunct="0"/>
            <a:endParaRPr lang="en-US" sz="20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38" name="Text Box 32"/>
          <p:cNvSpPr txBox="1">
            <a:spLocks noChangeArrowheads="1"/>
          </p:cNvSpPr>
          <p:nvPr/>
        </p:nvSpPr>
        <p:spPr bwMode="auto">
          <a:xfrm>
            <a:off x="4867585" y="1836725"/>
            <a:ext cx="3503613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r>
              <a:rPr lang="en-US" dirty="0" smtClean="0">
                <a:solidFill>
                  <a:srgbClr val="000000"/>
                </a:solidFill>
              </a:rPr>
              <a:t>Enlarged text, enlarged mouse, easy panning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9" name="Rectangle 34"/>
          <p:cNvSpPr>
            <a:spLocks noChangeArrowheads="1"/>
          </p:cNvSpPr>
          <p:nvPr/>
        </p:nvSpPr>
        <p:spPr bwMode="auto">
          <a:xfrm>
            <a:off x="4867585" y="1441434"/>
            <a:ext cx="3503613" cy="395288"/>
          </a:xfrm>
          <a:prstGeom prst="round2SameRect">
            <a:avLst/>
          </a:prstGeom>
          <a:solidFill>
            <a:srgbClr val="245FAD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5655" tIns="0" rIns="95655" bIns="46988" anchor="ctr"/>
          <a:lstStyle/>
          <a:p>
            <a:pPr algn="ctr" defTabSz="966788"/>
            <a:r>
              <a:rPr lang="en-US" sz="1700" dirty="0" smtClean="0">
                <a:solidFill>
                  <a:srgbClr val="FFFFFF"/>
                </a:solidFill>
              </a:rPr>
              <a:t>Online Needs</a:t>
            </a:r>
            <a:endParaRPr lang="en-US" sz="1700" dirty="0">
              <a:solidFill>
                <a:srgbClr val="FFFFFF"/>
              </a:solidFill>
            </a:endParaRPr>
          </a:p>
        </p:txBody>
      </p:sp>
      <p:sp>
        <p:nvSpPr>
          <p:cNvPr id="42" name="Text Box 38"/>
          <p:cNvSpPr txBox="1">
            <a:spLocks noChangeArrowheads="1"/>
          </p:cNvSpPr>
          <p:nvPr/>
        </p:nvSpPr>
        <p:spPr bwMode="auto">
          <a:xfrm>
            <a:off x="803584" y="3841735"/>
            <a:ext cx="1595778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43" name="AutoShape 44"/>
          <p:cNvSpPr>
            <a:spLocks noChangeArrowheads="1"/>
          </p:cNvSpPr>
          <p:nvPr/>
        </p:nvSpPr>
        <p:spPr bwMode="auto">
          <a:xfrm rot="5400000">
            <a:off x="4329420" y="4056047"/>
            <a:ext cx="534988" cy="209550"/>
          </a:xfrm>
          <a:prstGeom prst="triangle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90488" tIns="44450" rIns="90488" bIns="44450" anchor="ctr"/>
          <a:lstStyle/>
          <a:p>
            <a:pPr algn="ctr" eaLnBrk="0" hangingPunct="0"/>
            <a:endParaRPr lang="en-US" sz="20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44" name="Text Box 38"/>
          <p:cNvSpPr txBox="1">
            <a:spLocks noChangeArrowheads="1"/>
          </p:cNvSpPr>
          <p:nvPr/>
        </p:nvSpPr>
        <p:spPr bwMode="auto">
          <a:xfrm>
            <a:off x="4867585" y="3841735"/>
            <a:ext cx="3503613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r>
              <a:rPr lang="en-US" dirty="0" smtClean="0">
                <a:solidFill>
                  <a:srgbClr val="000000"/>
                </a:solidFill>
              </a:rPr>
              <a:t>Ability to read text with speech overlay, native language suppor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5" name="Text Box 38"/>
          <p:cNvSpPr txBox="1">
            <a:spLocks noChangeArrowheads="1"/>
          </p:cNvSpPr>
          <p:nvPr/>
        </p:nvSpPr>
        <p:spPr bwMode="auto">
          <a:xfrm>
            <a:off x="803584" y="4510075"/>
            <a:ext cx="1595778" cy="95012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46" name="AutoShape 44"/>
          <p:cNvSpPr>
            <a:spLocks noChangeArrowheads="1"/>
          </p:cNvSpPr>
          <p:nvPr/>
        </p:nvSpPr>
        <p:spPr bwMode="auto">
          <a:xfrm rot="5400000">
            <a:off x="4329420" y="4867260"/>
            <a:ext cx="534988" cy="209550"/>
          </a:xfrm>
          <a:prstGeom prst="triangle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90488" tIns="44450" rIns="90488" bIns="44450" anchor="ctr"/>
          <a:lstStyle/>
          <a:p>
            <a:pPr algn="ctr" eaLnBrk="0" hangingPunct="0"/>
            <a:endParaRPr lang="en-US" sz="20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47" name="Text Box 38"/>
          <p:cNvSpPr txBox="1">
            <a:spLocks noChangeArrowheads="1"/>
          </p:cNvSpPr>
          <p:nvPr/>
        </p:nvSpPr>
        <p:spPr bwMode="auto">
          <a:xfrm>
            <a:off x="4867585" y="4510075"/>
            <a:ext cx="3503613" cy="95012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r>
              <a:rPr lang="en-US" i="1" dirty="0" smtClean="0">
                <a:solidFill>
                  <a:srgbClr val="000000"/>
                </a:solidFill>
              </a:rPr>
              <a:t>All of the above, made easy to learn and use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Text Box 32"/>
          <p:cNvSpPr txBox="1">
            <a:spLocks noChangeArrowheads="1"/>
          </p:cNvSpPr>
          <p:nvPr/>
        </p:nvSpPr>
        <p:spPr bwMode="auto">
          <a:xfrm>
            <a:off x="2399362" y="1836725"/>
            <a:ext cx="1907832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31520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r>
              <a:rPr lang="en-US" sz="1050" dirty="0" smtClean="0">
                <a:solidFill>
                  <a:srgbClr val="000000"/>
                </a:solidFill>
              </a:rPr>
              <a:t>Includes blind and non-correctable low vision</a:t>
            </a: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25" name="Text Box 38"/>
          <p:cNvSpPr txBox="1">
            <a:spLocks noChangeArrowheads="1"/>
          </p:cNvSpPr>
          <p:nvPr/>
        </p:nvSpPr>
        <p:spPr bwMode="auto">
          <a:xfrm>
            <a:off x="2399362" y="3841735"/>
            <a:ext cx="1907832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31520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r>
              <a:rPr lang="en-US" sz="1050" dirty="0" smtClean="0">
                <a:solidFill>
                  <a:srgbClr val="000000"/>
                </a:solidFill>
              </a:rPr>
              <a:t>English-as-a-second language (ESL)</a:t>
            </a: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27" name="Text Box 38"/>
          <p:cNvSpPr txBox="1">
            <a:spLocks noChangeArrowheads="1"/>
          </p:cNvSpPr>
          <p:nvPr/>
        </p:nvSpPr>
        <p:spPr bwMode="auto">
          <a:xfrm>
            <a:off x="2399362" y="4510075"/>
            <a:ext cx="1907832" cy="950121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31520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r>
              <a:rPr lang="en-US" sz="1050" dirty="0">
                <a:solidFill>
                  <a:srgbClr val="000000"/>
                </a:solidFill>
              </a:rPr>
              <a:t>I</a:t>
            </a:r>
            <a:r>
              <a:rPr lang="en-US" sz="1050" dirty="0" smtClean="0">
                <a:solidFill>
                  <a:srgbClr val="000000"/>
                </a:solidFill>
              </a:rPr>
              <a:t>ncludes the 50% of seniors with one or more diagnosed disability</a:t>
            </a:r>
            <a:endParaRPr lang="en-US" sz="1050" dirty="0">
              <a:solidFill>
                <a:srgbClr val="000000"/>
              </a:solidFill>
            </a:endParaRPr>
          </a:p>
        </p:txBody>
      </p:sp>
      <p:sp>
        <p:nvSpPr>
          <p:cNvPr id="51" name="Oval 23"/>
          <p:cNvSpPr>
            <a:spLocks noChangeArrowheads="1"/>
          </p:cNvSpPr>
          <p:nvPr/>
        </p:nvSpPr>
        <p:spPr bwMode="auto">
          <a:xfrm>
            <a:off x="2442574" y="1929466"/>
            <a:ext cx="544616" cy="535803"/>
          </a:xfrm>
          <a:prstGeom prst="ellipse">
            <a:avLst/>
          </a:prstGeom>
          <a:solidFill>
            <a:srgbClr val="245FAD"/>
          </a:solidFill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/>
            <a:r>
              <a:rPr lang="en-US" dirty="0" smtClean="0">
                <a:solidFill>
                  <a:srgbClr val="FFFFFF"/>
                </a:solidFill>
              </a:rPr>
              <a:t>9%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340582" y="1919343"/>
            <a:ext cx="10724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LOW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VISION</a:t>
            </a:r>
            <a:endParaRPr lang="en-US" sz="1400" dirty="0">
              <a:solidFill>
                <a:schemeClr val="tx2"/>
              </a:solidFill>
            </a:endParaRPr>
          </a:p>
        </p:txBody>
      </p:sp>
      <p:pic>
        <p:nvPicPr>
          <p:cNvPr id="50" name="Picture 49" descr="Image of an Ey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981" y="1995681"/>
            <a:ext cx="539497" cy="304801"/>
          </a:xfrm>
          <a:prstGeom prst="rect">
            <a:avLst/>
          </a:prstGeom>
        </p:spPr>
      </p:pic>
      <p:pic>
        <p:nvPicPr>
          <p:cNvPr id="56" name="Picture 55" descr="Image of an old man walking&#10;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93" y="4742641"/>
            <a:ext cx="246889" cy="499873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207993" y="4731752"/>
            <a:ext cx="11859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SENIORS </a:t>
            </a:r>
            <a:r>
              <a:rPr lang="en-US" sz="1400" dirty="0">
                <a:solidFill>
                  <a:schemeClr val="tx2"/>
                </a:solidFill>
              </a:rPr>
              <a:t>&amp;</a:t>
            </a:r>
            <a:endParaRPr lang="en-US" sz="1400" dirty="0" smtClean="0">
              <a:solidFill>
                <a:schemeClr val="tx2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BOOMERS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340582" y="3946305"/>
            <a:ext cx="107249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300" dirty="0" smtClean="0">
                <a:solidFill>
                  <a:schemeClr val="tx2"/>
                </a:solidFill>
              </a:rPr>
              <a:t>NON NATIVE</a:t>
            </a:r>
          </a:p>
          <a:p>
            <a:pPr algn="ctr"/>
            <a:r>
              <a:rPr lang="en-US" sz="1300" dirty="0" smtClean="0">
                <a:solidFill>
                  <a:schemeClr val="tx2"/>
                </a:solidFill>
              </a:rPr>
              <a:t>SPEAKERS</a:t>
            </a:r>
            <a:endParaRPr lang="en-US" sz="1300" dirty="0">
              <a:solidFill>
                <a:schemeClr val="tx2"/>
              </a:solidFill>
            </a:endParaRPr>
          </a:p>
        </p:txBody>
      </p:sp>
      <p:pic>
        <p:nvPicPr>
          <p:cNvPr id="4" name="Picture 3" descr="Non native speakers icon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774" y="3975833"/>
            <a:ext cx="493190" cy="419212"/>
          </a:xfrm>
          <a:prstGeom prst="rect">
            <a:avLst/>
          </a:prstGeom>
        </p:spPr>
      </p:pic>
      <p:sp>
        <p:nvSpPr>
          <p:cNvPr id="32" name="Text Box 36"/>
          <p:cNvSpPr txBox="1">
            <a:spLocks noChangeArrowheads="1"/>
          </p:cNvSpPr>
          <p:nvPr/>
        </p:nvSpPr>
        <p:spPr bwMode="auto">
          <a:xfrm>
            <a:off x="803584" y="3176909"/>
            <a:ext cx="1595778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6" name="AutoShape 43"/>
          <p:cNvSpPr>
            <a:spLocks noChangeArrowheads="1"/>
          </p:cNvSpPr>
          <p:nvPr/>
        </p:nvSpPr>
        <p:spPr bwMode="auto">
          <a:xfrm rot="5400000">
            <a:off x="4329420" y="3392806"/>
            <a:ext cx="534988" cy="209550"/>
          </a:xfrm>
          <a:prstGeom prst="triangle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90488" tIns="44450" rIns="90488" bIns="44450" anchor="ctr"/>
          <a:lstStyle/>
          <a:p>
            <a:pPr algn="ctr" eaLnBrk="0" hangingPunct="0"/>
            <a:endParaRPr lang="en-US" sz="12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40" name="Text Box 36"/>
          <p:cNvSpPr txBox="1">
            <a:spLocks noChangeArrowheads="1"/>
          </p:cNvSpPr>
          <p:nvPr/>
        </p:nvSpPr>
        <p:spPr bwMode="auto">
          <a:xfrm>
            <a:off x="4867585" y="3176909"/>
            <a:ext cx="3503613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r>
              <a:rPr lang="en-US" sz="2000" dirty="0" smtClean="0">
                <a:solidFill>
                  <a:srgbClr val="000000"/>
                </a:solidFill>
              </a:rPr>
              <a:t>Page reading, clear navigation cues</a:t>
            </a:r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23" name="Text Box 36"/>
          <p:cNvSpPr txBox="1">
            <a:spLocks noChangeArrowheads="1"/>
          </p:cNvSpPr>
          <p:nvPr/>
        </p:nvSpPr>
        <p:spPr bwMode="auto">
          <a:xfrm>
            <a:off x="2399362" y="3176909"/>
            <a:ext cx="1907832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31520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Individuals reading below 5</a:t>
            </a:r>
            <a:r>
              <a:rPr lang="en-US" sz="1200" baseline="30000" dirty="0" smtClean="0">
                <a:solidFill>
                  <a:srgbClr val="000000"/>
                </a:solidFill>
              </a:rPr>
              <a:t>th</a:t>
            </a:r>
            <a:r>
              <a:rPr lang="en-US" sz="1200" dirty="0" smtClean="0">
                <a:solidFill>
                  <a:srgbClr val="000000"/>
                </a:solidFill>
              </a:rPr>
              <a:t> grade level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58" name="Picture 57" descr="Image of a person readi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273" y="3229826"/>
            <a:ext cx="509017" cy="484633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1331978" y="3249592"/>
            <a:ext cx="1072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LOW</a:t>
            </a:r>
          </a:p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LITERACY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3" name="Oval 23"/>
          <p:cNvSpPr>
            <a:spLocks noChangeArrowheads="1"/>
          </p:cNvSpPr>
          <p:nvPr/>
        </p:nvSpPr>
        <p:spPr bwMode="auto">
          <a:xfrm>
            <a:off x="2442574" y="3239315"/>
            <a:ext cx="544616" cy="535803"/>
          </a:xfrm>
          <a:prstGeom prst="ellipse">
            <a:avLst/>
          </a:prstGeom>
          <a:solidFill>
            <a:srgbClr val="245FAD"/>
          </a:solidFill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21%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3" name="Text Box 38"/>
          <p:cNvSpPr txBox="1">
            <a:spLocks noChangeArrowheads="1"/>
          </p:cNvSpPr>
          <p:nvPr/>
        </p:nvSpPr>
        <p:spPr bwMode="auto">
          <a:xfrm>
            <a:off x="803584" y="2508235"/>
            <a:ext cx="1595778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37" name="AutoShape 44"/>
          <p:cNvSpPr>
            <a:spLocks noChangeArrowheads="1"/>
          </p:cNvSpPr>
          <p:nvPr/>
        </p:nvSpPr>
        <p:spPr bwMode="auto">
          <a:xfrm rot="5400000">
            <a:off x="4329420" y="2722547"/>
            <a:ext cx="534988" cy="209550"/>
          </a:xfrm>
          <a:prstGeom prst="triangle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 w="12700">
            <a:noFill/>
            <a:miter lim="800000"/>
            <a:headEnd/>
            <a:tailEnd/>
          </a:ln>
        </p:spPr>
        <p:txBody>
          <a:bodyPr wrap="square" lIns="90488" tIns="44450" rIns="90488" bIns="44450" anchor="ctr"/>
          <a:lstStyle/>
          <a:p>
            <a:pPr algn="ctr" eaLnBrk="0" hangingPunct="0"/>
            <a:endParaRPr lang="en-US" sz="12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41" name="Text Box 38"/>
          <p:cNvSpPr txBox="1">
            <a:spLocks noChangeArrowheads="1"/>
          </p:cNvSpPr>
          <p:nvPr/>
        </p:nvSpPr>
        <p:spPr bwMode="auto">
          <a:xfrm>
            <a:off x="4867585" y="2508235"/>
            <a:ext cx="3503613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90488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r>
              <a:rPr lang="en-US" dirty="0" smtClean="0">
                <a:solidFill>
                  <a:srgbClr val="000000"/>
                </a:solidFill>
              </a:rPr>
              <a:t>Focus enhancement, dimming of background content 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4" name="Text Box 38"/>
          <p:cNvSpPr txBox="1">
            <a:spLocks noChangeArrowheads="1"/>
          </p:cNvSpPr>
          <p:nvPr/>
        </p:nvSpPr>
        <p:spPr bwMode="auto">
          <a:xfrm>
            <a:off x="2399362" y="2508235"/>
            <a:ext cx="1907832" cy="668338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731520" tIns="44450" rIns="90488" bIns="44450" anchor="ctr"/>
          <a:lstStyle/>
          <a:p>
            <a:pPr>
              <a:spcBef>
                <a:spcPct val="55000"/>
              </a:spcBef>
              <a:spcAft>
                <a:spcPct val="3000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Includes dyslexia, ADHD, autism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60" name="Picture 59" descr="Image of a head with the brain highlighted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121" y="2590459"/>
            <a:ext cx="371857" cy="472441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1340582" y="2590713"/>
            <a:ext cx="1072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LEARNING</a:t>
            </a:r>
          </a:p>
          <a:p>
            <a:pPr algn="ctr"/>
            <a:r>
              <a:rPr lang="en-US" sz="1200" dirty="0" smtClean="0">
                <a:solidFill>
                  <a:schemeClr val="tx2"/>
                </a:solidFill>
              </a:rPr>
              <a:t>DISABILITES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4" name="Oval 23"/>
          <p:cNvSpPr>
            <a:spLocks noChangeArrowheads="1"/>
          </p:cNvSpPr>
          <p:nvPr/>
        </p:nvSpPr>
        <p:spPr bwMode="auto">
          <a:xfrm>
            <a:off x="2442574" y="2562591"/>
            <a:ext cx="544616" cy="535803"/>
          </a:xfrm>
          <a:prstGeom prst="ellipse">
            <a:avLst/>
          </a:prstGeom>
          <a:solidFill>
            <a:srgbClr val="245FAD"/>
          </a:solidFill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15%</a:t>
            </a:r>
          </a:p>
        </p:txBody>
      </p:sp>
      <p:sp>
        <p:nvSpPr>
          <p:cNvPr id="65" name="Oval 23"/>
          <p:cNvSpPr>
            <a:spLocks noChangeArrowheads="1"/>
          </p:cNvSpPr>
          <p:nvPr/>
        </p:nvSpPr>
        <p:spPr bwMode="auto">
          <a:xfrm>
            <a:off x="2442574" y="3902476"/>
            <a:ext cx="544616" cy="535803"/>
          </a:xfrm>
          <a:prstGeom prst="ellipse">
            <a:avLst/>
          </a:prstGeom>
          <a:solidFill>
            <a:srgbClr val="245FAD"/>
          </a:solidFill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5</a:t>
            </a:r>
            <a:r>
              <a:rPr lang="en-US" sz="1600" dirty="0" smtClean="0">
                <a:solidFill>
                  <a:srgbClr val="FFFFFF"/>
                </a:solidFill>
              </a:rPr>
              <a:t>%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66" name="Oval 23"/>
          <p:cNvSpPr>
            <a:spLocks noChangeArrowheads="1"/>
          </p:cNvSpPr>
          <p:nvPr/>
        </p:nvSpPr>
        <p:spPr bwMode="auto">
          <a:xfrm>
            <a:off x="2442574" y="4706032"/>
            <a:ext cx="544616" cy="535803"/>
          </a:xfrm>
          <a:prstGeom prst="ellipse">
            <a:avLst/>
          </a:prstGeom>
          <a:solidFill>
            <a:srgbClr val="245FAD"/>
          </a:solidFill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 wrap="square" lIns="0" tIns="0" rIns="0" bIns="0" anchor="ctr"/>
          <a:lstStyle/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39%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803583" y="5505614"/>
            <a:ext cx="7567615" cy="6463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200" b="1" dirty="0" smtClean="0"/>
              <a:t>All percentages based on US population</a:t>
            </a:r>
          </a:p>
          <a:p>
            <a:r>
              <a:rPr lang="en-US" sz="1200" dirty="0" smtClean="0"/>
              <a:t>Source: US Census, American Community Survey, National Institute of Health, National Adult Literacy Survey, National Health Interview Survey </a:t>
            </a:r>
            <a:endParaRPr lang="en-US" sz="1200" dirty="0"/>
          </a:p>
        </p:txBody>
      </p:sp>
      <p:sp>
        <p:nvSpPr>
          <p:cNvPr id="48" name="Title 3"/>
          <p:cNvSpPr>
            <a:spLocks noGrp="1"/>
          </p:cNvSpPr>
          <p:nvPr>
            <p:ph type="title"/>
          </p:nvPr>
        </p:nvSpPr>
        <p:spPr>
          <a:xfrm>
            <a:off x="457200" y="216911"/>
            <a:ext cx="8229600" cy="1077218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Delivering accessibility is challenging due to the variety of need</a:t>
            </a:r>
          </a:p>
        </p:txBody>
      </p:sp>
    </p:spTree>
    <p:extLst>
      <p:ext uri="{BB962C8B-B14F-4D97-AF65-F5344CB8AC3E}">
        <p14:creationId xmlns:p14="http://schemas.microsoft.com/office/powerpoint/2010/main" val="1846123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 descr="Cause of Vision Loss Visual acuity Field of vision Contrast sensitivity Color vision Glare sensitivity US Population, Age 40+&#10;Age-related Macular Degeneration H  M L  2.1M&#10;Cataracts H  H  H 24.4 M&#10;Diabetic Retinopathy H  H   7.7 M&#10;Glaucoma  H M   2.7 M&#10;Retinitis Pigmentosa  H    &lt;1 M&#10;Cone Dystrophy H   H  &lt;1 M&#10;Achromatopsia H  H H  &lt;1 M&#10;Albinism H  H  H &lt;1 M&#10;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42444335"/>
              </p:ext>
            </p:extLst>
          </p:nvPr>
        </p:nvGraphicFramePr>
        <p:xfrm>
          <a:off x="215978" y="1377559"/>
          <a:ext cx="8688909" cy="43214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1248"/>
                <a:gridCol w="796413"/>
                <a:gridCol w="1002890"/>
                <a:gridCol w="1224116"/>
                <a:gridCol w="811161"/>
                <a:gridCol w="1209368"/>
                <a:gridCol w="1353713"/>
              </a:tblGrid>
              <a:tr h="346679">
                <a:tc>
                  <a:txBody>
                    <a:bodyPr/>
                    <a:lstStyle/>
                    <a:p>
                      <a:pPr algn="l" fontAlgn="b"/>
                      <a:endParaRPr lang="en-US" sz="1900" b="0" i="1" u="sng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18288" marB="18288" anchor="ctr">
                    <a:noFill/>
                  </a:tcPr>
                </a:tc>
                <a:tc gridSpan="6">
                  <a:txBody>
                    <a:bodyPr/>
                    <a:lstStyle/>
                    <a:p>
                      <a:pPr algn="ctr" fontAlgn="b"/>
                      <a:r>
                        <a:rPr lang="en-US" sz="1900" b="1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mpact on Vision</a:t>
                      </a: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2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2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2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20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823710">
                <a:tc>
                  <a:txBody>
                    <a:bodyPr/>
                    <a:lstStyle/>
                    <a:p>
                      <a:pPr algn="l" fontAlgn="b"/>
                      <a:r>
                        <a:rPr lang="en-US" sz="1900" b="1" i="1" u="sng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ause of Vision Loss</a:t>
                      </a:r>
                    </a:p>
                  </a:txBody>
                  <a:tcPr marT="18288" marB="1828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900" b="1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isual acuity</a:t>
                      </a:r>
                    </a:p>
                  </a:txBody>
                  <a:tcPr marT="18288" marB="1828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900" b="1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Field of vision</a:t>
                      </a:r>
                      <a:endParaRPr lang="en-US" sz="1900" b="1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18288" marB="1828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900" b="1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ntrast sensitivity</a:t>
                      </a:r>
                      <a:endParaRPr lang="en-US" sz="1900" b="1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18288" marB="1828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900" b="1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olor vision</a:t>
                      </a:r>
                      <a:endParaRPr lang="en-US" sz="1900" b="1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18288" marB="1828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900" b="1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lare sensitivity</a:t>
                      </a:r>
                    </a:p>
                  </a:txBody>
                  <a:tcPr marT="18288" marB="18288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900" b="1" i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US Population, Age 40+</a:t>
                      </a:r>
                      <a:endParaRPr lang="en-US" sz="1900" b="1" i="1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18288" marB="18288" anchor="ctr">
                    <a:solidFill>
                      <a:schemeClr val="accent1"/>
                    </a:solidFill>
                  </a:tcPr>
                </a:tc>
              </a:tr>
              <a:tr h="590212">
                <a:tc>
                  <a:txBody>
                    <a:bodyPr/>
                    <a:lstStyle/>
                    <a:p>
                      <a:pPr algn="l" fontAlgn="b"/>
                      <a:r>
                        <a:rPr lang="en-US" sz="1900" u="none" strike="noStrike" dirty="0">
                          <a:effectLst/>
                        </a:rPr>
                        <a:t>Age-related Macular Degeneration</a:t>
                      </a:r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18288" marB="18288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M</a:t>
                      </a:r>
                    </a:p>
                  </a:txBody>
                  <a:tcPr marL="9525" marR="9525" marT="18288" marB="18288" anchor="ctr"/>
                </a:tc>
              </a:tr>
              <a:tr h="345641">
                <a:tc>
                  <a:txBody>
                    <a:bodyPr/>
                    <a:lstStyle/>
                    <a:p>
                      <a:pPr algn="l" fontAlgn="b"/>
                      <a:r>
                        <a:rPr lang="en-US" sz="1900" u="none" strike="noStrike" dirty="0" smtClean="0">
                          <a:effectLst/>
                        </a:rPr>
                        <a:t>Cataracts</a:t>
                      </a:r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18288" marB="18288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.4 M</a:t>
                      </a:r>
                    </a:p>
                  </a:txBody>
                  <a:tcPr marL="9525" marR="9525" marT="18288" marB="18288" anchor="ctr"/>
                </a:tc>
              </a:tr>
              <a:tr h="345641">
                <a:tc>
                  <a:txBody>
                    <a:bodyPr/>
                    <a:lstStyle/>
                    <a:p>
                      <a:pPr algn="l" fontAlgn="b"/>
                      <a:r>
                        <a:rPr lang="en-US" sz="1900" u="none" strike="noStrike" dirty="0" smtClean="0">
                          <a:effectLst/>
                        </a:rPr>
                        <a:t>Diabetic Retinopathy</a:t>
                      </a:r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18288" marB="18288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7 M</a:t>
                      </a:r>
                    </a:p>
                  </a:txBody>
                  <a:tcPr marL="9525" marR="9525" marT="18288" marB="18288" anchor="ctr"/>
                </a:tc>
              </a:tr>
              <a:tr h="345641">
                <a:tc>
                  <a:txBody>
                    <a:bodyPr/>
                    <a:lstStyle/>
                    <a:p>
                      <a:pPr algn="l" fontAlgn="b"/>
                      <a:r>
                        <a:rPr lang="en-US" sz="1900" u="none" strike="noStrike" dirty="0" smtClean="0">
                          <a:effectLst/>
                        </a:rPr>
                        <a:t>Glaucoma</a:t>
                      </a:r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18288" marB="18288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7 M</a:t>
                      </a:r>
                    </a:p>
                  </a:txBody>
                  <a:tcPr marL="9525" marR="9525" marT="18288" marB="18288" anchor="ctr"/>
                </a:tc>
              </a:tr>
              <a:tr h="345641">
                <a:tc>
                  <a:txBody>
                    <a:bodyPr/>
                    <a:lstStyle/>
                    <a:p>
                      <a:pPr algn="l" fontAlgn="b"/>
                      <a:r>
                        <a:rPr lang="en-US" sz="1900" u="none" strike="noStrike" dirty="0" smtClean="0">
                          <a:effectLst/>
                        </a:rPr>
                        <a:t>Retinitis Pigmentosa</a:t>
                      </a:r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18288" marB="18288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1 M</a:t>
                      </a:r>
                    </a:p>
                  </a:txBody>
                  <a:tcPr marL="9525" marR="9525" marT="18288" marB="18288" anchor="ctr"/>
                </a:tc>
              </a:tr>
              <a:tr h="345641">
                <a:tc>
                  <a:txBody>
                    <a:bodyPr/>
                    <a:lstStyle/>
                    <a:p>
                      <a:pPr algn="l" fontAlgn="b"/>
                      <a:r>
                        <a:rPr lang="en-US" sz="1900" u="none" strike="noStrike" dirty="0" smtClean="0">
                          <a:effectLst/>
                        </a:rPr>
                        <a:t>Cone Dystrophy</a:t>
                      </a:r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18288" marB="18288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1 M</a:t>
                      </a:r>
                    </a:p>
                  </a:txBody>
                  <a:tcPr marL="9525" marR="9525" marT="18288" marB="18288" anchor="ctr"/>
                </a:tc>
              </a:tr>
              <a:tr h="345641">
                <a:tc>
                  <a:txBody>
                    <a:bodyPr/>
                    <a:lstStyle/>
                    <a:p>
                      <a:pPr algn="l" fontAlgn="b"/>
                      <a:r>
                        <a:rPr lang="en-US" sz="1900" u="none" strike="noStrike" dirty="0" smtClean="0">
                          <a:effectLst/>
                        </a:rPr>
                        <a:t>Achromatopsia</a:t>
                      </a:r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18288" marB="18288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1 M</a:t>
                      </a:r>
                    </a:p>
                  </a:txBody>
                  <a:tcPr marL="9525" marR="9525" marT="18288" marB="18288" anchor="ctr"/>
                </a:tc>
              </a:tr>
              <a:tr h="345641">
                <a:tc>
                  <a:txBody>
                    <a:bodyPr/>
                    <a:lstStyle/>
                    <a:p>
                      <a:pPr algn="l" fontAlgn="b"/>
                      <a:r>
                        <a:rPr lang="en-US" sz="1900" u="none" strike="noStrike" dirty="0" smtClean="0">
                          <a:effectLst/>
                        </a:rPr>
                        <a:t>Albinism</a:t>
                      </a:r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18288" marB="18288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endParaRPr lang="en-US" sz="19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18288" marB="18288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9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1 M</a:t>
                      </a:r>
                    </a:p>
                  </a:txBody>
                  <a:tcPr marL="9525" marR="9525" marT="18288" marB="18288" anchor="ctr"/>
                </a:tc>
              </a:tr>
            </a:tbl>
          </a:graphicData>
        </a:graphic>
      </p:graphicFrame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57200" y="307529"/>
            <a:ext cx="8229600" cy="1077218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Needs vary greatly, even among </a:t>
            </a:r>
            <a:br>
              <a:rPr lang="en-US" sz="3200" dirty="0"/>
            </a:br>
            <a:r>
              <a:rPr lang="en-US" sz="3200" dirty="0"/>
              <a:t>those with low visio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15978" y="6540090"/>
            <a:ext cx="88930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buSzPct val="125000"/>
            </a:pPr>
            <a:r>
              <a:rPr lang="en-US" sz="1200" dirty="0">
                <a:solidFill>
                  <a:schemeClr val="bg1">
                    <a:lumMod val="50000"/>
                  </a:schemeClr>
                </a:solidFill>
                <a:cs typeface="Gotham Narrow Book"/>
              </a:rPr>
              <a:t>Source: PreventingBlindness.org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15978" y="6284611"/>
            <a:ext cx="8688908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1200" b="1" i="1" kern="0" dirty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All figures based on US population age 40</a:t>
            </a:r>
            <a:r>
              <a:rPr lang="en-IN" sz="1200" b="1" i="1" kern="0" dirty="0" smtClean="0">
                <a:solidFill>
                  <a:schemeClr val="bg1">
                    <a:lumMod val="50000"/>
                  </a:schemeClr>
                </a:solidFill>
                <a:cs typeface="Calibri" pitchFamily="34" charset="0"/>
              </a:rPr>
              <a:t>+</a:t>
            </a:r>
            <a:endParaRPr lang="en-IN" sz="1200" b="1" i="1" kern="0" dirty="0">
              <a:solidFill>
                <a:schemeClr val="bg1">
                  <a:lumMod val="50000"/>
                </a:schemeClr>
              </a:solidFill>
              <a:cs typeface="Calibri" pitchFamily="34" charset="0"/>
            </a:endParaRPr>
          </a:p>
        </p:txBody>
      </p:sp>
      <p:sp>
        <p:nvSpPr>
          <p:cNvPr id="93" name="Rectangle 92" descr="High frequency&#10;"/>
          <p:cNvSpPr/>
          <p:nvPr/>
        </p:nvSpPr>
        <p:spPr>
          <a:xfrm>
            <a:off x="7326396" y="203265"/>
            <a:ext cx="138923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Aft>
                <a:spcPts val="600"/>
              </a:spcAft>
              <a:buSzPct val="125000"/>
            </a:pPr>
            <a:r>
              <a:rPr lang="en-US" sz="1400" dirty="0" smtClean="0">
                <a:cs typeface="Gotham Narrow Book"/>
              </a:rPr>
              <a:t>High frequency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0" y="5829980"/>
            <a:ext cx="9144000" cy="4001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>
            <a:spAutoFit/>
          </a:bodyPr>
          <a:lstStyle/>
          <a:p>
            <a:pPr algn="ctr">
              <a:tabLst>
                <a:tab pos="406400" algn="l"/>
              </a:tabLst>
            </a:pPr>
            <a:r>
              <a:rPr lang="en-US" sz="2000" b="1" dirty="0" smtClean="0">
                <a:solidFill>
                  <a:prstClr val="white"/>
                </a:solidFill>
              </a:rPr>
              <a:t>There is no one-size-fits-all accommodation for low vision</a:t>
            </a:r>
            <a:endParaRPr lang="en-US" sz="2000" b="1" dirty="0">
              <a:solidFill>
                <a:prstClr val="white"/>
              </a:solidFill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7326396" y="566910"/>
            <a:ext cx="15784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Aft>
                <a:spcPts val="600"/>
              </a:spcAft>
              <a:buSzPct val="125000"/>
            </a:pPr>
            <a:r>
              <a:rPr lang="en-US" sz="1400" dirty="0" smtClean="0">
                <a:cs typeface="Gotham Narrow Book"/>
              </a:rPr>
              <a:t>Medium frequency</a:t>
            </a:r>
          </a:p>
        </p:txBody>
      </p:sp>
      <p:sp>
        <p:nvSpPr>
          <p:cNvPr id="120" name="Rectangle 119"/>
          <p:cNvSpPr/>
          <p:nvPr/>
        </p:nvSpPr>
        <p:spPr>
          <a:xfrm>
            <a:off x="7338751" y="930556"/>
            <a:ext cx="15784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Aft>
                <a:spcPts val="600"/>
              </a:spcAft>
              <a:buSzPct val="125000"/>
            </a:pPr>
            <a:r>
              <a:rPr lang="en-US" sz="1400" dirty="0" smtClean="0">
                <a:cs typeface="Gotham Narrow Book"/>
              </a:rPr>
              <a:t>Low frequency</a:t>
            </a:r>
          </a:p>
        </p:txBody>
      </p:sp>
      <p:sp>
        <p:nvSpPr>
          <p:cNvPr id="4" name="Oval 3" descr="High frequency&#10;"/>
          <p:cNvSpPr/>
          <p:nvPr/>
        </p:nvSpPr>
        <p:spPr>
          <a:xfrm>
            <a:off x="7174057" y="274806"/>
            <a:ext cx="164694" cy="164694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000" dirty="0" smtClean="0"/>
              <a:t>H</a:t>
            </a:r>
            <a:endParaRPr lang="en-US" sz="1000" dirty="0"/>
          </a:p>
        </p:txBody>
      </p:sp>
      <p:sp>
        <p:nvSpPr>
          <p:cNvPr id="86" name="Oval 85" descr="Medium frequency&#10;"/>
          <p:cNvSpPr/>
          <p:nvPr/>
        </p:nvSpPr>
        <p:spPr>
          <a:xfrm>
            <a:off x="7174057" y="638451"/>
            <a:ext cx="164694" cy="164694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000" dirty="0" smtClean="0">
                <a:solidFill>
                  <a:schemeClr val="tx2"/>
                </a:solidFill>
              </a:rPr>
              <a:t>M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87" name="Oval 86" descr="Low frequency&#10;"/>
          <p:cNvSpPr/>
          <p:nvPr/>
        </p:nvSpPr>
        <p:spPr>
          <a:xfrm>
            <a:off x="7174057" y="991792"/>
            <a:ext cx="164694" cy="164694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000" dirty="0" smtClean="0">
                <a:solidFill>
                  <a:schemeClr val="tx2"/>
                </a:solidFill>
              </a:rPr>
              <a:t>L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88" name="Oval 87" descr="High frequency&#10;"/>
          <p:cNvSpPr/>
          <p:nvPr/>
        </p:nvSpPr>
        <p:spPr>
          <a:xfrm>
            <a:off x="2746939" y="3325387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89" name="Oval 88" descr="High frequency&#10;"/>
          <p:cNvSpPr/>
          <p:nvPr/>
        </p:nvSpPr>
        <p:spPr>
          <a:xfrm>
            <a:off x="2746939" y="2841683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90" name="Oval 89" descr="High frequency&#10;"/>
          <p:cNvSpPr/>
          <p:nvPr/>
        </p:nvSpPr>
        <p:spPr>
          <a:xfrm>
            <a:off x="4813458" y="3321302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91" name="Oval 90" descr="High frequency&#10;"/>
          <p:cNvSpPr/>
          <p:nvPr/>
        </p:nvSpPr>
        <p:spPr>
          <a:xfrm>
            <a:off x="2746939" y="3677678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92" name="Oval 91" descr="High frequency&#10;"/>
          <p:cNvSpPr/>
          <p:nvPr/>
        </p:nvSpPr>
        <p:spPr>
          <a:xfrm>
            <a:off x="4813458" y="3673593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94" name="Oval 93" descr="High frequency&#10;"/>
          <p:cNvSpPr/>
          <p:nvPr/>
        </p:nvSpPr>
        <p:spPr>
          <a:xfrm>
            <a:off x="3670435" y="4008216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95" name="Oval 94" descr="High frequency&#10;"/>
          <p:cNvSpPr/>
          <p:nvPr/>
        </p:nvSpPr>
        <p:spPr>
          <a:xfrm>
            <a:off x="3670435" y="4350952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96" name="Oval 95" descr="High frequency&#10;"/>
          <p:cNvSpPr/>
          <p:nvPr/>
        </p:nvSpPr>
        <p:spPr>
          <a:xfrm>
            <a:off x="2746939" y="4702460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100" name="Oval 99" descr="High frequency&#10;"/>
          <p:cNvSpPr/>
          <p:nvPr/>
        </p:nvSpPr>
        <p:spPr>
          <a:xfrm>
            <a:off x="2746939" y="5042458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101" name="Oval 100" descr="High frequency&#10;"/>
          <p:cNvSpPr/>
          <p:nvPr/>
        </p:nvSpPr>
        <p:spPr>
          <a:xfrm>
            <a:off x="2746939" y="5391914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102" name="Oval 101" descr="High frequency&#10;"/>
          <p:cNvSpPr/>
          <p:nvPr/>
        </p:nvSpPr>
        <p:spPr>
          <a:xfrm>
            <a:off x="4813458" y="5042458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103" name="Oval 102" descr="High frequency&#10;"/>
          <p:cNvSpPr/>
          <p:nvPr/>
        </p:nvSpPr>
        <p:spPr>
          <a:xfrm>
            <a:off x="4813458" y="5391914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107" name="Oval 106" descr="High frequency&#10;"/>
          <p:cNvSpPr/>
          <p:nvPr/>
        </p:nvSpPr>
        <p:spPr>
          <a:xfrm>
            <a:off x="6830574" y="3321302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108" name="Oval 107" descr="High frequency&#10;"/>
          <p:cNvSpPr/>
          <p:nvPr/>
        </p:nvSpPr>
        <p:spPr>
          <a:xfrm>
            <a:off x="6830574" y="5391914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109" name="Oval 108" descr="High frequency&#10;"/>
          <p:cNvSpPr/>
          <p:nvPr/>
        </p:nvSpPr>
        <p:spPr>
          <a:xfrm>
            <a:off x="5826804" y="4702460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110" name="Oval 109" descr="High frequency&#10;"/>
          <p:cNvSpPr/>
          <p:nvPr/>
        </p:nvSpPr>
        <p:spPr>
          <a:xfrm>
            <a:off x="5826804" y="5042458"/>
            <a:ext cx="264650" cy="264650"/>
          </a:xfrm>
          <a:prstGeom prst="ellipse">
            <a:avLst/>
          </a:prstGeom>
          <a:solidFill>
            <a:schemeClr val="tx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/>
              <a:t>H</a:t>
            </a:r>
            <a:endParaRPr lang="en-US" sz="1600" dirty="0"/>
          </a:p>
        </p:txBody>
      </p:sp>
      <p:sp>
        <p:nvSpPr>
          <p:cNvPr id="111" name="Oval 110" descr="Medium frequency&#10;"/>
          <p:cNvSpPr/>
          <p:nvPr/>
        </p:nvSpPr>
        <p:spPr>
          <a:xfrm>
            <a:off x="4811408" y="2829943"/>
            <a:ext cx="266700" cy="26465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>
                <a:solidFill>
                  <a:schemeClr val="tx2"/>
                </a:solidFill>
              </a:rPr>
              <a:t>M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12" name="Oval 111" descr="Medium frequency&#10;"/>
          <p:cNvSpPr/>
          <p:nvPr/>
        </p:nvSpPr>
        <p:spPr>
          <a:xfrm>
            <a:off x="4811408" y="4000022"/>
            <a:ext cx="266700" cy="26465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>
                <a:solidFill>
                  <a:schemeClr val="tx2"/>
                </a:solidFill>
              </a:rPr>
              <a:t>M</a:t>
            </a: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13" name="Oval 112" descr="Low frequency&#10;"/>
          <p:cNvSpPr/>
          <p:nvPr/>
        </p:nvSpPr>
        <p:spPr>
          <a:xfrm>
            <a:off x="5794435" y="2829943"/>
            <a:ext cx="266700" cy="26465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IN" sz="1600" dirty="0" smtClean="0">
                <a:solidFill>
                  <a:schemeClr val="tx2"/>
                </a:solidFill>
              </a:rPr>
              <a:t>L</a:t>
            </a:r>
            <a:endParaRPr lang="en-US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738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252259" y="4573489"/>
            <a:ext cx="2695964" cy="427979"/>
          </a:xfrm>
          <a:prstGeom prst="rect">
            <a:avLst/>
          </a:prstGeom>
          <a:solidFill>
            <a:schemeClr val="tx2"/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Best contrast for dyslexi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016837" y="4573489"/>
            <a:ext cx="2695964" cy="427979"/>
          </a:xfrm>
          <a:prstGeom prst="rect">
            <a:avLst/>
          </a:prstGeom>
          <a:solidFill>
            <a:schemeClr val="tx2"/>
          </a:solidFill>
        </p:spPr>
        <p:txBody>
          <a:bodyPr wrap="square" tIns="90000" bIns="90000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Best contrast for </a:t>
            </a:r>
            <a:r>
              <a:rPr lang="en-US" sz="1600" b="1" dirty="0" smtClean="0">
                <a:solidFill>
                  <a:schemeClr val="bg1"/>
                </a:solidFill>
              </a:rPr>
              <a:t>low vision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87679" y="4573489"/>
            <a:ext cx="2695964" cy="427979"/>
          </a:xfrm>
          <a:prstGeom prst="rect">
            <a:avLst/>
          </a:prstGeom>
          <a:solidFill>
            <a:schemeClr val="tx2"/>
          </a:solidFill>
        </p:spPr>
        <p:txBody>
          <a:bodyPr wrap="square" tIns="90000" bIns="90000" rtlCol="0"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Original View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2349137"/>
            <a:ext cx="2695963" cy="2129293"/>
          </a:xfrm>
          <a:prstGeom prst="rect">
            <a:avLst/>
          </a:prstGeom>
        </p:spPr>
      </p:pic>
      <p:pic>
        <p:nvPicPr>
          <p:cNvPr id="3" name="Picture 2" descr="Screen Clippi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2259" y="2312187"/>
            <a:ext cx="2695963" cy="2166243"/>
          </a:xfrm>
          <a:prstGeom prst="rect">
            <a:avLst/>
          </a:prstGeom>
        </p:spPr>
      </p:pic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6837" y="2303573"/>
            <a:ext cx="2695963" cy="2174856"/>
          </a:xfrm>
          <a:prstGeom prst="rect">
            <a:avLst/>
          </a:prstGeom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/>
              <a:t>There is No One-Size-Fits-All Desig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6816" y="6322595"/>
            <a:ext cx="9158431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Ins="0" rtlCol="0">
            <a:spAutoFit/>
          </a:bodyPr>
          <a:lstStyle/>
          <a:p>
            <a:pPr marL="344488" algn="ctr"/>
            <a:r>
              <a:rPr lang="en-US" sz="2400" dirty="0" smtClean="0">
                <a:solidFill>
                  <a:prstClr val="white"/>
                </a:solidFill>
              </a:rPr>
              <a:t>Individual users must be able to customize their view</a:t>
            </a:r>
            <a:endParaRPr lang="en-US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62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57200" y="307529"/>
            <a:ext cx="8229600" cy="1077218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Built-in accessibility tools are generally known, </a:t>
            </a:r>
            <a:br>
              <a:rPr lang="en-US" sz="3200" dirty="0"/>
            </a:br>
            <a:r>
              <a:rPr lang="en-US" sz="3200" dirty="0"/>
              <a:t>but seldom used</a:t>
            </a:r>
          </a:p>
        </p:txBody>
      </p:sp>
      <p:sp>
        <p:nvSpPr>
          <p:cNvPr id="14" name="Text Placeholder 4"/>
          <p:cNvSpPr txBox="1">
            <a:spLocks/>
          </p:cNvSpPr>
          <p:nvPr/>
        </p:nvSpPr>
        <p:spPr>
          <a:xfrm>
            <a:off x="5622923" y="1857693"/>
            <a:ext cx="3063877" cy="383408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440" tIns="45720" rIns="91440" bIns="45720" anchor="t" anchorCtr="0"/>
          <a:lstStyle>
            <a:lvl2pPr marL="114300" indent="-114300">
              <a:spcBef>
                <a:spcPts val="300"/>
              </a:spcBef>
              <a:defRPr sz="1100"/>
            </a:lvl2pPr>
            <a:lvl3pPr marL="228600" indent="-114300">
              <a:spcBef>
                <a:spcPts val="100"/>
              </a:spcBef>
              <a:defRPr sz="1100"/>
            </a:lvl3pPr>
            <a:lvl4pPr marL="342900" indent="-114300">
              <a:spcBef>
                <a:spcPts val="100"/>
              </a:spcBef>
              <a:defRPr sz="1100"/>
            </a:lvl4pPr>
            <a:lvl5pPr marL="457200" indent="-114300">
              <a:spcBef>
                <a:spcPts val="100"/>
              </a:spcBef>
              <a:defRPr sz="1100"/>
            </a:lvl5pPr>
          </a:lstStyle>
          <a:p>
            <a:pPr lvl="1" defTabSz="966788">
              <a:buSzPct val="100000"/>
              <a:buFontTx/>
              <a:buChar char="•"/>
              <a:tabLst>
                <a:tab pos="2298700" algn="l"/>
              </a:tabLst>
            </a:pPr>
            <a:r>
              <a:rPr lang="en-US" sz="1600" b="0" kern="0" dirty="0" smtClean="0">
                <a:solidFill>
                  <a:srgbClr val="000000"/>
                </a:solidFill>
                <a:latin typeface="Calibri" pitchFamily="34" charset="0"/>
              </a:rPr>
              <a:t> Built-in accessibility tools include all functionality built into the operating system or browser to make content and applications mor</a:t>
            </a:r>
            <a:r>
              <a:rPr lang="en-US" sz="1600" kern="0" dirty="0" smtClean="0">
                <a:solidFill>
                  <a:srgbClr val="000000"/>
                </a:solidFill>
                <a:latin typeface="Calibri" pitchFamily="34" charset="0"/>
              </a:rPr>
              <a:t>e accessible</a:t>
            </a:r>
          </a:p>
          <a:p>
            <a:pPr marL="400050" lvl="2" indent="-285750" defTabSz="966788">
              <a:buSzPct val="100000"/>
              <a:buFont typeface="Calibri" panose="020F0502020204030204" pitchFamily="34" charset="0"/>
              <a:buChar char="–"/>
              <a:tabLst>
                <a:tab pos="2298700" algn="l"/>
              </a:tabLst>
            </a:pPr>
            <a:r>
              <a:rPr lang="en-US" sz="1600" kern="0" dirty="0" smtClean="0">
                <a:solidFill>
                  <a:srgbClr val="000000"/>
                </a:solidFill>
                <a:latin typeface="Calibri" pitchFamily="34" charset="0"/>
              </a:rPr>
              <a:t>Zoom / magnifier</a:t>
            </a:r>
          </a:p>
          <a:p>
            <a:pPr marL="400050" lvl="2" indent="-285750" defTabSz="966788">
              <a:buSzPct val="100000"/>
              <a:buFont typeface="Calibri" panose="020F0502020204030204" pitchFamily="34" charset="0"/>
              <a:buChar char="–"/>
              <a:tabLst>
                <a:tab pos="2298700" algn="l"/>
              </a:tabLst>
            </a:pPr>
            <a:r>
              <a:rPr lang="en-US" sz="1600" kern="0" dirty="0" smtClean="0">
                <a:solidFill>
                  <a:srgbClr val="000000"/>
                </a:solidFill>
                <a:latin typeface="Calibri" pitchFamily="34" charset="0"/>
              </a:rPr>
              <a:t>Font size</a:t>
            </a:r>
          </a:p>
          <a:p>
            <a:pPr marL="400050" lvl="2" indent="-285750" defTabSz="966788">
              <a:buSzPct val="100000"/>
              <a:buFont typeface="Calibri" panose="020F0502020204030204" pitchFamily="34" charset="0"/>
              <a:buChar char="–"/>
              <a:tabLst>
                <a:tab pos="2298700" algn="l"/>
              </a:tabLst>
            </a:pPr>
            <a:r>
              <a:rPr lang="en-US" sz="1600" kern="0" dirty="0" smtClean="0">
                <a:solidFill>
                  <a:srgbClr val="000000"/>
                </a:solidFill>
                <a:latin typeface="Calibri" pitchFamily="34" charset="0"/>
              </a:rPr>
              <a:t>Mouse size &amp; color</a:t>
            </a:r>
          </a:p>
          <a:p>
            <a:pPr marL="400050" lvl="2" indent="-285750" defTabSz="966788">
              <a:buSzPct val="100000"/>
              <a:buFont typeface="Calibri" panose="020F0502020204030204" pitchFamily="34" charset="0"/>
              <a:buChar char="–"/>
              <a:tabLst>
                <a:tab pos="2298700" algn="l"/>
              </a:tabLst>
            </a:pPr>
            <a:r>
              <a:rPr lang="en-US" sz="1600" kern="0" dirty="0" smtClean="0">
                <a:solidFill>
                  <a:srgbClr val="000000"/>
                </a:solidFill>
                <a:latin typeface="Calibri" pitchFamily="34" charset="0"/>
              </a:rPr>
              <a:t>Line thickness</a:t>
            </a:r>
          </a:p>
          <a:p>
            <a:pPr marL="400050" lvl="2" indent="-285750" defTabSz="966788">
              <a:buSzPct val="100000"/>
              <a:buFont typeface="Calibri" panose="020F0502020204030204" pitchFamily="34" charset="0"/>
              <a:buChar char="–"/>
              <a:tabLst>
                <a:tab pos="2298700" algn="l"/>
              </a:tabLst>
            </a:pPr>
            <a:r>
              <a:rPr lang="en-US" sz="1600" kern="0" dirty="0" smtClean="0">
                <a:solidFill>
                  <a:srgbClr val="000000"/>
                </a:solidFill>
                <a:latin typeface="Calibri" pitchFamily="34" charset="0"/>
              </a:rPr>
              <a:t>Colors &amp; contrast</a:t>
            </a:r>
          </a:p>
          <a:p>
            <a:pPr lvl="1" defTabSz="966788">
              <a:buSzPct val="100000"/>
              <a:buFontTx/>
              <a:buChar char="•"/>
              <a:tabLst>
                <a:tab pos="2298700" algn="l"/>
              </a:tabLst>
            </a:pPr>
            <a:r>
              <a:rPr lang="en-US" sz="1600" kern="0" dirty="0" smtClean="0">
                <a:solidFill>
                  <a:srgbClr val="000000"/>
                </a:solidFill>
                <a:latin typeface="Calibri" pitchFamily="34" charset="0"/>
              </a:rPr>
              <a:t>Use of pinch zoom in mobile has greatly increased awareness of built-in accessibility tools</a:t>
            </a:r>
          </a:p>
          <a:p>
            <a:pPr lvl="1" defTabSz="966788">
              <a:buSzPct val="100000"/>
              <a:buFontTx/>
              <a:buChar char="•"/>
              <a:tabLst>
                <a:tab pos="2298700" algn="l"/>
              </a:tabLst>
            </a:pPr>
            <a:endParaRPr lang="en-US" sz="1600" kern="0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5622925" y="1415148"/>
            <a:ext cx="3063876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Comment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68960" y="6029308"/>
            <a:ext cx="4664543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200" dirty="0" smtClean="0"/>
              <a:t>Source: Ai Squared web user research (2015)  </a:t>
            </a:r>
            <a:endParaRPr lang="en-US" sz="1200" dirty="0"/>
          </a:p>
        </p:txBody>
      </p:sp>
      <p:sp>
        <p:nvSpPr>
          <p:cNvPr id="11" name="TextBox 10"/>
          <p:cNvSpPr txBox="1"/>
          <p:nvPr/>
        </p:nvSpPr>
        <p:spPr>
          <a:xfrm>
            <a:off x="568960" y="1415148"/>
            <a:ext cx="4978400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b="1" dirty="0" smtClean="0"/>
              <a:t>Use of Built-in Accessibility Tools</a:t>
            </a:r>
            <a:endParaRPr lang="en-IN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568960" y="5127295"/>
            <a:ext cx="4978400" cy="73866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b="1" i="1" dirty="0"/>
              <a:t>Question</a:t>
            </a:r>
            <a:r>
              <a:rPr lang="en-IN" sz="1400" i="1" dirty="0"/>
              <a:t>:  </a:t>
            </a:r>
            <a:r>
              <a:rPr lang="en-IN" sz="1400" i="1" dirty="0" smtClean="0"/>
              <a:t>Have </a:t>
            </a:r>
            <a:r>
              <a:rPr lang="en-IN" sz="1400" i="1" dirty="0"/>
              <a:t>you ever used the built-in accessibility tools (e.g</a:t>
            </a:r>
            <a:r>
              <a:rPr lang="en-IN" sz="1400" i="1" dirty="0" smtClean="0"/>
              <a:t>., Browser </a:t>
            </a:r>
            <a:r>
              <a:rPr lang="en-IN" sz="1400" i="1" dirty="0"/>
              <a:t>Zoom</a:t>
            </a:r>
            <a:r>
              <a:rPr lang="en-IN" sz="1400" i="1" dirty="0" smtClean="0"/>
              <a:t>, Large </a:t>
            </a:r>
            <a:r>
              <a:rPr lang="en-IN" sz="1400" i="1" dirty="0"/>
              <a:t>Fonts) included in your computer’s operating system or web browser?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6816" y="6322595"/>
            <a:ext cx="9144000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kern="1200" dirty="0" smtClean="0"/>
              <a:t>To be effective, accessibility tools must be widely adopted</a:t>
            </a:r>
          </a:p>
        </p:txBody>
      </p:sp>
      <p:graphicFrame>
        <p:nvGraphicFramePr>
          <p:cNvPr id="5" name="Chart 4" descr="Not Aware 33%&#10;Aware but do not use 60%&#10;Use regularly 7%&#10;"/>
          <p:cNvGraphicFramePr/>
          <p:nvPr>
            <p:extLst>
              <p:ext uri="{D42A27DB-BD31-4B8C-83A1-F6EECF244321}">
                <p14:modId xmlns:p14="http://schemas.microsoft.com/office/powerpoint/2010/main" val="266449939"/>
              </p:ext>
            </p:extLst>
          </p:nvPr>
        </p:nvGraphicFramePr>
        <p:xfrm>
          <a:off x="215978" y="1842536"/>
          <a:ext cx="5331382" cy="3262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94977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57200" y="307529"/>
            <a:ext cx="8229600" cy="908411"/>
          </a:xfrm>
        </p:spPr>
        <p:txBody>
          <a:bodyPr>
            <a:noAutofit/>
          </a:bodyPr>
          <a:lstStyle/>
          <a:p>
            <a:r>
              <a:rPr lang="en-US" sz="2600" dirty="0" smtClean="0"/>
              <a:t>Built-in accessibility tools are underused because of poor discoverability, poor usability, and the need for training</a:t>
            </a:r>
            <a:endParaRPr lang="en-US" sz="2600" dirty="0"/>
          </a:p>
        </p:txBody>
      </p:sp>
      <p:sp>
        <p:nvSpPr>
          <p:cNvPr id="14" name="Text Placeholder 4" descr="I don't know how 41%&#10;Not what I need 27%&#10;Need help from others 29%&#10;Other 2%&#10;"/>
          <p:cNvSpPr txBox="1">
            <a:spLocks/>
          </p:cNvSpPr>
          <p:nvPr/>
        </p:nvSpPr>
        <p:spPr>
          <a:xfrm>
            <a:off x="5622923" y="1766253"/>
            <a:ext cx="3063877" cy="383408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wrap="square" lIns="91440" tIns="45720" rIns="91440" bIns="45720" anchor="t" anchorCtr="0"/>
          <a:lstStyle>
            <a:lvl2pPr marL="114300" indent="-114300">
              <a:spcBef>
                <a:spcPts val="300"/>
              </a:spcBef>
              <a:defRPr sz="1100"/>
            </a:lvl2pPr>
            <a:lvl3pPr marL="228600" indent="-114300">
              <a:spcBef>
                <a:spcPts val="100"/>
              </a:spcBef>
              <a:defRPr sz="1100"/>
            </a:lvl3pPr>
            <a:lvl4pPr marL="342900" indent="-114300">
              <a:spcBef>
                <a:spcPts val="100"/>
              </a:spcBef>
              <a:defRPr sz="1100"/>
            </a:lvl4pPr>
            <a:lvl5pPr marL="457200" indent="-114300">
              <a:spcBef>
                <a:spcPts val="100"/>
              </a:spcBef>
              <a:defRPr sz="1100"/>
            </a:lvl5pPr>
          </a:lstStyle>
          <a:p>
            <a:pPr lvl="1" defTabSz="966788">
              <a:buSzPct val="100000"/>
              <a:buFontTx/>
              <a:buChar char="•"/>
              <a:tabLst>
                <a:tab pos="2298700" algn="l"/>
              </a:tabLst>
            </a:pPr>
            <a:r>
              <a:rPr lang="en-US" sz="1600" kern="0" dirty="0" smtClean="0">
                <a:solidFill>
                  <a:srgbClr val="000000"/>
                </a:solidFill>
                <a:latin typeface="Calibri" pitchFamily="34" charset="0"/>
              </a:rPr>
              <a:t>These responses apply only to those who don’t use built-in accessibility tools</a:t>
            </a:r>
          </a:p>
          <a:p>
            <a:pPr lvl="1" defTabSz="966788">
              <a:buSzPct val="100000"/>
              <a:buFontTx/>
              <a:buChar char="•"/>
              <a:tabLst>
                <a:tab pos="2298700" algn="l"/>
              </a:tabLst>
            </a:pPr>
            <a:r>
              <a:rPr lang="en-US" sz="1600" kern="0" dirty="0" smtClean="0">
                <a:solidFill>
                  <a:srgbClr val="000000"/>
                </a:solidFill>
                <a:latin typeface="Calibri" pitchFamily="34" charset="0"/>
              </a:rPr>
              <a:t>Older web users need education and help in order to take advantage of the current generation of built-in accessibility tools</a:t>
            </a:r>
          </a:p>
          <a:p>
            <a:pPr lvl="1" defTabSz="966788">
              <a:buSzPct val="100000"/>
              <a:buFontTx/>
              <a:buChar char="•"/>
              <a:tabLst>
                <a:tab pos="2298700" algn="l"/>
              </a:tabLst>
            </a:pPr>
            <a:r>
              <a:rPr lang="en-US" sz="1600" kern="0" dirty="0" smtClean="0">
                <a:solidFill>
                  <a:srgbClr val="000000"/>
                </a:solidFill>
                <a:latin typeface="Calibri" pitchFamily="34" charset="0"/>
              </a:rPr>
              <a:t>Over ¼ state that built-in tools are not what they need</a:t>
            </a: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5622925" y="1323708"/>
            <a:ext cx="3063876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Comment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28320" y="5937868"/>
            <a:ext cx="4705183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1200" dirty="0" smtClean="0"/>
              <a:t>Source: Ai Squared web user research (2015)  </a:t>
            </a:r>
            <a:endParaRPr lang="en-US" sz="1200" dirty="0"/>
          </a:p>
        </p:txBody>
      </p:sp>
      <p:sp>
        <p:nvSpPr>
          <p:cNvPr id="11" name="TextBox 10"/>
          <p:cNvSpPr txBox="1"/>
          <p:nvPr/>
        </p:nvSpPr>
        <p:spPr>
          <a:xfrm>
            <a:off x="528320" y="1323708"/>
            <a:ext cx="5019040" cy="36933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IN" b="1" dirty="0" smtClean="0"/>
              <a:t>Reasons for Not Using Built-in Accessibility Tools</a:t>
            </a:r>
            <a:endParaRPr lang="en-IN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528320" y="5035855"/>
            <a:ext cx="5019040" cy="73866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b="1" i="1" dirty="0"/>
              <a:t>Question</a:t>
            </a:r>
            <a:r>
              <a:rPr lang="en-IN" sz="1400" i="1" dirty="0"/>
              <a:t>:  How useful are the built-in accessibility features (e.g</a:t>
            </a:r>
            <a:r>
              <a:rPr lang="en-IN" sz="1400" i="1" dirty="0" smtClean="0"/>
              <a:t>., Browser Zoom, Large </a:t>
            </a:r>
            <a:r>
              <a:rPr lang="en-IN" sz="1400" i="1" dirty="0"/>
              <a:t>Fonts) in your computer’s operating system or browser?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6816" y="6322595"/>
            <a:ext cx="9144000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kern="1200" dirty="0" smtClean="0"/>
              <a:t>Web users need better accessibility tools</a:t>
            </a:r>
          </a:p>
        </p:txBody>
      </p:sp>
      <p:graphicFrame>
        <p:nvGraphicFramePr>
          <p:cNvPr id="5" name="Chart 4" descr="Not Aware 33%&#10;Aware but do not use 60%&#10;Use regularly 7%&#10;"/>
          <p:cNvGraphicFramePr/>
          <p:nvPr>
            <p:extLst>
              <p:ext uri="{D42A27DB-BD31-4B8C-83A1-F6EECF244321}">
                <p14:modId xmlns:p14="http://schemas.microsoft.com/office/powerpoint/2010/main" val="1295799365"/>
              </p:ext>
            </p:extLst>
          </p:nvPr>
        </p:nvGraphicFramePr>
        <p:xfrm>
          <a:off x="215978" y="1751096"/>
          <a:ext cx="5331382" cy="3262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42046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6438864" y="1034655"/>
            <a:ext cx="2158512" cy="4480560"/>
          </a:xfrm>
          <a:prstGeom prst="rect">
            <a:avLst/>
          </a:prstGeom>
          <a:solidFill>
            <a:schemeClr val="tx2"/>
          </a:solidFill>
          <a:ln/>
        </p:spPr>
        <p:txBody>
          <a:bodyPr vert="horz" lIns="73152" tIns="73152" rIns="73152" bIns="73152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chemeClr val="bg1"/>
                </a:solidFill>
              </a:rPr>
              <a:t>Although 15%-20% of the population has a disability, far fewer disclose or self-identify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57200" y="5676805"/>
            <a:ext cx="84676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Aft>
                <a:spcPts val="450"/>
              </a:spcAft>
              <a:buSzPct val="125000"/>
            </a:pPr>
            <a:r>
              <a:rPr lang="en-US" sz="1200" dirty="0">
                <a:cs typeface="Gotham Narrow Book"/>
              </a:rPr>
              <a:t>Source: </a:t>
            </a:r>
            <a:r>
              <a:rPr lang="en-US" sz="1200" dirty="0" smtClean="0">
                <a:cs typeface="Gotham Narrow Book"/>
              </a:rPr>
              <a:t>Globaldisabilityinclusion.com; http</a:t>
            </a:r>
            <a:r>
              <a:rPr lang="en-US" sz="1200" dirty="0">
                <a:cs typeface="Gotham Narrow Book"/>
              </a:rPr>
              <a:t>://image-store.slidesharecdn.com/8b54c2fa-397d-45c8-9356-0d5f18f0935c-large.png</a:t>
            </a:r>
          </a:p>
        </p:txBody>
      </p:sp>
      <p:graphicFrame>
        <p:nvGraphicFramePr>
          <p:cNvPr id="3" name="Table 2" descr="Region Disclosure percentages&#10;North America 3%&#10;Latin America and Caribbean 5%&#10;Europe 4%&#10;Africa 9%&#10;Middle East 3%&#10;Indian sub-continent 2%&#10;Eastern and Southeastern Asia 4%&#10;Pacific 4%&#10;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8922549"/>
              </p:ext>
            </p:extLst>
          </p:nvPr>
        </p:nvGraphicFramePr>
        <p:xfrm>
          <a:off x="457200" y="1034655"/>
          <a:ext cx="5859624" cy="448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0824"/>
                <a:gridCol w="1828800"/>
              </a:tblGrid>
              <a:tr h="822960"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Region</a:t>
                      </a:r>
                      <a:endParaRPr lang="en-IE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Disclosure</a:t>
                      </a:r>
                      <a:r>
                        <a:rPr lang="en-IE" sz="2400" baseline="0" dirty="0" smtClean="0"/>
                        <a:t> percentages</a:t>
                      </a:r>
                      <a:endParaRPr lang="en-IE" sz="2400" dirty="0"/>
                    </a:p>
                  </a:txBody>
                  <a:tcPr anchor="ctr"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North America</a:t>
                      </a:r>
                      <a:endParaRPr lang="en-IE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3%</a:t>
                      </a:r>
                      <a:endParaRPr lang="en-IE" sz="2400" dirty="0"/>
                    </a:p>
                  </a:txBody>
                  <a:tcPr anchor="ctr"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Latin America and Caribbean</a:t>
                      </a:r>
                      <a:endParaRPr lang="en-IE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5%</a:t>
                      </a:r>
                      <a:endParaRPr lang="en-IE" sz="2400" dirty="0"/>
                    </a:p>
                  </a:txBody>
                  <a:tcPr anchor="ctr"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Europe</a:t>
                      </a:r>
                      <a:endParaRPr lang="en-IE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4%</a:t>
                      </a:r>
                      <a:endParaRPr lang="en-IE" sz="2400" dirty="0"/>
                    </a:p>
                  </a:txBody>
                  <a:tcPr anchor="ctr"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Africa</a:t>
                      </a:r>
                      <a:endParaRPr lang="en-IE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9%</a:t>
                      </a:r>
                      <a:endParaRPr lang="en-IE" sz="2400" dirty="0"/>
                    </a:p>
                  </a:txBody>
                  <a:tcPr anchor="ctr"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Middle East</a:t>
                      </a:r>
                      <a:endParaRPr lang="en-IE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3%</a:t>
                      </a:r>
                      <a:endParaRPr lang="en-IE" sz="2400" dirty="0"/>
                    </a:p>
                  </a:txBody>
                  <a:tcPr anchor="ctr"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Indian sub-continent</a:t>
                      </a:r>
                      <a:endParaRPr lang="en-IE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2%</a:t>
                      </a:r>
                      <a:endParaRPr lang="en-IE" sz="2400" dirty="0"/>
                    </a:p>
                  </a:txBody>
                  <a:tcPr anchor="ctr"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Eastern</a:t>
                      </a:r>
                      <a:r>
                        <a:rPr lang="en-IE" sz="2400" baseline="0" dirty="0" smtClean="0"/>
                        <a:t> and Southeastern Asia</a:t>
                      </a:r>
                      <a:endParaRPr lang="en-IE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4%</a:t>
                      </a:r>
                      <a:endParaRPr lang="en-IE" sz="2400" dirty="0"/>
                    </a:p>
                  </a:txBody>
                  <a:tcPr anchor="ctr"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Pacific</a:t>
                      </a:r>
                      <a:endParaRPr lang="en-IE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IE" sz="2400" dirty="0" smtClean="0"/>
                        <a:t>4%</a:t>
                      </a:r>
                      <a:endParaRPr lang="en-IE" sz="24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39562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/>
              <a:t>Self-identification is a major issu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-6816" y="6322595"/>
            <a:ext cx="9144000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 smtClean="0"/>
              <a:t>Investing tools that are for everyone is a great way to drive adoption</a:t>
            </a:r>
            <a:endParaRPr lang="en-US" sz="2400" kern="1200" dirty="0" smtClean="0"/>
          </a:p>
        </p:txBody>
      </p:sp>
    </p:spTree>
    <p:extLst>
      <p:ext uri="{BB962C8B-B14F-4D97-AF65-F5344CB8AC3E}">
        <p14:creationId xmlns:p14="http://schemas.microsoft.com/office/powerpoint/2010/main" val="218621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472931" y="4660537"/>
            <a:ext cx="6016172" cy="1813311"/>
            <a:chOff x="1591645" y="4772559"/>
            <a:chExt cx="6016172" cy="1813311"/>
          </a:xfrm>
        </p:grpSpPr>
        <p:sp>
          <p:nvSpPr>
            <p:cNvPr id="56" name="Rectangle 55"/>
            <p:cNvSpPr/>
            <p:nvPr/>
          </p:nvSpPr>
          <p:spPr>
            <a:xfrm>
              <a:off x="1591645" y="4772559"/>
              <a:ext cx="6016172" cy="1813311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5" name="Picture 34" descr="IRS logo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3909" y="4865475"/>
              <a:ext cx="373980" cy="513024"/>
            </a:xfrm>
            <a:prstGeom prst="rect">
              <a:avLst/>
            </a:prstGeom>
          </p:spPr>
        </p:pic>
        <p:pic>
          <p:nvPicPr>
            <p:cNvPr id="37" name="Picture 36" descr="Microsoft logo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2920" y="6094991"/>
              <a:ext cx="1115868" cy="211842"/>
            </a:xfrm>
            <a:prstGeom prst="rect">
              <a:avLst/>
            </a:prstGeom>
          </p:spPr>
        </p:pic>
        <p:pic>
          <p:nvPicPr>
            <p:cNvPr id="39" name="Picture 38" descr="Cigna logo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0707" y="5906074"/>
              <a:ext cx="568427" cy="589677"/>
            </a:xfrm>
            <a:prstGeom prst="rect">
              <a:avLst/>
            </a:prstGeom>
          </p:spPr>
        </p:pic>
        <p:pic>
          <p:nvPicPr>
            <p:cNvPr id="41" name="Picture 40" descr="Pearson logo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67714" y="6073720"/>
              <a:ext cx="1068414" cy="254384"/>
            </a:xfrm>
            <a:prstGeom prst="rect">
              <a:avLst/>
            </a:prstGeom>
          </p:spPr>
        </p:pic>
        <p:pic>
          <p:nvPicPr>
            <p:cNvPr id="43" name="Picture 42" descr="Perkins logo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2430" y="5995096"/>
              <a:ext cx="841975" cy="411632"/>
            </a:xfrm>
            <a:prstGeom prst="rect">
              <a:avLst/>
            </a:prstGeom>
          </p:spPr>
        </p:pic>
        <p:pic>
          <p:nvPicPr>
            <p:cNvPr id="47" name="Picture 46" descr="Oracle logo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95434" y="6099897"/>
              <a:ext cx="1067874" cy="202030"/>
            </a:xfrm>
            <a:prstGeom prst="rect">
              <a:avLst/>
            </a:prstGeom>
          </p:spPr>
        </p:pic>
        <p:pic>
          <p:nvPicPr>
            <p:cNvPr id="51" name="Picture 50" descr="Target logo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15090" y="5968250"/>
              <a:ext cx="536322" cy="465325"/>
            </a:xfrm>
            <a:prstGeom prst="rect">
              <a:avLst/>
            </a:prstGeom>
          </p:spPr>
        </p:pic>
        <p:pic>
          <p:nvPicPr>
            <p:cNvPr id="38" name="Picture 37" descr="Boeing logo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2920" y="4962971"/>
              <a:ext cx="1173681" cy="281362"/>
            </a:xfrm>
            <a:prstGeom prst="rect">
              <a:avLst/>
            </a:prstGeom>
          </p:spPr>
        </p:pic>
        <p:pic>
          <p:nvPicPr>
            <p:cNvPr id="42" name="Picture 41" descr="ETS logo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380" y="5124512"/>
              <a:ext cx="666593" cy="458283"/>
            </a:xfrm>
            <a:prstGeom prst="rect">
              <a:avLst/>
            </a:prstGeom>
          </p:spPr>
        </p:pic>
        <p:pic>
          <p:nvPicPr>
            <p:cNvPr id="44" name="Picture 43" descr="Fidelity logo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2024" y="4967918"/>
              <a:ext cx="1214013" cy="271468"/>
            </a:xfrm>
            <a:prstGeom prst="rect">
              <a:avLst/>
            </a:prstGeom>
          </p:spPr>
        </p:pic>
        <p:pic>
          <p:nvPicPr>
            <p:cNvPr id="45" name="Picture 44" descr="IBM logo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13545" y="4976004"/>
              <a:ext cx="649763" cy="255297"/>
            </a:xfrm>
            <a:prstGeom prst="rect">
              <a:avLst/>
            </a:prstGeom>
          </p:spPr>
        </p:pic>
        <p:pic>
          <p:nvPicPr>
            <p:cNvPr id="53" name="Picture 52" descr="Library of Congress logo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69763" y="4866901"/>
              <a:ext cx="987260" cy="244902"/>
            </a:xfrm>
            <a:prstGeom prst="rect">
              <a:avLst/>
            </a:prstGeom>
          </p:spPr>
        </p:pic>
        <p:pic>
          <p:nvPicPr>
            <p:cNvPr id="46" name="Picture 45" descr="Intel logo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073" y="5368030"/>
              <a:ext cx="657235" cy="422609"/>
            </a:xfrm>
            <a:prstGeom prst="rect">
              <a:avLst/>
            </a:prstGeom>
          </p:spPr>
        </p:pic>
        <p:pic>
          <p:nvPicPr>
            <p:cNvPr id="50" name="Picture 49" descr="Walmart logo"/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2920" y="5429254"/>
              <a:ext cx="1162592" cy="300160"/>
            </a:xfrm>
            <a:prstGeom prst="rect">
              <a:avLst/>
            </a:prstGeom>
          </p:spPr>
        </p:pic>
        <p:pic>
          <p:nvPicPr>
            <p:cNvPr id="52" name="Picture 51" descr="Wells Fargo logo"/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1669" y="5375277"/>
              <a:ext cx="772646" cy="408115"/>
            </a:xfrm>
            <a:prstGeom prst="rect">
              <a:avLst/>
            </a:prstGeom>
          </p:spPr>
        </p:pic>
        <p:pic>
          <p:nvPicPr>
            <p:cNvPr id="54" name="Picture 53" descr="US Veterans Affaris Department logo"/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06739" y="5542917"/>
              <a:ext cx="1951393" cy="301435"/>
            </a:xfrm>
            <a:prstGeom prst="rect">
              <a:avLst/>
            </a:prstGeom>
          </p:spPr>
        </p:pic>
        <p:pic>
          <p:nvPicPr>
            <p:cNvPr id="55" name="Picture 54" descr="FDIC logo"/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10472" y="5467418"/>
              <a:ext cx="550110" cy="223832"/>
            </a:xfrm>
            <a:prstGeom prst="rect">
              <a:avLst/>
            </a:prstGeom>
          </p:spPr>
        </p:pic>
      </p:grpSp>
      <p:sp>
        <p:nvSpPr>
          <p:cNvPr id="34" name="Rectangle 33"/>
          <p:cNvSpPr/>
          <p:nvPr/>
        </p:nvSpPr>
        <p:spPr>
          <a:xfrm>
            <a:off x="1973363" y="391630"/>
            <a:ext cx="6926892" cy="151872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3" name="Content Placeholder 2"/>
          <p:cNvSpPr txBox="1">
            <a:spLocks/>
          </p:cNvSpPr>
          <p:nvPr/>
        </p:nvSpPr>
        <p:spPr>
          <a:xfrm>
            <a:off x="471714" y="2388510"/>
            <a:ext cx="6447972" cy="20774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400" dirty="0" smtClean="0"/>
              <a:t>World’s </a:t>
            </a:r>
            <a:r>
              <a:rPr lang="en-US" sz="2400" dirty="0"/>
              <a:t>best-selling computer screen </a:t>
            </a:r>
            <a:r>
              <a:rPr lang="en-US" sz="2400" dirty="0" smtClean="0"/>
              <a:t>reader and screen magnifier (JAWS and Zoom Text)</a:t>
            </a:r>
            <a:endParaRPr lang="en-US" sz="24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400" dirty="0" smtClean="0"/>
              <a:t>Provider of magnifiers and braille displays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400" dirty="0" smtClean="0"/>
              <a:t>Distributed in over 70 countries worldwide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sz="2400" dirty="0" smtClean="0"/>
              <a:t>Most Fortune 1000 companies use our products </a:t>
            </a:r>
            <a:endParaRPr lang="en-US" sz="2400" dirty="0"/>
          </a:p>
        </p:txBody>
      </p:sp>
      <p:pic>
        <p:nvPicPr>
          <p:cNvPr id="64" name="Picture 63" descr="CompliancePlus logo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681" y="4698263"/>
            <a:ext cx="2011138" cy="387427"/>
          </a:xfrm>
          <a:prstGeom prst="rect">
            <a:avLst/>
          </a:prstGeom>
        </p:spPr>
      </p:pic>
      <p:pic>
        <p:nvPicPr>
          <p:cNvPr id="33" name="Picture 2" descr="VFO logo showing sub-brands Ai Squared, Freedom Scientific, and Optelec"/>
          <p:cNvPicPr>
            <a:picLocks noChangeAspect="1" noChangeArrowheads="1"/>
          </p:cNvPicPr>
          <p:nvPr/>
        </p:nvPicPr>
        <p:blipFill>
          <a:blip r:embed="rId21" cstate="print"/>
          <a:srcRect t="5342" b="10703"/>
          <a:stretch>
            <a:fillRect/>
          </a:stretch>
        </p:blipFill>
        <p:spPr bwMode="auto">
          <a:xfrm>
            <a:off x="0" y="374806"/>
            <a:ext cx="2112904" cy="1615668"/>
          </a:xfrm>
          <a:prstGeom prst="rect">
            <a:avLst/>
          </a:prstGeom>
          <a:noFill/>
        </p:spPr>
      </p:pic>
      <p:pic>
        <p:nvPicPr>
          <p:cNvPr id="2" name="Picture 1" descr="JAWS logo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2466" y="2426999"/>
            <a:ext cx="1603794" cy="1069198"/>
          </a:xfrm>
          <a:prstGeom prst="rect">
            <a:avLst/>
          </a:prstGeom>
        </p:spPr>
      </p:pic>
      <p:pic>
        <p:nvPicPr>
          <p:cNvPr id="5" name="Picture 4" descr="Zoomtext logo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0658" y="3892503"/>
            <a:ext cx="1587410" cy="272128"/>
          </a:xfrm>
          <a:prstGeom prst="rect">
            <a:avLst/>
          </a:prstGeom>
        </p:spPr>
      </p:pic>
      <p:pic>
        <p:nvPicPr>
          <p:cNvPr id="40" name="Picture 39" descr="Sitecues logo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7598" y="5567193"/>
            <a:ext cx="1953530" cy="462876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2083310" y="568422"/>
            <a:ext cx="6802705" cy="1143000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World leader in vision accessibility and accommodation for 40 years</a:t>
            </a:r>
          </a:p>
        </p:txBody>
      </p:sp>
    </p:spTree>
    <p:extLst>
      <p:ext uri="{BB962C8B-B14F-4D97-AF65-F5344CB8AC3E}">
        <p14:creationId xmlns:p14="http://schemas.microsoft.com/office/powerpoint/2010/main" val="1958871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538480" y="1746603"/>
            <a:ext cx="2459570" cy="375765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73152" tIns="73152" rIns="73152" bIns="73152" anchor="ctr" anchorCtr="0">
            <a:noAutofit/>
          </a:bodyPr>
          <a:lstStyle/>
          <a:p>
            <a:pPr marL="0" indent="0">
              <a:buNone/>
            </a:pPr>
            <a:r>
              <a:rPr lang="en-US" sz="2400" b="1" i="1" dirty="0" smtClean="0">
                <a:solidFill>
                  <a:schemeClr val="bg1"/>
                </a:solidFill>
                <a:cs typeface="Arial"/>
              </a:rPr>
              <a:t>“Why do organizations struggle to make their websites accessible?”</a:t>
            </a:r>
          </a:p>
        </p:txBody>
      </p:sp>
      <p:graphicFrame>
        <p:nvGraphicFramePr>
          <p:cNvPr id="20" name="Table 19" descr="Organizational Challenges&#10;1)  Awareness&#10;2)  Compliance vs. usability mind set&#10;3)  Technology, logistics, and cost&#10;4)  Complexity&#10;5)  Customization&#10;6)  Inadequate testing&#10;7)  Concern over impact on design &amp; functionality           &#10;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4009062"/>
              </p:ext>
            </p:extLst>
          </p:nvPr>
        </p:nvGraphicFramePr>
        <p:xfrm>
          <a:off x="3616960" y="1746603"/>
          <a:ext cx="5029200" cy="37576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29200"/>
              </a:tblGrid>
              <a:tr h="557255">
                <a:tc>
                  <a:txBody>
                    <a:bodyPr/>
                    <a:lstStyle/>
                    <a:p>
                      <a:r>
                        <a:rPr lang="en-IE" sz="1900" dirty="0" smtClean="0"/>
                        <a:t>Organizational Challenges</a:t>
                      </a:r>
                    </a:p>
                  </a:txBody>
                  <a:tcPr marL="72000" marR="72000" marT="72000" marB="72000" anchor="ctr"/>
                </a:tc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IE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)  Awareness</a:t>
                      </a:r>
                    </a:p>
                  </a:txBody>
                  <a:tcPr marL="72000" marR="72000" marT="72000" marB="72000" anchor="ctr"/>
                </a:tc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IE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)  Compliance vs. usability </a:t>
                      </a:r>
                      <a:r>
                        <a:rPr lang="en-IE" sz="1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nd set</a:t>
                      </a:r>
                      <a:endParaRPr lang="en-IE" sz="1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2000" marT="72000" marB="72000" anchor="ctr"/>
                </a:tc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IE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)  Technology, logistics, and cost</a:t>
                      </a:r>
                    </a:p>
                  </a:txBody>
                  <a:tcPr marL="72000" marR="72000" marT="72000" marB="72000" anchor="ctr"/>
                </a:tc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IE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)  Complexity</a:t>
                      </a:r>
                    </a:p>
                  </a:txBody>
                  <a:tcPr marL="72000" marR="72000" marT="72000" marB="72000" anchor="ctr"/>
                </a:tc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IE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)  Customization</a:t>
                      </a:r>
                    </a:p>
                  </a:txBody>
                  <a:tcPr marL="72000" marR="72000" marT="72000" marB="72000" anchor="ctr"/>
                </a:tc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IE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)  Inadequate testing</a:t>
                      </a:r>
                    </a:p>
                  </a:txBody>
                  <a:tcPr marL="72000" marR="72000" marT="72000" marB="72000" anchor="ctr"/>
                </a:tc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IE" sz="1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)  Concern over impact on design &amp; functionality           </a:t>
                      </a:r>
                    </a:p>
                  </a:txBody>
                  <a:tcPr marL="72000" marR="72000" marT="72000" marB="72000" anchor="ctr"/>
                </a:tc>
              </a:tr>
            </a:tbl>
          </a:graphicData>
        </a:graphic>
      </p:graphicFrame>
      <p:sp>
        <p:nvSpPr>
          <p:cNvPr id="22" name="Rectangle 21"/>
          <p:cNvSpPr/>
          <p:nvPr/>
        </p:nvSpPr>
        <p:spPr>
          <a:xfrm>
            <a:off x="457200" y="5709757"/>
            <a:ext cx="846767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Aft>
                <a:spcPts val="450"/>
              </a:spcAft>
              <a:buSzPct val="125000"/>
            </a:pPr>
            <a:r>
              <a:rPr lang="en-IE" sz="1000" dirty="0">
                <a:cs typeface="Gotham Narrow Book"/>
              </a:rPr>
              <a:t>Source:  WebAIM 2014 Web Accessibility Practitioners </a:t>
            </a:r>
            <a:r>
              <a:rPr lang="en-IE" sz="1000" dirty="0" smtClean="0">
                <a:cs typeface="Gotham Narrow Book"/>
              </a:rPr>
              <a:t>Survey; PEAT </a:t>
            </a:r>
            <a:r>
              <a:rPr lang="en-IE" sz="1000" dirty="0">
                <a:cs typeface="Gotham Narrow Book"/>
              </a:rPr>
              <a:t>2015 report: eRecruiting &amp; Accessibility: Is HR Technology Hurting Your Bottom Line</a:t>
            </a:r>
          </a:p>
        </p:txBody>
      </p:sp>
      <p:sp>
        <p:nvSpPr>
          <p:cNvPr id="3" name="Isosceles Triangle 2"/>
          <p:cNvSpPr/>
          <p:nvPr/>
        </p:nvSpPr>
        <p:spPr>
          <a:xfrm rot="5400000">
            <a:off x="2406525" y="3488572"/>
            <a:ext cx="1801960" cy="273716"/>
          </a:xfrm>
          <a:prstGeom prst="triangl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07529"/>
            <a:ext cx="8229600" cy="1077218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/>
              <a:t>Addressing organizational barriers </a:t>
            </a:r>
            <a:br>
              <a:rPr lang="en-IE" sz="3200" dirty="0"/>
            </a:br>
            <a:r>
              <a:rPr lang="en-IE" sz="3200" dirty="0"/>
              <a:t>is also importa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-6816" y="6322595"/>
            <a:ext cx="9144000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 smtClean="0"/>
              <a:t>The right technology can help overcome many barriers</a:t>
            </a:r>
            <a:endParaRPr lang="en-US" sz="2400" kern="1200" dirty="0" smtClean="0"/>
          </a:p>
        </p:txBody>
      </p:sp>
    </p:spTree>
    <p:extLst>
      <p:ext uri="{BB962C8B-B14F-4D97-AF65-F5344CB8AC3E}">
        <p14:creationId xmlns:p14="http://schemas.microsoft.com/office/powerpoint/2010/main" val="1301982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/>
              <a:t>How do we assess accessibility vs. usability?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57199" y="1253789"/>
            <a:ext cx="8427721" cy="44326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35" name="TextBox 34"/>
          <p:cNvSpPr txBox="1">
            <a:spLocks/>
          </p:cNvSpPr>
          <p:nvPr/>
        </p:nvSpPr>
        <p:spPr>
          <a:xfrm>
            <a:off x="599179" y="1382611"/>
            <a:ext cx="3972733" cy="48521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2000" b="1" dirty="0" smtClean="0"/>
              <a:t>Accessibility</a:t>
            </a:r>
            <a:endParaRPr lang="en-US" sz="2000" b="1" dirty="0"/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4770205" y="1382611"/>
            <a:ext cx="3972733" cy="48521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2000" b="1" dirty="0" smtClean="0"/>
              <a:t>Usability</a:t>
            </a:r>
            <a:endParaRPr lang="en-US" sz="2000" b="1" dirty="0"/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599179" y="1954477"/>
            <a:ext cx="3972733" cy="839136"/>
          </a:xfrm>
          <a:prstGeom prst="rect">
            <a:avLst/>
          </a:prstGeom>
          <a:solidFill>
            <a:srgbClr val="D0D8E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2400" b="1"/>
            </a:lvl1pPr>
          </a:lstStyle>
          <a:p>
            <a:pPr algn="l"/>
            <a:r>
              <a:rPr lang="en-US" sz="2000" b="0" dirty="0">
                <a:solidFill>
                  <a:schemeClr val="tx1"/>
                </a:solidFill>
              </a:rPr>
              <a:t>… </a:t>
            </a:r>
            <a:r>
              <a:rPr lang="en-US" sz="2000" dirty="0">
                <a:solidFill>
                  <a:schemeClr val="tx1"/>
                </a:solidFill>
              </a:rPr>
              <a:t>evaluated</a:t>
            </a:r>
            <a:r>
              <a:rPr lang="en-US" sz="2000" b="0" dirty="0">
                <a:solidFill>
                  <a:srgbClr val="C00000"/>
                </a:solidFill>
              </a:rPr>
              <a:t> </a:t>
            </a:r>
            <a:r>
              <a:rPr lang="en-US" sz="2000" b="0" dirty="0">
                <a:solidFill>
                  <a:schemeClr val="tx1"/>
                </a:solidFill>
              </a:rPr>
              <a:t>based on adherence to guidelines and </a:t>
            </a:r>
            <a:r>
              <a:rPr lang="en-US" sz="2000" b="0" dirty="0" smtClean="0">
                <a:solidFill>
                  <a:schemeClr val="tx1"/>
                </a:solidFill>
              </a:rPr>
              <a:t>standards</a:t>
            </a:r>
            <a:endParaRPr lang="en-US" sz="2000" b="0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4770205" y="1954477"/>
            <a:ext cx="3972733" cy="839136"/>
          </a:xfrm>
          <a:prstGeom prst="rect">
            <a:avLst/>
          </a:prstGeom>
          <a:solidFill>
            <a:srgbClr val="D0D8E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2400" b="1"/>
            </a:lvl1pPr>
          </a:lstStyle>
          <a:p>
            <a:pPr algn="l"/>
            <a:r>
              <a:rPr lang="en-US" sz="2000" b="0" dirty="0">
                <a:solidFill>
                  <a:srgbClr val="000000"/>
                </a:solidFill>
              </a:rPr>
              <a:t>… </a:t>
            </a:r>
            <a:r>
              <a:rPr lang="en-US" sz="2000" dirty="0">
                <a:solidFill>
                  <a:srgbClr val="000000"/>
                </a:solidFill>
              </a:rPr>
              <a:t>measured</a:t>
            </a:r>
            <a:r>
              <a:rPr lang="en-US" sz="2000" b="0" dirty="0">
                <a:solidFill>
                  <a:srgbClr val="00B050"/>
                </a:solidFill>
              </a:rPr>
              <a:t> </a:t>
            </a:r>
            <a:r>
              <a:rPr lang="en-US" sz="2000" b="0" dirty="0">
                <a:solidFill>
                  <a:schemeClr val="tx1"/>
                </a:solidFill>
              </a:rPr>
              <a:t>based on user impact and </a:t>
            </a:r>
            <a:r>
              <a:rPr lang="en-US" sz="2000" b="0" dirty="0" smtClean="0">
                <a:solidFill>
                  <a:schemeClr val="tx1"/>
                </a:solidFill>
              </a:rPr>
              <a:t>feedback</a:t>
            </a:r>
            <a:endParaRPr lang="en-US" sz="2000" b="0" dirty="0">
              <a:solidFill>
                <a:schemeClr val="tx1"/>
              </a:solidFill>
            </a:endParaRPr>
          </a:p>
        </p:txBody>
      </p:sp>
      <p:sp>
        <p:nvSpPr>
          <p:cNvPr id="10" name="TextBox 9" descr="Section 508"/>
          <p:cNvSpPr txBox="1">
            <a:spLocks/>
          </p:cNvSpPr>
          <p:nvPr/>
        </p:nvSpPr>
        <p:spPr>
          <a:xfrm>
            <a:off x="1706040" y="4240694"/>
            <a:ext cx="1937134" cy="839136"/>
          </a:xfrm>
          <a:prstGeom prst="bevel">
            <a:avLst>
              <a:gd name="adj" fmla="val 7392"/>
            </a:avLst>
          </a:prstGeom>
          <a:solidFill>
            <a:schemeClr val="tx2"/>
          </a:solidFill>
          <a:ln w="1905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algn="ctr"/>
            <a:r>
              <a:rPr lang="en-US" b="1" dirty="0">
                <a:solidFill>
                  <a:schemeClr val="bg1"/>
                </a:solidFill>
              </a:rPr>
              <a:t>Section </a:t>
            </a:r>
            <a:r>
              <a:rPr lang="en-US" b="1" dirty="0" smtClean="0">
                <a:solidFill>
                  <a:schemeClr val="bg1"/>
                </a:solidFill>
              </a:rPr>
              <a:t>508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4846029" y="2766599"/>
            <a:ext cx="1907116" cy="83913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2400" b="1"/>
            </a:lvl1pPr>
          </a:lstStyle>
          <a:p>
            <a:r>
              <a:rPr lang="en-US" sz="1800" b="0" dirty="0">
                <a:solidFill>
                  <a:schemeClr val="tx1"/>
                </a:solidFill>
              </a:rPr>
              <a:t>Speed to complete task</a:t>
            </a:r>
          </a:p>
        </p:txBody>
      </p:sp>
      <p:sp>
        <p:nvSpPr>
          <p:cNvPr id="12" name="TextBox 11"/>
          <p:cNvSpPr txBox="1">
            <a:spLocks/>
          </p:cNvSpPr>
          <p:nvPr/>
        </p:nvSpPr>
        <p:spPr>
          <a:xfrm>
            <a:off x="7146955" y="2772326"/>
            <a:ext cx="1478590" cy="83913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2400" b="1"/>
            </a:lvl1pPr>
          </a:lstStyle>
          <a:p>
            <a:r>
              <a:rPr lang="en-US" sz="1800" b="0" dirty="0">
                <a:solidFill>
                  <a:schemeClr val="tx1"/>
                </a:solidFill>
              </a:rPr>
              <a:t>Task error rate</a:t>
            </a: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6153818" y="4017183"/>
            <a:ext cx="1448089" cy="83913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 sz="2400" b="1"/>
            </a:lvl1pPr>
          </a:lstStyle>
          <a:p>
            <a:r>
              <a:rPr lang="en-US" sz="1800" b="0" dirty="0">
                <a:solidFill>
                  <a:schemeClr val="tx1"/>
                </a:solidFill>
              </a:rPr>
              <a:t>Information retention</a:t>
            </a:r>
          </a:p>
        </p:txBody>
      </p:sp>
      <p:pic>
        <p:nvPicPr>
          <p:cNvPr id="1028" name="Picture 4" descr="Speed to complete task icon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2364" y="3514169"/>
            <a:ext cx="726525" cy="7265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 descr="Task error rate icon"/>
          <p:cNvPicPr>
            <a:picLocks noChangeAspect="1"/>
          </p:cNvPicPr>
          <p:nvPr/>
        </p:nvPicPr>
        <p:blipFill rotWithShape="1">
          <a:blip r:embed="rId4"/>
          <a:srcRect l="33606" t="23257" r="31828" b="44495"/>
          <a:stretch/>
        </p:blipFill>
        <p:spPr>
          <a:xfrm>
            <a:off x="7563995" y="3649370"/>
            <a:ext cx="592061" cy="517847"/>
          </a:xfrm>
          <a:prstGeom prst="rect">
            <a:avLst/>
          </a:prstGeom>
        </p:spPr>
      </p:pic>
      <p:pic>
        <p:nvPicPr>
          <p:cNvPr id="1030" name="Picture 6" descr="information retention icon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728" y="4784066"/>
            <a:ext cx="707977" cy="70797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WCAG 2.0 ICON"/>
          <p:cNvPicPr>
            <a:picLocks noChangeAspect="1"/>
          </p:cNvPicPr>
          <p:nvPr/>
        </p:nvPicPr>
        <p:blipFill rotWithShape="1">
          <a:blip r:embed="rId6"/>
          <a:srcRect t="16300" b="16300"/>
          <a:stretch/>
        </p:blipFill>
        <p:spPr>
          <a:xfrm>
            <a:off x="1859640" y="3230478"/>
            <a:ext cx="1562100" cy="71901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-6816" y="6322595"/>
            <a:ext cx="9144000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/>
              <a:t>Accessibility projects can benefit from usability measurement</a:t>
            </a:r>
          </a:p>
        </p:txBody>
      </p:sp>
    </p:spTree>
    <p:extLst>
      <p:ext uri="{BB962C8B-B14F-4D97-AF65-F5344CB8AC3E}">
        <p14:creationId xmlns:p14="http://schemas.microsoft.com/office/powerpoint/2010/main" val="2533755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85750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n-IN" sz="5400" dirty="0"/>
              <a:t>Solutions to improve accessibility in higher </a:t>
            </a:r>
            <a:r>
              <a:rPr lang="en-IN" sz="5400" dirty="0" err="1" smtClean="0"/>
              <a:t>ed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399185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00795" y="83468"/>
            <a:ext cx="8470346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Tools for website access &amp; usability</a:t>
            </a:r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457200" y="2268278"/>
            <a:ext cx="1911815" cy="324757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 bwMode="auto">
          <a:xfrm>
            <a:off x="457070" y="1060339"/>
            <a:ext cx="1914646" cy="1087656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914400">
              <a:buClr>
                <a:schemeClr val="accent1"/>
              </a:buClr>
              <a:buSzPct val="125000"/>
              <a:buFont typeface="Arial" panose="020B0604020202020204" pitchFamily="34" charset="0"/>
              <a:buNone/>
            </a:pPr>
            <a:r>
              <a:rPr lang="en-US" b="1" dirty="0">
                <a:solidFill>
                  <a:schemeClr val="bg1"/>
                </a:solidFill>
                <a:latin typeface="+mj-lt"/>
              </a:rPr>
              <a:t>Font resizer</a:t>
            </a:r>
          </a:p>
        </p:txBody>
      </p:sp>
      <p:pic>
        <p:nvPicPr>
          <p:cNvPr id="27" name="Picture 26" descr="font resizer 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3533" y="2420391"/>
            <a:ext cx="639148" cy="639148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2563128" y="2268278"/>
            <a:ext cx="1911815" cy="324757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/>
        </p:nvSpPr>
        <p:spPr bwMode="auto">
          <a:xfrm>
            <a:off x="2562998" y="1060339"/>
            <a:ext cx="1914646" cy="1087656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914400">
              <a:buClr>
                <a:schemeClr val="accent1"/>
              </a:buClr>
              <a:buSzPct val="125000"/>
              <a:buFont typeface="Arial" panose="020B0604020202020204" pitchFamily="34" charset="0"/>
              <a:buNone/>
            </a:pPr>
            <a:r>
              <a:rPr lang="en-US" b="1" dirty="0">
                <a:solidFill>
                  <a:schemeClr val="bg1"/>
                </a:solidFill>
                <a:latin typeface="+mj-lt"/>
              </a:rPr>
              <a:t>Alternative View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643763" y="3273955"/>
            <a:ext cx="1750544" cy="307777"/>
          </a:xfrm>
          <a:prstGeom prst="rect">
            <a:avLst/>
          </a:prstGeom>
          <a:noFill/>
          <a:ln w="12700">
            <a:noFill/>
          </a:ln>
        </p:spPr>
        <p:txBody>
          <a:bodyPr wrap="none" lIns="91440" tIns="45720" rIns="91440" bIns="45720" rtlCol="0" anchor="ctr" anchorCtr="0">
            <a:spAutoFit/>
          </a:bodyPr>
          <a:lstStyle/>
          <a:p>
            <a:r>
              <a:rPr lang="en-US" sz="1400" dirty="0"/>
              <a:t>www.readability.com</a:t>
            </a:r>
          </a:p>
        </p:txBody>
      </p:sp>
      <p:pic>
        <p:nvPicPr>
          <p:cNvPr id="30" name="Picture 29" descr="readability logo 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9310" y="2420392"/>
            <a:ext cx="1739451" cy="869726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Rectangle 24"/>
          <p:cNvSpPr/>
          <p:nvPr/>
        </p:nvSpPr>
        <p:spPr>
          <a:xfrm>
            <a:off x="6774985" y="2268278"/>
            <a:ext cx="1911815" cy="380232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/>
          <p:cNvSpPr/>
          <p:nvPr/>
        </p:nvSpPr>
        <p:spPr bwMode="auto">
          <a:xfrm>
            <a:off x="6774985" y="1060339"/>
            <a:ext cx="1911815" cy="1087656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914400">
              <a:buClr>
                <a:schemeClr val="accent1"/>
              </a:buClr>
              <a:buSzPct val="125000"/>
              <a:buFont typeface="Arial" panose="020B0604020202020204" pitchFamily="34" charset="0"/>
              <a:buNone/>
            </a:pPr>
            <a:r>
              <a:rPr lang="en-US" b="1" dirty="0" smtClean="0">
                <a:solidFill>
                  <a:schemeClr val="bg1"/>
                </a:solidFill>
                <a:latin typeface="+mj-lt"/>
              </a:rPr>
              <a:t>Multifunction</a:t>
            </a:r>
            <a:endParaRPr lang="en-US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9056" y="2268278"/>
            <a:ext cx="1911815" cy="3247573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/>
          <p:cNvSpPr/>
          <p:nvPr/>
        </p:nvSpPr>
        <p:spPr bwMode="auto">
          <a:xfrm>
            <a:off x="4668926" y="1060339"/>
            <a:ext cx="1914646" cy="1087656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 defTabSz="914400">
              <a:buClr>
                <a:schemeClr val="accent1"/>
              </a:buClr>
              <a:buSzPct val="125000"/>
              <a:buFont typeface="Arial" panose="020B0604020202020204" pitchFamily="34" charset="0"/>
              <a:buNone/>
            </a:pPr>
            <a:r>
              <a:rPr lang="en-US" b="1" dirty="0">
                <a:solidFill>
                  <a:schemeClr val="bg1"/>
                </a:solidFill>
                <a:latin typeface="+mj-lt"/>
              </a:rPr>
              <a:t>Speech</a:t>
            </a:r>
          </a:p>
        </p:txBody>
      </p:sp>
      <p:pic>
        <p:nvPicPr>
          <p:cNvPr id="39" name="Picture 38" descr="recite logo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74" t="15280" r="9195" b="24922"/>
          <a:stretch/>
        </p:blipFill>
        <p:spPr>
          <a:xfrm>
            <a:off x="6963271" y="3114923"/>
            <a:ext cx="1511139" cy="372435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6849386" y="3425100"/>
            <a:ext cx="1750544" cy="307777"/>
          </a:xfrm>
          <a:prstGeom prst="rect">
            <a:avLst/>
          </a:prstGeom>
          <a:noFill/>
          <a:ln w="12700">
            <a:noFill/>
          </a:ln>
        </p:spPr>
        <p:txBody>
          <a:bodyPr wrap="square" lIns="91440" tIns="45720" rIns="91440" bIns="45720" rtlCol="0" anchor="ctr" anchorCtr="0">
            <a:spAutoFit/>
          </a:bodyPr>
          <a:lstStyle/>
          <a:p>
            <a:r>
              <a:rPr lang="en-US" sz="1400" dirty="0"/>
              <a:t>www.reciteme.com</a:t>
            </a:r>
          </a:p>
        </p:txBody>
      </p:sp>
      <p:pic>
        <p:nvPicPr>
          <p:cNvPr id="42" name="Picture 41" descr="read speaker logo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493" y="2442562"/>
            <a:ext cx="1842940" cy="275019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4749691" y="2774043"/>
            <a:ext cx="1750544" cy="307777"/>
          </a:xfrm>
          <a:prstGeom prst="rect">
            <a:avLst/>
          </a:prstGeom>
          <a:noFill/>
          <a:ln w="12700">
            <a:noFill/>
          </a:ln>
        </p:spPr>
        <p:txBody>
          <a:bodyPr wrap="none" lIns="45720" tIns="45720" rIns="45720" bIns="45720" rtlCol="0" anchor="ctr" anchorCtr="0">
            <a:noAutofit/>
          </a:bodyPr>
          <a:lstStyle/>
          <a:p>
            <a:pPr algn="ctr"/>
            <a:r>
              <a:rPr lang="en-US" sz="1400" dirty="0" smtClean="0"/>
              <a:t>www.readspeaker.com</a:t>
            </a:r>
            <a:endParaRPr lang="en-US" sz="1400" dirty="0"/>
          </a:p>
        </p:txBody>
      </p:sp>
      <p:pic>
        <p:nvPicPr>
          <p:cNvPr id="45" name="Content Placeholder 3" descr="capti logo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53" t="12651" r="11857" b="11938"/>
          <a:stretch/>
        </p:blipFill>
        <p:spPr>
          <a:xfrm>
            <a:off x="4971167" y="3313493"/>
            <a:ext cx="1307592" cy="631496"/>
          </a:xfrm>
          <a:prstGeom prst="rect">
            <a:avLst/>
          </a:prstGeom>
          <a:ln>
            <a:noFill/>
          </a:ln>
        </p:spPr>
      </p:pic>
      <p:sp>
        <p:nvSpPr>
          <p:cNvPr id="46" name="TextBox 45"/>
          <p:cNvSpPr txBox="1"/>
          <p:nvPr/>
        </p:nvSpPr>
        <p:spPr>
          <a:xfrm>
            <a:off x="4749691" y="4022986"/>
            <a:ext cx="1750544" cy="307777"/>
          </a:xfrm>
          <a:prstGeom prst="rect">
            <a:avLst/>
          </a:prstGeom>
          <a:noFill/>
          <a:ln w="12700">
            <a:noFill/>
          </a:ln>
        </p:spPr>
        <p:txBody>
          <a:bodyPr wrap="none" lIns="91440" tIns="45720" rIns="91440" bIns="45720" rtlCol="0" anchor="ctr" anchorCtr="0">
            <a:spAutoFit/>
          </a:bodyPr>
          <a:lstStyle/>
          <a:p>
            <a:pPr algn="ctr" defTabSz="966788" fontAlgn="base">
              <a:spcBef>
                <a:spcPts val="300"/>
              </a:spcBef>
              <a:spcAft>
                <a:spcPct val="0"/>
              </a:spcAft>
              <a:buSzPct val="100000"/>
              <a:tabLst>
                <a:tab pos="2298700" algn="l"/>
              </a:tabLst>
            </a:pPr>
            <a:r>
              <a:rPr lang="en-US" sz="1400" dirty="0"/>
              <a:t>www.captivoice.com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49273" y="4113928"/>
            <a:ext cx="1693543" cy="307777"/>
          </a:xfrm>
          <a:prstGeom prst="rect">
            <a:avLst/>
          </a:prstGeom>
          <a:noFill/>
          <a:ln w="12700">
            <a:noFill/>
          </a:ln>
        </p:spPr>
        <p:txBody>
          <a:bodyPr wrap="none" lIns="91440" tIns="45720" rIns="91440" bIns="45720" rtlCol="0" anchor="ctr" anchorCtr="0">
            <a:spAutoFit/>
          </a:bodyPr>
          <a:lstStyle/>
          <a:p>
            <a:r>
              <a:rPr lang="en-US" sz="1400" dirty="0" smtClean="0"/>
              <a:t>www.usablenet.com</a:t>
            </a:r>
            <a:endParaRPr lang="en-US" sz="1400" dirty="0"/>
          </a:p>
        </p:txBody>
      </p:sp>
      <p:pic>
        <p:nvPicPr>
          <p:cNvPr id="5" name="Picture 4" descr="usablenet log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49310" y="3633638"/>
            <a:ext cx="1679400" cy="404463"/>
          </a:xfrm>
          <a:prstGeom prst="rect">
            <a:avLst/>
          </a:prstGeom>
        </p:spPr>
      </p:pic>
      <p:pic>
        <p:nvPicPr>
          <p:cNvPr id="34" name="Picture 33" descr="browse aloud logo">
            <a:hlinkClick r:id="rId9"/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0" t="27118" r="11746" b="26729"/>
          <a:stretch/>
        </p:blipFill>
        <p:spPr>
          <a:xfrm>
            <a:off x="6893516" y="3917971"/>
            <a:ext cx="1657815" cy="37609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927382" y="4242160"/>
            <a:ext cx="15808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/>
              <a:t>www.texthelp.com</a:t>
            </a:r>
          </a:p>
        </p:txBody>
      </p:sp>
      <p:pic>
        <p:nvPicPr>
          <p:cNvPr id="4" name="Picture 3" descr="audio eye logo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3271" y="4611612"/>
            <a:ext cx="1511139" cy="508000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6849386" y="5071416"/>
            <a:ext cx="1750544" cy="307777"/>
          </a:xfrm>
          <a:prstGeom prst="rect">
            <a:avLst/>
          </a:prstGeom>
          <a:noFill/>
          <a:ln w="12700">
            <a:noFill/>
          </a:ln>
        </p:spPr>
        <p:txBody>
          <a:bodyPr wrap="none" lIns="45720" tIns="45720" rIns="45720" bIns="45720" rtlCol="0" anchor="ctr" anchorCtr="0">
            <a:noAutofit/>
          </a:bodyPr>
          <a:lstStyle/>
          <a:p>
            <a:pPr algn="ctr"/>
            <a:r>
              <a:rPr lang="en-US" sz="1400" dirty="0" smtClean="0"/>
              <a:t>www.audioeye.com</a:t>
            </a:r>
            <a:endParaRPr lang="en-US" sz="1400" dirty="0"/>
          </a:p>
        </p:txBody>
      </p:sp>
      <p:pic>
        <p:nvPicPr>
          <p:cNvPr id="38" name="Picture 37" descr="essential accessibility logo">
            <a:hlinkClick r:id="rId12"/>
          </p:cNvPr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12" r="5185" b="35726"/>
          <a:stretch/>
        </p:blipFill>
        <p:spPr>
          <a:xfrm>
            <a:off x="2749273" y="4610147"/>
            <a:ext cx="1405139" cy="39679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698474" y="4961686"/>
            <a:ext cx="17149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www.essentialaccessiblity.com</a:t>
            </a:r>
            <a:endParaRPr lang="en-US" sz="1400" dirty="0"/>
          </a:p>
        </p:txBody>
      </p:sp>
      <p:sp>
        <p:nvSpPr>
          <p:cNvPr id="44" name="TextBox 43"/>
          <p:cNvSpPr txBox="1"/>
          <p:nvPr/>
        </p:nvSpPr>
        <p:spPr>
          <a:xfrm>
            <a:off x="6855620" y="2699646"/>
            <a:ext cx="1750544" cy="338554"/>
          </a:xfrm>
          <a:prstGeom prst="rect">
            <a:avLst/>
          </a:prstGeom>
          <a:noFill/>
          <a:ln w="12700">
            <a:noFill/>
          </a:ln>
        </p:spPr>
        <p:txBody>
          <a:bodyPr wrap="square" lIns="91440" tIns="45720" rIns="91440" bIns="45720" rtlCol="0" anchor="ctr" anchorCtr="0">
            <a:spAutoFit/>
          </a:bodyPr>
          <a:lstStyle/>
          <a:p>
            <a:pPr marL="0" marR="0" indent="0" algn="ctr" defTabSz="966788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Pct val="100000"/>
              <a:tabLst>
                <a:tab pos="2298700" algn="l"/>
              </a:tabLst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charset="0"/>
              </a:rPr>
              <a:t>www.sitecues.com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80338" y="6191622"/>
            <a:ext cx="7984921" cy="54977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2000" b="1" dirty="0"/>
              <a:t>There are many ways to make websites more accessible and usable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868116" y="5332504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lvl="0" indent="-285750">
              <a:buFont typeface="Arial"/>
              <a:buChar char="•"/>
            </a:pPr>
            <a:r>
              <a:rPr lang="en-US" sz="1400" dirty="0"/>
              <a:t>USER1st</a:t>
            </a:r>
          </a:p>
          <a:p>
            <a:pPr marL="285750" lvl="0" indent="-285750">
              <a:buFont typeface="Arial"/>
              <a:buChar char="•"/>
            </a:pPr>
            <a:r>
              <a:rPr lang="en-US" sz="1400" dirty="0" err="1"/>
              <a:t>Inclusite</a:t>
            </a:r>
            <a:r>
              <a:rPr lang="en-US" sz="1400" dirty="0"/>
              <a:t> </a:t>
            </a:r>
          </a:p>
          <a:p>
            <a:pPr marL="285750" lvl="0" indent="-285750">
              <a:buFont typeface="Arial"/>
              <a:buChar char="•"/>
            </a:pPr>
            <a:r>
              <a:rPr lang="en-US" sz="1400" dirty="0" err="1"/>
              <a:t>FACILiti</a:t>
            </a:r>
            <a:endParaRPr lang="en-US" sz="1400" dirty="0"/>
          </a:p>
        </p:txBody>
      </p:sp>
      <p:pic>
        <p:nvPicPr>
          <p:cNvPr id="47" name="Picture 46" descr="Sitecues logo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3026" y="2387020"/>
            <a:ext cx="1369606" cy="324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2398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580338" y="1396371"/>
            <a:ext cx="7984921" cy="468608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57200" y="307529"/>
            <a:ext cx="8229600" cy="1077218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Offer additional functionality </a:t>
            </a:r>
            <a:br>
              <a:rPr lang="en-US" sz="3200" dirty="0"/>
            </a:br>
            <a:r>
              <a:rPr lang="en-US" sz="3200" dirty="0"/>
              <a:t>to allow users to customize</a:t>
            </a:r>
          </a:p>
        </p:txBody>
      </p:sp>
      <p:pic>
        <p:nvPicPr>
          <p:cNvPr id="4" name="Picture 3" descr="Zoom Icon 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098" y="2637766"/>
            <a:ext cx="1446068" cy="1125682"/>
          </a:xfrm>
          <a:prstGeom prst="rect">
            <a:avLst/>
          </a:prstGeom>
        </p:spPr>
      </p:pic>
      <p:pic>
        <p:nvPicPr>
          <p:cNvPr id="8" name="Picture 7" descr="lens icon 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8430" y="2637766"/>
            <a:ext cx="1446068" cy="1125682"/>
          </a:xfrm>
          <a:prstGeom prst="rect">
            <a:avLst/>
          </a:prstGeom>
        </p:spPr>
      </p:pic>
      <p:pic>
        <p:nvPicPr>
          <p:cNvPr id="5" name="Picture 4" descr="Speech Icon 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663" y="4213721"/>
            <a:ext cx="1446068" cy="1125682"/>
          </a:xfrm>
          <a:prstGeom prst="rect">
            <a:avLst/>
          </a:prstGeom>
        </p:spPr>
      </p:pic>
      <p:pic>
        <p:nvPicPr>
          <p:cNvPr id="7" name="Picture 6" descr="highlights Icon 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0865" y="4213721"/>
            <a:ext cx="1446068" cy="1125682"/>
          </a:xfrm>
          <a:prstGeom prst="rect">
            <a:avLst/>
          </a:prstGeom>
        </p:spPr>
      </p:pic>
      <p:pic>
        <p:nvPicPr>
          <p:cNvPr id="9" name="Picture 8" descr="Colors Icon 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6064" y="4828516"/>
            <a:ext cx="1446068" cy="1125682"/>
          </a:xfrm>
          <a:prstGeom prst="rect">
            <a:avLst/>
          </a:prstGeom>
        </p:spPr>
      </p:pic>
      <p:pic>
        <p:nvPicPr>
          <p:cNvPr id="10" name="Picture 9" descr="Mouse Icon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3465" y="4828516"/>
            <a:ext cx="1446068" cy="1125682"/>
          </a:xfrm>
          <a:prstGeom prst="rect">
            <a:avLst/>
          </a:prstGeom>
        </p:spPr>
      </p:pic>
      <p:pic>
        <p:nvPicPr>
          <p:cNvPr id="12" name="Picture 11" descr="wikipedia page screenshot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25" t="1111" r="36250" b="33519"/>
          <a:stretch/>
        </p:blipFill>
        <p:spPr>
          <a:xfrm>
            <a:off x="2516560" y="1524624"/>
            <a:ext cx="4112476" cy="284647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80338" y="6151814"/>
            <a:ext cx="7984921" cy="54977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2800" b="1" dirty="0" smtClean="0"/>
              <a:t>6 ways to make any online content more usable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024925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4633569" y="3437347"/>
            <a:ext cx="3931690" cy="21426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80338" y="3437347"/>
            <a:ext cx="3931690" cy="214268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>
          <a:xfrm>
            <a:off x="4633569" y="1403124"/>
            <a:ext cx="3931690" cy="203107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580338" y="1403124"/>
            <a:ext cx="3931690" cy="203107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2" name="Picture 1" descr="Saas icon" title="SaaS Cloud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8056" y="1555672"/>
            <a:ext cx="2382717" cy="1725977"/>
          </a:xfrm>
          <a:prstGeom prst="rect">
            <a:avLst/>
          </a:prstGeom>
        </p:spPr>
      </p:pic>
      <p:sp>
        <p:nvSpPr>
          <p:cNvPr id="4" name="Content Placeholder 2"/>
          <p:cNvSpPr txBox="1">
            <a:spLocks/>
          </p:cNvSpPr>
          <p:nvPr/>
        </p:nvSpPr>
        <p:spPr>
          <a:xfrm>
            <a:off x="728146" y="3508415"/>
            <a:ext cx="3636074" cy="200054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228600" indent="-228600" defTabSz="91440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2200"/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Universally designed</a:t>
            </a:r>
          </a:p>
          <a:p>
            <a:pPr>
              <a:spcBef>
                <a:spcPts val="600"/>
              </a:spcBef>
            </a:pPr>
            <a:r>
              <a:rPr lang="en-US" dirty="0"/>
              <a:t>Simple and </a:t>
            </a:r>
            <a:r>
              <a:rPr lang="en-US" dirty="0" smtClean="0"/>
              <a:t>intuitive</a:t>
            </a:r>
          </a:p>
          <a:p>
            <a:pPr>
              <a:spcBef>
                <a:spcPts val="600"/>
              </a:spcBef>
            </a:pPr>
            <a:r>
              <a:rPr lang="en-US" dirty="0"/>
              <a:t>Free to end user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Seamless - just a site feature</a:t>
            </a:r>
          </a:p>
          <a:p>
            <a:pPr>
              <a:spcBef>
                <a:spcPts val="600"/>
              </a:spcBef>
            </a:pPr>
            <a:r>
              <a:rPr lang="en-US" dirty="0" smtClean="0"/>
              <a:t>Putting the user in control</a:t>
            </a:r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784905" y="3544773"/>
            <a:ext cx="3783882" cy="2323713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228600" indent="-228600" defTabSz="914400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2200"/>
            </a:lvl1pPr>
            <a:lvl2pPr marL="6858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/>
            </a:lvl2pPr>
            <a:lvl3pPr marL="11430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/>
            </a:lvl3pPr>
            <a:lvl4pPr marL="16002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4pPr>
            <a:lvl5pPr marL="20574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pPr>
              <a:spcBef>
                <a:spcPts val="600"/>
              </a:spcBef>
            </a:pPr>
            <a:r>
              <a:rPr lang="en-US" sz="2100" dirty="0" smtClean="0"/>
              <a:t>Customizable UX / Functionality</a:t>
            </a:r>
            <a:endParaRPr lang="en-US" sz="2100" dirty="0"/>
          </a:p>
          <a:p>
            <a:pPr>
              <a:spcBef>
                <a:spcPts val="600"/>
              </a:spcBef>
            </a:pPr>
            <a:r>
              <a:rPr lang="en-US" sz="2100" dirty="0" smtClean="0"/>
              <a:t>Turnkey </a:t>
            </a:r>
            <a:r>
              <a:rPr lang="en-US" sz="2100" dirty="0"/>
              <a:t>solution – easy setup </a:t>
            </a:r>
          </a:p>
          <a:p>
            <a:pPr>
              <a:spcBef>
                <a:spcPts val="600"/>
              </a:spcBef>
            </a:pPr>
            <a:r>
              <a:rPr lang="en-US" sz="2100" dirty="0" smtClean="0"/>
              <a:t>Globally </a:t>
            </a:r>
            <a:r>
              <a:rPr lang="en-US" sz="2100" dirty="0"/>
              <a:t>available</a:t>
            </a:r>
          </a:p>
          <a:p>
            <a:pPr>
              <a:spcBef>
                <a:spcPts val="600"/>
              </a:spcBef>
            </a:pPr>
            <a:r>
              <a:rPr lang="en-US" sz="2100" dirty="0" smtClean="0"/>
              <a:t>Measurable impact</a:t>
            </a:r>
          </a:p>
          <a:p>
            <a:pPr>
              <a:spcBef>
                <a:spcPts val="600"/>
              </a:spcBef>
            </a:pPr>
            <a:r>
              <a:rPr lang="en-US" sz="2100" dirty="0" smtClean="0"/>
              <a:t>Delivering </a:t>
            </a:r>
            <a:r>
              <a:rPr lang="en-US" sz="2100" dirty="0"/>
              <a:t>ROI</a:t>
            </a:r>
          </a:p>
          <a:p>
            <a:pPr>
              <a:spcBef>
                <a:spcPts val="600"/>
              </a:spcBef>
            </a:pPr>
            <a:endParaRPr lang="en-US" sz="2100" dirty="0"/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457200" y="307529"/>
            <a:ext cx="8229600" cy="1077218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pPr algn="l"/>
            <a:r>
              <a:rPr lang="en-US" sz="3200" dirty="0"/>
              <a:t>Sitecues is taking a novel approach to AT and accessibility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80338" y="5667975"/>
            <a:ext cx="7984921" cy="665225"/>
          </a:xfrm>
          <a:prstGeom prst="rect">
            <a:avLst/>
          </a:prstGeom>
          <a:solidFill>
            <a:srgbClr val="245FAD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en-US" sz="2200" b="1" dirty="0" smtClean="0"/>
              <a:t>Geared toward usability, rather than compliance</a:t>
            </a:r>
            <a:endParaRPr lang="en-US" sz="2200" b="1" dirty="0"/>
          </a:p>
        </p:txBody>
      </p:sp>
      <p:pic>
        <p:nvPicPr>
          <p:cNvPr id="8" name="Picture 7" descr="Simple light switch logo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272" y="1555672"/>
            <a:ext cx="1249056" cy="1805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3344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5" grpId="0"/>
      <p:bldP spid="1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What is Sitecues?</a:t>
            </a:r>
          </a:p>
        </p:txBody>
      </p:sp>
      <p:pic>
        <p:nvPicPr>
          <p:cNvPr id="2" name="Picture 1" descr="Four sitecues icons when clicked get to additional functionality.  The four icons from left to right are a lightbulb for tips, a settings pane for setting, a comment cloud for rate us and a sitecues icon for about." title="Sitecues secondary panel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861" y="5159713"/>
            <a:ext cx="2671476" cy="769923"/>
          </a:xfrm>
          <a:prstGeom prst="rect">
            <a:avLst/>
          </a:prstGeom>
        </p:spPr>
      </p:pic>
      <p:pic>
        <p:nvPicPr>
          <p:cNvPr id="3" name="Picture 2" descr="Image of sitecues primary badge / panel.  Has a small A the a slider in the middle leading to a big A.  Second button is a talk toggel on button in the shape of head silloette with sound waves coming out of the mouth" title="Sitecues Primary Panel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861" y="4251351"/>
            <a:ext cx="2671476" cy="77044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939282" y="1167307"/>
            <a:ext cx="38184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Sitecues makes websites </a:t>
            </a:r>
          </a:p>
          <a:p>
            <a:r>
              <a:rPr lang="en-US" sz="2000" dirty="0" smtClean="0"/>
              <a:t>more accessible and usable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46849" y="1152674"/>
            <a:ext cx="41299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Sitecues is Software-as-a-Service technology for website owners</a:t>
            </a:r>
            <a:endParaRPr lang="en-US" sz="2000" dirty="0"/>
          </a:p>
        </p:txBody>
      </p:sp>
      <p:pic>
        <p:nvPicPr>
          <p:cNvPr id="4" name="Picture 3" descr="Image of an old man walking&#10;" title="Senor and Boomers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0282" y="2735665"/>
            <a:ext cx="246889" cy="499873"/>
          </a:xfrm>
          <a:prstGeom prst="rect">
            <a:avLst/>
          </a:prstGeom>
        </p:spPr>
      </p:pic>
      <p:pic>
        <p:nvPicPr>
          <p:cNvPr id="10" name="Picture 9" descr="Image of a head with the brain highlighted" title="Learning Disabilities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6368" y="3803681"/>
            <a:ext cx="371857" cy="472441"/>
          </a:xfrm>
          <a:prstGeom prst="rect">
            <a:avLst/>
          </a:prstGeom>
        </p:spPr>
      </p:pic>
      <p:pic>
        <p:nvPicPr>
          <p:cNvPr id="11" name="Picture 10" descr="Image of a person reading" title="Low Literacy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7978" y="3822498"/>
            <a:ext cx="509017" cy="48463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7046303" y="4282648"/>
            <a:ext cx="12235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LEARNING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DISABILITIES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87722" y="4301465"/>
            <a:ext cx="10724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LOW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LITERACY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102647" y="3214632"/>
            <a:ext cx="11859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SENIORS AND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BOOMERS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127913" y="3202380"/>
            <a:ext cx="10724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LOW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VISION</a:t>
            </a:r>
            <a:endParaRPr lang="en-US" sz="1400" dirty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104237" y="3698673"/>
            <a:ext cx="11539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SITUATIONAL</a:t>
            </a:r>
          </a:p>
          <a:p>
            <a:pPr algn="ctr"/>
            <a:r>
              <a:rPr lang="en-US" sz="1400" dirty="0">
                <a:solidFill>
                  <a:schemeClr val="tx2"/>
                </a:solidFill>
              </a:rPr>
              <a:t>N</a:t>
            </a:r>
            <a:r>
              <a:rPr lang="en-US" sz="1400" dirty="0" smtClean="0">
                <a:solidFill>
                  <a:schemeClr val="tx2"/>
                </a:solidFill>
              </a:rPr>
              <a:t>EEDS</a:t>
            </a:r>
            <a:endParaRPr lang="en-US" sz="1400" dirty="0">
              <a:solidFill>
                <a:schemeClr val="tx2"/>
              </a:solidFill>
            </a:endParaRPr>
          </a:p>
        </p:txBody>
      </p:sp>
      <p:pic>
        <p:nvPicPr>
          <p:cNvPr id="20" name="Picture 19" descr="Image of an Eye" title="Low Vision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4412" y="2807232"/>
            <a:ext cx="539497" cy="304801"/>
          </a:xfrm>
          <a:prstGeom prst="rect">
            <a:avLst/>
          </a:prstGeom>
        </p:spPr>
      </p:pic>
      <p:pic>
        <p:nvPicPr>
          <p:cNvPr id="21" name="Picture 20" descr="Image of a laptop computer" title="Situational Needs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6628" y="3225800"/>
            <a:ext cx="579121" cy="460249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223901" y="2007928"/>
            <a:ext cx="4047083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4538" lvl="1" indent="-287338">
              <a:spcAft>
                <a:spcPts val="600"/>
              </a:spcAft>
              <a:buSzPct val="125000"/>
              <a:buFont typeface="Arial"/>
              <a:buChar char="•"/>
            </a:pPr>
            <a:r>
              <a:rPr lang="en-US" sz="1400" dirty="0" smtClean="0">
                <a:cs typeface="Gotham Narrow Book"/>
              </a:rPr>
              <a:t>Build zoom, speech, color themes and other reading enhancements </a:t>
            </a:r>
            <a:r>
              <a:rPr lang="en-US" sz="1400" dirty="0">
                <a:cs typeface="Gotham Narrow Book"/>
              </a:rPr>
              <a:t>into any </a:t>
            </a:r>
            <a:r>
              <a:rPr lang="en-US" sz="1400" dirty="0" smtClean="0">
                <a:cs typeface="Gotham Narrow Book"/>
              </a:rPr>
              <a:t>website</a:t>
            </a:r>
          </a:p>
          <a:p>
            <a:pPr marL="744538" lvl="1" indent="-287338">
              <a:spcAft>
                <a:spcPts val="600"/>
              </a:spcAft>
              <a:buSzPct val="125000"/>
              <a:buFont typeface="Arial"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Website visitors </a:t>
            </a:r>
            <a:r>
              <a:rPr lang="en-US" sz="14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can customize their user experience based on personal needs without impacting </a:t>
            </a:r>
            <a:r>
              <a:rPr lang="en-US" sz="14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others</a:t>
            </a:r>
          </a:p>
          <a:p>
            <a:pPr marL="744538" lvl="1" indent="-287338">
              <a:spcAft>
                <a:spcPts val="600"/>
              </a:spcAft>
              <a:buSzPct val="125000"/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eamlessly integrates into any existing website with </a:t>
            </a:r>
            <a:r>
              <a:rPr lang="en-US" sz="14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minimal </a:t>
            </a:r>
            <a:r>
              <a:rPr lang="en-US" sz="14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effort and without a </a:t>
            </a:r>
            <a:r>
              <a:rPr lang="en-US" sz="14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redesign</a:t>
            </a:r>
            <a:endParaRPr lang="en-US" sz="14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cxnSp>
        <p:nvCxnSpPr>
          <p:cNvPr id="24" name="Straight Connector 23"/>
          <p:cNvCxnSpPr/>
          <p:nvPr/>
        </p:nvCxnSpPr>
        <p:spPr bwMode="auto">
          <a:xfrm>
            <a:off x="4528772" y="1296654"/>
            <a:ext cx="0" cy="4657725"/>
          </a:xfrm>
          <a:prstGeom prst="line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4676797" y="1999461"/>
            <a:ext cx="404708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4538" lvl="1" indent="-287338">
              <a:spcAft>
                <a:spcPts val="600"/>
              </a:spcAft>
              <a:buSzPct val="125000"/>
              <a:buFont typeface="Arial"/>
              <a:buChar char="•"/>
            </a:pPr>
            <a:r>
              <a:rPr lang="en-US" sz="1400" dirty="0" smtClean="0">
                <a:cs typeface="Gotham Narrow Book"/>
              </a:rPr>
              <a:t>For anyone with print challenges</a:t>
            </a:r>
          </a:p>
          <a:p>
            <a:pPr marL="744538" lvl="1" indent="-287338">
              <a:spcAft>
                <a:spcPts val="600"/>
              </a:spcAft>
              <a:buSzPct val="125000"/>
              <a:buFont typeface="Arial"/>
              <a:buChar char="•"/>
            </a:pPr>
            <a:r>
              <a:rPr lang="en-US" sz="1400" dirty="0" smtClean="0">
                <a:cs typeface="Gotham Narrow Book"/>
              </a:rPr>
              <a:t>Or with situational needs</a:t>
            </a:r>
            <a:endParaRPr lang="en-US" sz="140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187722" y="4942265"/>
            <a:ext cx="3082158" cy="335028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</p:spPr>
        <p:txBody>
          <a:bodyPr wrap="square" lIns="73152" tIns="73152" rIns="73152" bIns="73152" rtlCol="0" anchor="ctr" anchorCtr="0">
            <a:no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Over 100M in US*</a:t>
            </a:r>
          </a:p>
        </p:txBody>
      </p:sp>
      <p:sp>
        <p:nvSpPr>
          <p:cNvPr id="8" name="Rectangle 7"/>
          <p:cNvSpPr/>
          <p:nvPr/>
        </p:nvSpPr>
        <p:spPr>
          <a:xfrm>
            <a:off x="4629739" y="5339652"/>
            <a:ext cx="434228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buSzPct val="125000"/>
            </a:pPr>
            <a:r>
              <a:rPr lang="en-US" sz="1100" dirty="0">
                <a:cs typeface="Gotham Narrow Book"/>
              </a:rPr>
              <a:t>Source: US Census, American Community Survey, National Institute of Health, National Adult Literacy Survey, National Health Interview Survey </a:t>
            </a:r>
          </a:p>
        </p:txBody>
      </p:sp>
    </p:spTree>
    <p:extLst>
      <p:ext uri="{BB962C8B-B14F-4D97-AF65-F5344CB8AC3E}">
        <p14:creationId xmlns:p14="http://schemas.microsoft.com/office/powerpoint/2010/main" val="2553577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3" grpId="0"/>
      <p:bldP spid="14" grpId="0"/>
      <p:bldP spid="15" grpId="0"/>
      <p:bldP spid="16" grpId="0"/>
      <p:bldP spid="19" grpId="0"/>
      <p:bldP spid="22" grpId="0"/>
      <p:bldP spid="25" grpId="0" animBg="1"/>
      <p:bldP spid="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215978" y="258072"/>
            <a:ext cx="8855094" cy="908411"/>
          </a:xfrm>
        </p:spPr>
        <p:txBody>
          <a:bodyPr anchor="t" anchorCtr="0">
            <a:noAutofit/>
          </a:bodyPr>
          <a:lstStyle/>
          <a:p>
            <a:r>
              <a:rPr lang="en-US" sz="3600" dirty="0" smtClean="0"/>
              <a:t>Powerful functionality, yet easy-to-use</a:t>
            </a:r>
            <a:endParaRPr lang="en-US" sz="3600" dirty="0"/>
          </a:p>
        </p:txBody>
      </p:sp>
      <p:sp>
        <p:nvSpPr>
          <p:cNvPr id="17" name="Rectangle 16" descr="Zoom&#10;See it bigger&#10;Adjust magnification using the main panel&#10;"/>
          <p:cNvSpPr/>
          <p:nvPr/>
        </p:nvSpPr>
        <p:spPr>
          <a:xfrm>
            <a:off x="263332" y="1166484"/>
            <a:ext cx="2808784" cy="174048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noAutofit/>
          </a:bodyPr>
          <a:lstStyle/>
          <a:p>
            <a:r>
              <a:rPr lang="en-IN" b="1" dirty="0">
                <a:solidFill>
                  <a:schemeClr val="accent1"/>
                </a:solidFill>
              </a:rPr>
              <a:t>Zoom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See it bigger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Adjust magnification using the main panel</a:t>
            </a:r>
            <a:endParaRPr lang="en-IN" sz="1600" dirty="0">
              <a:solidFill>
                <a:schemeClr val="tx1"/>
              </a:solidFill>
            </a:endParaRPr>
          </a:p>
        </p:txBody>
      </p:sp>
      <p:sp>
        <p:nvSpPr>
          <p:cNvPr id="22" name="Rectangle 21" descr="Speech&#10;Read it aloud&#10;With speech on select an area and press &lt;enter&gt;&#10;"/>
          <p:cNvSpPr/>
          <p:nvPr/>
        </p:nvSpPr>
        <p:spPr>
          <a:xfrm>
            <a:off x="3167608" y="1166484"/>
            <a:ext cx="2808784" cy="174048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noAutofit/>
          </a:bodyPr>
          <a:lstStyle/>
          <a:p>
            <a:r>
              <a:rPr lang="en-IN" b="1" dirty="0">
                <a:solidFill>
                  <a:schemeClr val="accent1"/>
                </a:solidFill>
              </a:rPr>
              <a:t>Speech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Read it aloud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With speech on select an area and press &lt;enter&gt;</a:t>
            </a:r>
          </a:p>
        </p:txBody>
      </p:sp>
      <p:sp>
        <p:nvSpPr>
          <p:cNvPr id="23" name="Rectangle 22" descr="Mouse&#10;Change the pointer&#10;Activate through the settings menu&#10;"/>
          <p:cNvSpPr/>
          <p:nvPr/>
        </p:nvSpPr>
        <p:spPr>
          <a:xfrm>
            <a:off x="263332" y="2982293"/>
            <a:ext cx="2808784" cy="174048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noAutofit/>
          </a:bodyPr>
          <a:lstStyle/>
          <a:p>
            <a:r>
              <a:rPr lang="en-IN" b="1" dirty="0">
                <a:solidFill>
                  <a:schemeClr val="accent1"/>
                </a:solidFill>
              </a:rPr>
              <a:t>Mouse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Change the pointer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Activate through the settings menu</a:t>
            </a:r>
          </a:p>
        </p:txBody>
      </p:sp>
      <p:sp>
        <p:nvSpPr>
          <p:cNvPr id="24" name="Rectangle 23" descr="Colors&#10;Select a color theme&#10;Activate through the settings menu&#10;"/>
          <p:cNvSpPr/>
          <p:nvPr/>
        </p:nvSpPr>
        <p:spPr>
          <a:xfrm>
            <a:off x="3167608" y="2982293"/>
            <a:ext cx="2808784" cy="174048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noAutofit/>
          </a:bodyPr>
          <a:lstStyle/>
          <a:p>
            <a:r>
              <a:rPr lang="en-IN" b="1" dirty="0">
                <a:solidFill>
                  <a:schemeClr val="accent1"/>
                </a:solidFill>
              </a:rPr>
              <a:t>Colors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Select a color theme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Activate through the </a:t>
            </a:r>
            <a:r>
              <a:rPr lang="en-IN" sz="1600" dirty="0" smtClean="0"/>
              <a:t> </a:t>
            </a:r>
            <a:r>
              <a:rPr lang="en-IN" sz="1600" dirty="0"/>
              <a:t>settings menu</a:t>
            </a:r>
          </a:p>
        </p:txBody>
      </p:sp>
      <p:sp>
        <p:nvSpPr>
          <p:cNvPr id="25" name="Rectangle 24" descr="Highlights&#10;Create a highlight box&#10;No activation required once zoom or speech are on&#10;"/>
          <p:cNvSpPr/>
          <p:nvPr/>
        </p:nvSpPr>
        <p:spPr>
          <a:xfrm>
            <a:off x="263332" y="4798104"/>
            <a:ext cx="2808784" cy="14557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noAutofit/>
          </a:bodyPr>
          <a:lstStyle/>
          <a:p>
            <a:r>
              <a:rPr lang="en-IN" b="1" dirty="0">
                <a:solidFill>
                  <a:schemeClr val="accent1"/>
                </a:solidFill>
              </a:rPr>
              <a:t>Highlights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Create a highlight box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No activation required once zoom or speech are on</a:t>
            </a:r>
          </a:p>
        </p:txBody>
      </p:sp>
      <p:sp>
        <p:nvSpPr>
          <p:cNvPr id="26" name="Rectangle 25" descr="Lens&#10;Create reading box&#10;Activate by pressing &lt;spacebar&gt;&#10;"/>
          <p:cNvSpPr/>
          <p:nvPr/>
        </p:nvSpPr>
        <p:spPr>
          <a:xfrm>
            <a:off x="3167608" y="4798104"/>
            <a:ext cx="2808784" cy="145574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noAutofit/>
          </a:bodyPr>
          <a:lstStyle/>
          <a:p>
            <a:r>
              <a:rPr lang="en-IN" b="1" dirty="0">
                <a:solidFill>
                  <a:schemeClr val="accent1"/>
                </a:solidFill>
              </a:rPr>
              <a:t>Lens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Create reading box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Activate by pressing &lt;spacebar&gt;</a:t>
            </a:r>
          </a:p>
        </p:txBody>
      </p:sp>
      <p:sp>
        <p:nvSpPr>
          <p:cNvPr id="27" name="Rectangle 26" descr="Additional features:&#10;Mouse and keyboard control&#10;Section 508 compliant&#10;User tips and instructions&#10;Multi-browser support&#10;User feedback and ratings&#10;"/>
          <p:cNvSpPr/>
          <p:nvPr/>
        </p:nvSpPr>
        <p:spPr>
          <a:xfrm>
            <a:off x="6071884" y="1166484"/>
            <a:ext cx="2808784" cy="508735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noAutofit/>
          </a:bodyPr>
          <a:lstStyle/>
          <a:p>
            <a:r>
              <a:rPr lang="en-IN" b="1" dirty="0">
                <a:solidFill>
                  <a:schemeClr val="accent1"/>
                </a:solidFill>
              </a:rPr>
              <a:t>Additional features: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Mouse and keyboard control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Section 508 compliant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User tips and instructions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/>
              <a:t>Multi-browser support</a:t>
            </a:r>
          </a:p>
          <a:p>
            <a:pPr marL="179388" indent="-179388">
              <a:buClr>
                <a:srgbClr val="385D8A"/>
              </a:buClr>
              <a:buFont typeface="Arial" panose="020B0604020202020204" pitchFamily="34" charset="0"/>
              <a:buChar char="•"/>
            </a:pPr>
            <a:r>
              <a:rPr lang="en-IN" sz="1600" dirty="0" smtClean="0"/>
              <a:t>23+ languages</a:t>
            </a:r>
            <a:endParaRPr lang="en-IN" sz="1600" dirty="0"/>
          </a:p>
        </p:txBody>
      </p:sp>
      <p:pic>
        <p:nvPicPr>
          <p:cNvPr id="30" name="Picture 29" descr="Small A and a large A. 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342" y="2324924"/>
            <a:ext cx="1480413" cy="542590"/>
          </a:xfrm>
          <a:prstGeom prst="rect">
            <a:avLst/>
          </a:prstGeom>
        </p:spPr>
      </p:pic>
      <p:pic>
        <p:nvPicPr>
          <p:cNvPr id="31" name="Picture 30" descr="Speech on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4269" y="2324924"/>
            <a:ext cx="695463" cy="501637"/>
          </a:xfrm>
          <a:prstGeom prst="rect">
            <a:avLst/>
          </a:prstGeom>
        </p:spPr>
      </p:pic>
      <p:pic>
        <p:nvPicPr>
          <p:cNvPr id="32" name="Picture 31" descr="Mouse pointer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275" y="3996503"/>
            <a:ext cx="1554480" cy="661035"/>
          </a:xfrm>
          <a:prstGeom prst="rect">
            <a:avLst/>
          </a:prstGeom>
        </p:spPr>
      </p:pic>
      <p:pic>
        <p:nvPicPr>
          <p:cNvPr id="33" name="Picture 32" descr="Color themes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3155" y="4051430"/>
            <a:ext cx="1837690" cy="551180"/>
          </a:xfrm>
          <a:prstGeom prst="rect">
            <a:avLst/>
          </a:prstGeom>
        </p:spPr>
      </p:pic>
      <p:pic>
        <p:nvPicPr>
          <p:cNvPr id="34" name="Picture 33" descr="sitecues secondary panel - the panel is divided into 4 areas: tips (indicated by a light bulb), settings (indicated by a group of vertical sliders), rate us (indicated by a speech bubble), about (indicated by the sitecues logo)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6809" y="2984237"/>
            <a:ext cx="2578935" cy="743074"/>
          </a:xfrm>
          <a:prstGeom prst="rect">
            <a:avLst/>
          </a:prstGeom>
        </p:spPr>
      </p:pic>
      <p:pic>
        <p:nvPicPr>
          <p:cNvPr id="35" name="Picture 34" descr="sitecues badge - the panel is divided into 2 sections.  To the left is a small A and a large A.  To the right is the silhouette of a head turned sideways with lines indicating that they are speaki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8659" y="4069065"/>
            <a:ext cx="2575234" cy="742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66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creen Clippi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56"/>
          <a:stretch/>
        </p:blipFill>
        <p:spPr>
          <a:xfrm>
            <a:off x="1267370" y="1359625"/>
            <a:ext cx="3262649" cy="2633920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>
          <a:xfrm>
            <a:off x="1267370" y="3464520"/>
            <a:ext cx="3262649" cy="5290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IN" sz="1600" b="1" dirty="0" smtClean="0"/>
              <a:t>Academics</a:t>
            </a:r>
            <a:r>
              <a:rPr lang="en-IN" sz="1600" dirty="0" smtClean="0"/>
              <a:t>: http://hss.fullerton.edu/</a:t>
            </a:r>
            <a:br>
              <a:rPr lang="en-IN" sz="1600" dirty="0" smtClean="0"/>
            </a:br>
            <a:r>
              <a:rPr lang="en-IN" sz="1600" dirty="0" smtClean="0"/>
              <a:t>academics</a:t>
            </a:r>
            <a:endParaRPr lang="en-US" sz="1600" dirty="0"/>
          </a:p>
        </p:txBody>
      </p:sp>
      <p:pic>
        <p:nvPicPr>
          <p:cNvPr id="4" name="Picture 3" descr="Screen Clipping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4"/>
          <a:stretch/>
        </p:blipFill>
        <p:spPr>
          <a:xfrm>
            <a:off x="4728282" y="1359625"/>
            <a:ext cx="3262649" cy="2620342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4728282" y="3450942"/>
            <a:ext cx="3262649" cy="5290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IN" sz="1600" b="1" dirty="0" smtClean="0"/>
              <a:t>Admission</a:t>
            </a:r>
            <a:r>
              <a:rPr lang="en-IN" sz="1600" dirty="0" smtClean="0"/>
              <a:t>: http://www.perkins.org/</a:t>
            </a:r>
            <a:r>
              <a:rPr lang="en-IN" sz="1600" dirty="0"/>
              <a:t/>
            </a:r>
            <a:br>
              <a:rPr lang="en-IN" sz="1600" dirty="0"/>
            </a:br>
            <a:r>
              <a:rPr lang="en-IN" sz="1600" dirty="0" smtClean="0"/>
              <a:t>school/admissions</a:t>
            </a:r>
            <a:endParaRPr lang="en-US" sz="1600" dirty="0"/>
          </a:p>
        </p:txBody>
      </p:sp>
      <p:pic>
        <p:nvPicPr>
          <p:cNvPr id="5" name="Picture 4" descr="Screen Clippi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7370" y="4105324"/>
            <a:ext cx="3262649" cy="2629808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1267370" y="6206107"/>
            <a:ext cx="3262649" cy="5290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IN" sz="1600" b="1" dirty="0" smtClean="0"/>
              <a:t>Careers</a:t>
            </a:r>
            <a:r>
              <a:rPr lang="en-IN" sz="1600" dirty="0" smtClean="0"/>
              <a:t>: http://aidb.org/careers-2</a:t>
            </a:r>
            <a:endParaRPr lang="en-US" sz="1600" dirty="0"/>
          </a:p>
        </p:txBody>
      </p:sp>
      <p:pic>
        <p:nvPicPr>
          <p:cNvPr id="6" name="Picture 5" descr="Screen Clippi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8282" y="4103169"/>
            <a:ext cx="3262649" cy="2631963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4728282" y="6206107"/>
            <a:ext cx="3262649" cy="5290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5720" rIns="0" rtlCol="0" anchor="ctr">
            <a:noAutofit/>
          </a:bodyPr>
          <a:lstStyle/>
          <a:p>
            <a:pPr algn="ctr"/>
            <a:r>
              <a:rPr lang="en-IN" sz="1600" b="1" dirty="0" smtClean="0"/>
              <a:t>Fundraising</a:t>
            </a:r>
            <a:r>
              <a:rPr lang="en-IN" sz="1600" dirty="0" smtClean="0"/>
              <a:t>: http://www.nyise.org</a:t>
            </a:r>
            <a:br>
              <a:rPr lang="en-IN" sz="1600" dirty="0" smtClean="0"/>
            </a:br>
            <a:r>
              <a:rPr lang="en-IN" sz="1600" dirty="0" smtClean="0"/>
              <a:t>support.htm?</a:t>
            </a: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3200" dirty="0"/>
              <a:t>For educational institutions, </a:t>
            </a:r>
            <a:r>
              <a:rPr lang="en-IN" sz="3200" dirty="0" err="1"/>
              <a:t>Sitecues</a:t>
            </a:r>
            <a:r>
              <a:rPr lang="en-IN" sz="3200" dirty="0"/>
              <a:t> enhances accessibility across all areas of operation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844087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CSU Fullerton Case Study</a:t>
            </a:r>
          </a:p>
        </p:txBody>
      </p:sp>
      <p:pic>
        <p:nvPicPr>
          <p:cNvPr id="6" name="Picture 5" descr="CSU Fullerton  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957" y="1776236"/>
            <a:ext cx="3327646" cy="2006538"/>
          </a:xfrm>
          <a:prstGeom prst="rect">
            <a:avLst/>
          </a:prstGeom>
        </p:spPr>
      </p:pic>
      <p:sp>
        <p:nvSpPr>
          <p:cNvPr id="9" name="Content Placeholder 2"/>
          <p:cNvSpPr txBox="1">
            <a:spLocks/>
          </p:cNvSpPr>
          <p:nvPr/>
        </p:nvSpPr>
        <p:spPr>
          <a:xfrm>
            <a:off x="3999123" y="4512409"/>
            <a:ext cx="4183152" cy="15457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 smtClean="0"/>
              <a:t>Located in Fullerton, California </a:t>
            </a:r>
          </a:p>
          <a:p>
            <a:pPr marL="0" indent="0">
              <a:buNone/>
            </a:pPr>
            <a:r>
              <a:rPr lang="en-US" sz="2000" dirty="0" smtClean="0"/>
              <a:t>36,937 students / 4,071 faculty + staff</a:t>
            </a:r>
          </a:p>
          <a:p>
            <a:pPr marL="0" indent="0">
              <a:buNone/>
            </a:pPr>
            <a:r>
              <a:rPr lang="en-US" sz="2000" dirty="0" smtClean="0"/>
              <a:t>Part of California State University system</a:t>
            </a:r>
            <a:endParaRPr lang="en-US" sz="2000" dirty="0"/>
          </a:p>
        </p:txBody>
      </p:sp>
      <p:pic>
        <p:nvPicPr>
          <p:cNvPr id="10" name="Picture 9" descr="CSU Fullerton pictur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9123" y="1593155"/>
            <a:ext cx="4183152" cy="2750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248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/>
              <a:t>Overview and Learning Objectives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578216" y="1265440"/>
            <a:ext cx="7987569" cy="2076854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wrap="square" lIns="73152" tIns="73152" rIns="73152" bIns="73152" anchor="ctr" anchorCtr="0">
            <a:noAutofit/>
          </a:bodyPr>
          <a:lstStyle>
            <a:lvl2pPr marL="114300" indent="-114300">
              <a:spcBef>
                <a:spcPts val="300"/>
              </a:spcBef>
              <a:defRPr sz="1100"/>
            </a:lvl2pPr>
            <a:lvl3pPr marL="228600" indent="-114300">
              <a:spcBef>
                <a:spcPts val="100"/>
              </a:spcBef>
              <a:defRPr sz="1100"/>
            </a:lvl3pPr>
            <a:lvl4pPr marL="342900" indent="-114300">
              <a:spcBef>
                <a:spcPts val="100"/>
              </a:spcBef>
              <a:defRPr sz="1100"/>
            </a:lvl4pPr>
            <a:lvl5pPr marL="457200" indent="-114300">
              <a:spcBef>
                <a:spcPts val="100"/>
              </a:spcBef>
              <a:defRPr sz="1100"/>
            </a:lvl5pPr>
          </a:lstStyle>
          <a:p>
            <a:pPr marL="263525" lvl="1" indent="-263525" defTabSz="966788">
              <a:spcBef>
                <a:spcPts val="600"/>
              </a:spcBef>
              <a:buSzPct val="100000"/>
              <a:buFontTx/>
              <a:buChar char="•"/>
              <a:tabLst>
                <a:tab pos="2298700" algn="l"/>
              </a:tabLst>
            </a:pPr>
            <a:r>
              <a:rPr lang="en-IE" sz="2400" kern="0" dirty="0">
                <a:solidFill>
                  <a:srgbClr val="000000"/>
                </a:solidFill>
                <a:latin typeface="Calibri" pitchFamily="34" charset="0"/>
              </a:rPr>
              <a:t>Today’s goal is to arm educational institutions with </a:t>
            </a:r>
            <a:r>
              <a:rPr lang="en-IE" sz="2400" b="1" kern="0" dirty="0">
                <a:solidFill>
                  <a:srgbClr val="000000"/>
                </a:solidFill>
                <a:latin typeface="Calibri" pitchFamily="34" charset="0"/>
              </a:rPr>
              <a:t>practical steps </a:t>
            </a:r>
            <a:r>
              <a:rPr lang="en-IE" sz="2400" kern="0" dirty="0">
                <a:solidFill>
                  <a:srgbClr val="000000"/>
                </a:solidFill>
                <a:latin typeface="Calibri" pitchFamily="34" charset="0"/>
              </a:rPr>
              <a:t>they can take to </a:t>
            </a:r>
            <a:r>
              <a:rPr lang="en-IE" sz="2400" b="1" kern="0" dirty="0" smtClean="0">
                <a:solidFill>
                  <a:srgbClr val="000000"/>
                </a:solidFill>
                <a:latin typeface="Calibri" pitchFamily="34" charset="0"/>
              </a:rPr>
              <a:t>increase accessibility </a:t>
            </a:r>
            <a:r>
              <a:rPr lang="en-IE" sz="2400" kern="0" dirty="0" smtClean="0">
                <a:solidFill>
                  <a:srgbClr val="000000"/>
                </a:solidFill>
                <a:latin typeface="Calibri" pitchFamily="34" charset="0"/>
              </a:rPr>
              <a:t>across their institutions</a:t>
            </a:r>
            <a:endParaRPr lang="en-IE" sz="2400" kern="0" dirty="0">
              <a:solidFill>
                <a:srgbClr val="000000"/>
              </a:solidFill>
              <a:latin typeface="Calibri" pitchFamily="34" charset="0"/>
            </a:endParaRPr>
          </a:p>
          <a:p>
            <a:pPr marL="263525" lvl="1" indent="-263525" defTabSz="966788">
              <a:spcBef>
                <a:spcPts val="600"/>
              </a:spcBef>
              <a:buSzPct val="100000"/>
              <a:buFontTx/>
              <a:buChar char="•"/>
              <a:tabLst>
                <a:tab pos="2298700" algn="l"/>
              </a:tabLst>
            </a:pPr>
            <a:r>
              <a:rPr lang="en-IE" sz="2400" kern="0" dirty="0">
                <a:solidFill>
                  <a:srgbClr val="000000"/>
                </a:solidFill>
                <a:latin typeface="Calibri" pitchFamily="34" charset="0"/>
              </a:rPr>
              <a:t>A general discussion, with specific examples focused on </a:t>
            </a:r>
            <a:r>
              <a:rPr lang="en-IE" sz="2400" b="1" kern="0" dirty="0">
                <a:solidFill>
                  <a:srgbClr val="000000"/>
                </a:solidFill>
                <a:latin typeface="Calibri" pitchFamily="34" charset="0"/>
              </a:rPr>
              <a:t>web accessibility </a:t>
            </a:r>
            <a:r>
              <a:rPr lang="en-IE" sz="2400" kern="0" dirty="0">
                <a:solidFill>
                  <a:srgbClr val="000000"/>
                </a:solidFill>
                <a:latin typeface="Calibri" pitchFamily="34" charset="0"/>
              </a:rPr>
              <a:t>and </a:t>
            </a:r>
            <a:r>
              <a:rPr lang="en-IE" sz="2400" b="1" kern="0" dirty="0">
                <a:solidFill>
                  <a:srgbClr val="000000"/>
                </a:solidFill>
                <a:latin typeface="Calibri" pitchFamily="34" charset="0"/>
              </a:rPr>
              <a:t>low vision </a:t>
            </a:r>
            <a:r>
              <a:rPr lang="en-IE" sz="2400" kern="0" dirty="0">
                <a:solidFill>
                  <a:srgbClr val="000000"/>
                </a:solidFill>
                <a:latin typeface="Calibri" pitchFamily="34" charset="0"/>
              </a:rPr>
              <a:t>populations</a:t>
            </a:r>
          </a:p>
        </p:txBody>
      </p:sp>
      <p:sp>
        <p:nvSpPr>
          <p:cNvPr id="10" name="Text Placeholder 4"/>
          <p:cNvSpPr txBox="1">
            <a:spLocks/>
          </p:cNvSpPr>
          <p:nvPr/>
        </p:nvSpPr>
        <p:spPr>
          <a:xfrm>
            <a:off x="578216" y="3430350"/>
            <a:ext cx="7987569" cy="606245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txBody>
          <a:bodyPr wrap="square" lIns="73152" tIns="73152" rIns="73152" bIns="73152" anchor="ctr" anchorCtr="0">
            <a:noAutofit/>
          </a:bodyPr>
          <a:lstStyle>
            <a:lvl2pPr marL="114300" indent="-114300">
              <a:spcBef>
                <a:spcPts val="300"/>
              </a:spcBef>
              <a:defRPr sz="1100"/>
            </a:lvl2pPr>
            <a:lvl3pPr marL="228600" indent="-114300">
              <a:spcBef>
                <a:spcPts val="100"/>
              </a:spcBef>
              <a:defRPr sz="1100"/>
            </a:lvl3pPr>
            <a:lvl4pPr marL="342900" indent="-114300">
              <a:spcBef>
                <a:spcPts val="100"/>
              </a:spcBef>
              <a:defRPr sz="1100"/>
            </a:lvl4pPr>
            <a:lvl5pPr marL="457200" indent="-114300">
              <a:spcBef>
                <a:spcPts val="100"/>
              </a:spcBef>
              <a:defRPr sz="1100"/>
            </a:lvl5pPr>
          </a:lstStyle>
          <a:p>
            <a:pPr marL="0" lvl="1" indent="0" defTabSz="966788">
              <a:spcBef>
                <a:spcPts val="600"/>
              </a:spcBef>
              <a:buSzPct val="100000"/>
              <a:tabLst>
                <a:tab pos="2298700" algn="l"/>
              </a:tabLst>
            </a:pPr>
            <a:r>
              <a:rPr lang="en-IE" sz="2400" b="1" kern="0" dirty="0">
                <a:solidFill>
                  <a:schemeClr val="bg1"/>
                </a:solidFill>
                <a:latin typeface="Calibri" pitchFamily="34" charset="0"/>
              </a:rPr>
              <a:t>Learning </a:t>
            </a:r>
            <a:r>
              <a:rPr lang="en-IE" sz="2400" b="1" kern="0" dirty="0" smtClean="0">
                <a:solidFill>
                  <a:schemeClr val="bg1"/>
                </a:solidFill>
                <a:latin typeface="Calibri" pitchFamily="34" charset="0"/>
              </a:rPr>
              <a:t>Objectives</a:t>
            </a:r>
            <a:endParaRPr lang="en-IE" sz="24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578217" y="4132041"/>
            <a:ext cx="7987569" cy="751078"/>
            <a:chOff x="578217" y="3339147"/>
            <a:chExt cx="7987569" cy="442262"/>
          </a:xfrm>
        </p:grpSpPr>
        <p:sp>
          <p:nvSpPr>
            <p:cNvPr id="11" name="Text Placeholder 4"/>
            <p:cNvSpPr txBox="1">
              <a:spLocks/>
            </p:cNvSpPr>
            <p:nvPr/>
          </p:nvSpPr>
          <p:spPr>
            <a:xfrm>
              <a:off x="988695" y="3339147"/>
              <a:ext cx="7577091" cy="442262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txBody>
            <a:bodyPr wrap="square" lIns="73152" tIns="73152" rIns="73152" bIns="73152" anchor="ctr" anchorCtr="0">
              <a:noAutofit/>
            </a:bodyPr>
            <a:lstStyle>
              <a:lvl2pPr marL="114300" indent="-114300">
                <a:spcBef>
                  <a:spcPts val="300"/>
                </a:spcBef>
                <a:defRPr sz="1100"/>
              </a:lvl2pPr>
              <a:lvl3pPr marL="228600" indent="-114300">
                <a:spcBef>
                  <a:spcPts val="100"/>
                </a:spcBef>
                <a:defRPr sz="1100"/>
              </a:lvl3pPr>
              <a:lvl4pPr marL="342900" indent="-114300">
                <a:spcBef>
                  <a:spcPts val="100"/>
                </a:spcBef>
                <a:defRPr sz="1100"/>
              </a:lvl4pPr>
              <a:lvl5pPr marL="457200" indent="-114300">
                <a:spcBef>
                  <a:spcPts val="100"/>
                </a:spcBef>
                <a:defRPr sz="1100"/>
              </a:lvl5pPr>
            </a:lstStyle>
            <a:p>
              <a:pPr marL="0" lvl="1" indent="0" defTabSz="966788">
                <a:spcBef>
                  <a:spcPts val="600"/>
                </a:spcBef>
                <a:buSzPct val="100000"/>
                <a:tabLst>
                  <a:tab pos="2298700" algn="l"/>
                </a:tabLst>
              </a:pPr>
              <a:r>
                <a:rPr lang="en-IE" sz="2400" kern="0" dirty="0">
                  <a:solidFill>
                    <a:srgbClr val="000000"/>
                  </a:solidFill>
                  <a:latin typeface="Calibri" pitchFamily="34" charset="0"/>
                </a:rPr>
                <a:t>What is the potential for universal and inclusive design?</a:t>
              </a:r>
            </a:p>
          </p:txBody>
        </p:sp>
        <p:sp>
          <p:nvSpPr>
            <p:cNvPr id="12" name="Text Placeholder 4"/>
            <p:cNvSpPr txBox="1">
              <a:spLocks/>
            </p:cNvSpPr>
            <p:nvPr/>
          </p:nvSpPr>
          <p:spPr>
            <a:xfrm>
              <a:off x="578217" y="3339147"/>
              <a:ext cx="347758" cy="442262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txBody>
            <a:bodyPr wrap="square" lIns="73152" tIns="73152" rIns="73152" bIns="73152" anchor="ctr" anchorCtr="0">
              <a:noAutofit/>
            </a:bodyPr>
            <a:lstStyle>
              <a:lvl2pPr marL="114300" indent="-114300">
                <a:spcBef>
                  <a:spcPts val="300"/>
                </a:spcBef>
                <a:defRPr sz="1100"/>
              </a:lvl2pPr>
              <a:lvl3pPr marL="228600" indent="-114300">
                <a:spcBef>
                  <a:spcPts val="100"/>
                </a:spcBef>
                <a:defRPr sz="1100"/>
              </a:lvl3pPr>
              <a:lvl4pPr marL="342900" indent="-114300">
                <a:spcBef>
                  <a:spcPts val="100"/>
                </a:spcBef>
                <a:defRPr sz="1100"/>
              </a:lvl4pPr>
              <a:lvl5pPr marL="457200" indent="-114300">
                <a:spcBef>
                  <a:spcPts val="100"/>
                </a:spcBef>
                <a:defRPr sz="1100"/>
              </a:lvl5pPr>
            </a:lstStyle>
            <a:p>
              <a:pPr marL="0" lvl="1" indent="0" algn="ctr" defTabSz="966788">
                <a:spcBef>
                  <a:spcPts val="600"/>
                </a:spcBef>
                <a:buSzPct val="100000"/>
                <a:tabLst>
                  <a:tab pos="2298700" algn="l"/>
                </a:tabLst>
              </a:pPr>
              <a:r>
                <a:rPr lang="en-IE" sz="2400" b="1" kern="0" dirty="0" smtClean="0">
                  <a:solidFill>
                    <a:schemeClr val="bg1"/>
                  </a:solidFill>
                  <a:latin typeface="Calibri" pitchFamily="34" charset="0"/>
                </a:rPr>
                <a:t>1</a:t>
              </a:r>
              <a:endParaRPr lang="en-IE" sz="2400" b="1" kern="0" dirty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578217" y="4978565"/>
            <a:ext cx="7987569" cy="751078"/>
            <a:chOff x="578217" y="3835401"/>
            <a:chExt cx="7987569" cy="442262"/>
          </a:xfrm>
        </p:grpSpPr>
        <p:sp>
          <p:nvSpPr>
            <p:cNvPr id="13" name="Text Placeholder 4"/>
            <p:cNvSpPr txBox="1">
              <a:spLocks/>
            </p:cNvSpPr>
            <p:nvPr/>
          </p:nvSpPr>
          <p:spPr>
            <a:xfrm>
              <a:off x="988695" y="3835401"/>
              <a:ext cx="7577091" cy="442262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txBody>
            <a:bodyPr wrap="square" lIns="73152" tIns="73152" rIns="73152" bIns="73152" anchor="ctr" anchorCtr="0">
              <a:noAutofit/>
            </a:bodyPr>
            <a:lstStyle>
              <a:lvl2pPr marL="114300" indent="-114300">
                <a:spcBef>
                  <a:spcPts val="300"/>
                </a:spcBef>
                <a:defRPr sz="1100"/>
              </a:lvl2pPr>
              <a:lvl3pPr marL="228600" indent="-114300">
                <a:spcBef>
                  <a:spcPts val="100"/>
                </a:spcBef>
                <a:defRPr sz="1100"/>
              </a:lvl3pPr>
              <a:lvl4pPr marL="342900" indent="-114300">
                <a:spcBef>
                  <a:spcPts val="100"/>
                </a:spcBef>
                <a:defRPr sz="1100"/>
              </a:lvl4pPr>
              <a:lvl5pPr marL="457200" indent="-114300">
                <a:spcBef>
                  <a:spcPts val="100"/>
                </a:spcBef>
                <a:defRPr sz="1100"/>
              </a:lvl5pPr>
            </a:lstStyle>
            <a:p>
              <a:pPr marL="0" lvl="1" indent="0" defTabSz="966788">
                <a:spcBef>
                  <a:spcPts val="600"/>
                </a:spcBef>
                <a:buSzPct val="100000"/>
                <a:tabLst>
                  <a:tab pos="2298700" algn="l"/>
                </a:tabLst>
              </a:pPr>
              <a:r>
                <a:rPr lang="en-IE" sz="2400" kern="0" dirty="0">
                  <a:solidFill>
                    <a:srgbClr val="000000"/>
                  </a:solidFill>
                  <a:latin typeface="Calibri" pitchFamily="34" charset="0"/>
                </a:rPr>
                <a:t>What are the most commonly observed barriers?</a:t>
              </a:r>
            </a:p>
          </p:txBody>
        </p:sp>
        <p:sp>
          <p:nvSpPr>
            <p:cNvPr id="14" name="Text Placeholder 4"/>
            <p:cNvSpPr txBox="1">
              <a:spLocks/>
            </p:cNvSpPr>
            <p:nvPr/>
          </p:nvSpPr>
          <p:spPr>
            <a:xfrm>
              <a:off x="578217" y="3835401"/>
              <a:ext cx="347758" cy="442262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txBody>
            <a:bodyPr wrap="square" lIns="73152" tIns="73152" rIns="73152" bIns="73152" anchor="ctr" anchorCtr="0">
              <a:noAutofit/>
            </a:bodyPr>
            <a:lstStyle>
              <a:lvl2pPr marL="114300" indent="-114300">
                <a:spcBef>
                  <a:spcPts val="300"/>
                </a:spcBef>
                <a:defRPr sz="1100"/>
              </a:lvl2pPr>
              <a:lvl3pPr marL="228600" indent="-114300">
                <a:spcBef>
                  <a:spcPts val="100"/>
                </a:spcBef>
                <a:defRPr sz="1100"/>
              </a:lvl3pPr>
              <a:lvl4pPr marL="342900" indent="-114300">
                <a:spcBef>
                  <a:spcPts val="100"/>
                </a:spcBef>
                <a:defRPr sz="1100"/>
              </a:lvl4pPr>
              <a:lvl5pPr marL="457200" indent="-114300">
                <a:spcBef>
                  <a:spcPts val="100"/>
                </a:spcBef>
                <a:defRPr sz="1100"/>
              </a:lvl5pPr>
            </a:lstStyle>
            <a:p>
              <a:pPr marL="0" lvl="1" indent="0" algn="ctr" defTabSz="966788">
                <a:spcBef>
                  <a:spcPts val="600"/>
                </a:spcBef>
                <a:buSzPct val="100000"/>
                <a:tabLst>
                  <a:tab pos="2298700" algn="l"/>
                </a:tabLst>
              </a:pPr>
              <a:r>
                <a:rPr lang="en-IE" sz="2400" b="1" kern="0" dirty="0" smtClean="0">
                  <a:solidFill>
                    <a:schemeClr val="bg1"/>
                  </a:solidFill>
                  <a:latin typeface="Calibri" pitchFamily="34" charset="0"/>
                </a:rPr>
                <a:t>2</a:t>
              </a:r>
              <a:endParaRPr lang="en-IE" sz="2400" b="1" kern="0" dirty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578217" y="5825089"/>
            <a:ext cx="7987569" cy="751078"/>
            <a:chOff x="578217" y="4331655"/>
            <a:chExt cx="7987569" cy="442262"/>
          </a:xfrm>
        </p:grpSpPr>
        <p:sp>
          <p:nvSpPr>
            <p:cNvPr id="15" name="Text Placeholder 4"/>
            <p:cNvSpPr txBox="1">
              <a:spLocks/>
            </p:cNvSpPr>
            <p:nvPr/>
          </p:nvSpPr>
          <p:spPr>
            <a:xfrm>
              <a:off x="988695" y="4331655"/>
              <a:ext cx="7577091" cy="442262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</p:spPr>
          <p:txBody>
            <a:bodyPr wrap="square" lIns="73152" tIns="73152" rIns="73152" bIns="73152" anchor="ctr" anchorCtr="0">
              <a:noAutofit/>
            </a:bodyPr>
            <a:lstStyle>
              <a:lvl2pPr marL="114300" indent="-114300">
                <a:spcBef>
                  <a:spcPts val="300"/>
                </a:spcBef>
                <a:defRPr sz="1100"/>
              </a:lvl2pPr>
              <a:lvl3pPr marL="228600" indent="-114300">
                <a:spcBef>
                  <a:spcPts val="100"/>
                </a:spcBef>
                <a:defRPr sz="1100"/>
              </a:lvl3pPr>
              <a:lvl4pPr marL="342900" indent="-114300">
                <a:spcBef>
                  <a:spcPts val="100"/>
                </a:spcBef>
                <a:defRPr sz="1100"/>
              </a:lvl4pPr>
              <a:lvl5pPr marL="457200" indent="-114300">
                <a:spcBef>
                  <a:spcPts val="100"/>
                </a:spcBef>
                <a:defRPr sz="1100"/>
              </a:lvl5pPr>
            </a:lstStyle>
            <a:p>
              <a:pPr marL="0" lvl="1" indent="0" defTabSz="966788">
                <a:spcBef>
                  <a:spcPts val="600"/>
                </a:spcBef>
                <a:buSzPct val="100000"/>
                <a:tabLst>
                  <a:tab pos="2298700" algn="l"/>
                </a:tabLst>
              </a:pPr>
              <a:r>
                <a:rPr lang="en-IE" sz="2400" kern="0" dirty="0">
                  <a:solidFill>
                    <a:srgbClr val="000000"/>
                  </a:solidFill>
                  <a:latin typeface="Calibri" pitchFamily="34" charset="0"/>
                </a:rPr>
                <a:t>What specific steps can educational institutions take?</a:t>
              </a:r>
            </a:p>
          </p:txBody>
        </p:sp>
        <p:sp>
          <p:nvSpPr>
            <p:cNvPr id="16" name="Text Placeholder 4"/>
            <p:cNvSpPr txBox="1">
              <a:spLocks/>
            </p:cNvSpPr>
            <p:nvPr/>
          </p:nvSpPr>
          <p:spPr>
            <a:xfrm>
              <a:off x="578217" y="4331655"/>
              <a:ext cx="347758" cy="442262"/>
            </a:xfrm>
            <a:prstGeom prst="rect">
              <a:avLst/>
            </a:prstGeom>
            <a:solidFill>
              <a:schemeClr val="tx2"/>
            </a:solidFill>
            <a:ln w="12700">
              <a:noFill/>
            </a:ln>
          </p:spPr>
          <p:txBody>
            <a:bodyPr wrap="square" lIns="73152" tIns="73152" rIns="73152" bIns="73152" anchor="ctr" anchorCtr="0">
              <a:noAutofit/>
            </a:bodyPr>
            <a:lstStyle>
              <a:lvl2pPr marL="114300" indent="-114300">
                <a:spcBef>
                  <a:spcPts val="300"/>
                </a:spcBef>
                <a:defRPr sz="1100"/>
              </a:lvl2pPr>
              <a:lvl3pPr marL="228600" indent="-114300">
                <a:spcBef>
                  <a:spcPts val="100"/>
                </a:spcBef>
                <a:defRPr sz="1100"/>
              </a:lvl3pPr>
              <a:lvl4pPr marL="342900" indent="-114300">
                <a:spcBef>
                  <a:spcPts val="100"/>
                </a:spcBef>
                <a:defRPr sz="1100"/>
              </a:lvl4pPr>
              <a:lvl5pPr marL="457200" indent="-114300">
                <a:spcBef>
                  <a:spcPts val="100"/>
                </a:spcBef>
                <a:defRPr sz="1100"/>
              </a:lvl5pPr>
            </a:lstStyle>
            <a:p>
              <a:pPr marL="0" lvl="1" indent="0" algn="ctr" defTabSz="966788">
                <a:spcBef>
                  <a:spcPts val="600"/>
                </a:spcBef>
                <a:buSzPct val="100000"/>
                <a:tabLst>
                  <a:tab pos="2298700" algn="l"/>
                </a:tabLst>
              </a:pPr>
              <a:r>
                <a:rPr lang="en-IE" sz="2400" b="1" kern="0" dirty="0" smtClean="0">
                  <a:solidFill>
                    <a:schemeClr val="bg1"/>
                  </a:solidFill>
                  <a:latin typeface="Calibri" pitchFamily="34" charset="0"/>
                </a:rPr>
                <a:t>3</a:t>
              </a:r>
              <a:endParaRPr lang="en-IE" sz="2400" b="1" kern="0" dirty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54960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34541" y="138383"/>
            <a:ext cx="7886700" cy="1093517"/>
          </a:xfrm>
        </p:spPr>
        <p:txBody>
          <a:bodyPr>
            <a:normAutofit/>
          </a:bodyPr>
          <a:lstStyle/>
          <a:p>
            <a:r>
              <a:rPr lang="en-US" dirty="0" smtClean="0"/>
              <a:t>CSU ATI for Student Success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half" idx="2"/>
          </p:nvPr>
        </p:nvSpPr>
        <p:spPr>
          <a:xfrm>
            <a:off x="629841" y="2716278"/>
            <a:ext cx="3868340" cy="3684588"/>
          </a:xfrm>
        </p:spPr>
        <p:txBody>
          <a:bodyPr>
            <a:normAutofit lnSpcReduction="10000"/>
          </a:bodyPr>
          <a:lstStyle/>
          <a:p>
            <a:pPr marL="342900" indent="-342900"/>
            <a:r>
              <a:rPr lang="en-US" dirty="0"/>
              <a:t>Business Practices with documentation and training</a:t>
            </a:r>
          </a:p>
          <a:p>
            <a:pPr marL="342900" indent="-342900"/>
            <a:r>
              <a:rPr lang="en-US" dirty="0"/>
              <a:t>Tools for automated web compliance evaluation </a:t>
            </a:r>
          </a:p>
          <a:p>
            <a:pPr marL="342900" indent="-342900"/>
            <a:r>
              <a:rPr lang="en-US" dirty="0"/>
              <a:t>Manual evaluation for accessibility compliance</a:t>
            </a:r>
          </a:p>
          <a:p>
            <a:pPr marL="342900" indent="-342900"/>
            <a:r>
              <a:rPr lang="en-US" dirty="0"/>
              <a:t>Tools to </a:t>
            </a:r>
            <a:r>
              <a:rPr lang="en-US" dirty="0" smtClean="0"/>
              <a:t>support students</a:t>
            </a:r>
            <a:r>
              <a:rPr lang="en-US" dirty="0"/>
              <a:t>, staff, faculty and the </a:t>
            </a:r>
            <a:r>
              <a:rPr lang="en-US" dirty="0" smtClean="0"/>
              <a:t>public to access web pages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5052190" y="1879732"/>
            <a:ext cx="4696153" cy="823912"/>
          </a:xfrm>
        </p:spPr>
        <p:txBody>
          <a:bodyPr>
            <a:noAutofit/>
          </a:bodyPr>
          <a:lstStyle/>
          <a:p>
            <a:r>
              <a:rPr lang="en-US" sz="3200" dirty="0" smtClean="0"/>
              <a:t>Do you know your audience?</a:t>
            </a:r>
            <a:endParaRPr lang="en-US" sz="3200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4"/>
          </p:nvPr>
        </p:nvSpPr>
        <p:spPr>
          <a:xfrm>
            <a:off x="4747390" y="2716278"/>
            <a:ext cx="3887391" cy="3684588"/>
          </a:xfrm>
        </p:spPr>
        <p:txBody>
          <a:bodyPr>
            <a:normAutofit/>
          </a:bodyPr>
          <a:lstStyle/>
          <a:p>
            <a:r>
              <a:rPr lang="en-US" sz="2400" dirty="0" smtClean="0"/>
              <a:t>Identified Disabilities</a:t>
            </a:r>
          </a:p>
          <a:p>
            <a:pPr lvl="1"/>
            <a:r>
              <a:rPr lang="en-US" dirty="0" smtClean="0"/>
              <a:t>Many types and combinations</a:t>
            </a:r>
          </a:p>
          <a:p>
            <a:r>
              <a:rPr lang="en-US" sz="2400" dirty="0" smtClean="0"/>
              <a:t>Disabilities that are not known </a:t>
            </a:r>
          </a:p>
          <a:p>
            <a:r>
              <a:rPr lang="en-US" sz="2400" dirty="0" smtClean="0"/>
              <a:t>Temporary Disabilities</a:t>
            </a:r>
          </a:p>
          <a:p>
            <a:r>
              <a:rPr lang="en-US" sz="2400" dirty="0" smtClean="0"/>
              <a:t>Unknown visitors to the site that may join your university</a:t>
            </a:r>
            <a:endParaRPr lang="en-US" sz="240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1"/>
          </p:nvPr>
        </p:nvSpPr>
        <p:spPr>
          <a:xfrm>
            <a:off x="629841" y="1701031"/>
            <a:ext cx="3868340" cy="823912"/>
          </a:xfrm>
        </p:spPr>
        <p:txBody>
          <a:bodyPr>
            <a:noAutofit/>
          </a:bodyPr>
          <a:lstStyle/>
          <a:p>
            <a:r>
              <a:rPr lang="en-US" sz="3200" dirty="0" smtClean="0"/>
              <a:t>Supporting Projects</a:t>
            </a:r>
            <a:endParaRPr lang="en-US" sz="3200" dirty="0"/>
          </a:p>
        </p:txBody>
      </p:sp>
      <p:pic>
        <p:nvPicPr>
          <p:cNvPr id="8" name="Picture 7" descr="California State University, Accessible Technology Initiative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26724" y="292145"/>
            <a:ext cx="1939476" cy="495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898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4262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How many individuals with needs go unidentified?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idx="1"/>
          </p:nvPr>
        </p:nvSpPr>
        <p:spPr>
          <a:xfrm>
            <a:off x="628650" y="2022696"/>
            <a:ext cx="7886700" cy="4351338"/>
          </a:xfrm>
        </p:spPr>
        <p:txBody>
          <a:bodyPr>
            <a:normAutofit/>
          </a:bodyPr>
          <a:lstStyle/>
          <a:p>
            <a:r>
              <a:rPr lang="en-US" dirty="0" smtClean="0"/>
              <a:t>Challenges in</a:t>
            </a:r>
          </a:p>
          <a:p>
            <a:pPr lvl="1"/>
            <a:r>
              <a:rPr lang="en-US" dirty="0" smtClean="0"/>
              <a:t>Reading</a:t>
            </a:r>
          </a:p>
          <a:p>
            <a:pPr lvl="1"/>
            <a:r>
              <a:rPr lang="en-US" dirty="0" smtClean="0"/>
              <a:t>Visual attentive focus</a:t>
            </a:r>
          </a:p>
          <a:p>
            <a:pPr lvl="1"/>
            <a:r>
              <a:rPr lang="en-US" dirty="0" smtClean="0"/>
              <a:t>Vision </a:t>
            </a:r>
          </a:p>
          <a:p>
            <a:pPr lvl="1"/>
            <a:r>
              <a:rPr lang="en-US" dirty="0" smtClean="0"/>
              <a:t>Problems navigating a web page</a:t>
            </a:r>
          </a:p>
          <a:p>
            <a:r>
              <a:rPr lang="en-US" dirty="0" smtClean="0"/>
              <a:t>Piloting sitecues to explore how a universal design approach may assist visitors to webpages</a:t>
            </a:r>
          </a:p>
          <a:p>
            <a:pPr marL="457200" lvl="1" indent="0">
              <a:buNone/>
            </a:pPr>
            <a:endParaRPr lang="en-US" dirty="0" smtClean="0"/>
          </a:p>
          <a:p>
            <a:pPr marL="457200" lvl="1" indent="0">
              <a:buNone/>
            </a:pPr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8" name="Picture 7" descr="California State University, Accessible Technology Initiative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26724" y="292145"/>
            <a:ext cx="1939476" cy="495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62787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CSU Fullerton Case </a:t>
            </a:r>
            <a:r>
              <a:rPr lang="en-US" sz="3200" dirty="0" smtClean="0"/>
              <a:t>Study, continued</a:t>
            </a:r>
            <a:endParaRPr lang="en-US" sz="3200" dirty="0"/>
          </a:p>
        </p:txBody>
      </p:sp>
      <p:pic>
        <p:nvPicPr>
          <p:cNvPr id="6" name="Picture 5" descr="CSU Fullerton  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2971" y="320990"/>
            <a:ext cx="1729116" cy="104264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57200" y="1021426"/>
            <a:ext cx="683577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1"/>
                </a:solidFill>
              </a:rPr>
              <a:t>Sitecues originally went live on website in August 2015</a:t>
            </a:r>
          </a:p>
          <a:p>
            <a:r>
              <a:rPr lang="en-US" sz="2000" dirty="0"/>
              <a:t>Launched via new </a:t>
            </a:r>
            <a:r>
              <a:rPr lang="en-US" sz="2000" dirty="0" smtClean="0"/>
              <a:t>templates</a:t>
            </a:r>
            <a:endParaRPr lang="en-US" sz="2000" dirty="0"/>
          </a:p>
        </p:txBody>
      </p:sp>
      <p:sp>
        <p:nvSpPr>
          <p:cNvPr id="9" name="Rectangle 8"/>
          <p:cNvSpPr/>
          <p:nvPr/>
        </p:nvSpPr>
        <p:spPr>
          <a:xfrm rot="5400000">
            <a:off x="4602857" y="-2375624"/>
            <a:ext cx="308330" cy="8530130"/>
          </a:xfrm>
          <a:prstGeom prst="rect">
            <a:avLst/>
          </a:prstGeom>
          <a:solidFill>
            <a:schemeClr val="accent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/>
              <a:t>Currently installed on:</a:t>
            </a:r>
          </a:p>
        </p:txBody>
      </p:sp>
      <p:pic>
        <p:nvPicPr>
          <p:cNvPr id="10" name="Picture 9" descr="CSU-Fullerton homepage - www.fullerton.edu&#10;"/>
          <p:cNvPicPr preferRelativeResize="0"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635355" y="2139978"/>
            <a:ext cx="2099935" cy="144070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1" name="Picture 10" descr="CSU-Fullerton homepage - www.fullerton.edu - Went live on 1/5/2016&#10;Includes secondary navigation such as About, Admissions, Academics, and Research &#10;"/>
          <p:cNvPicPr preferRelativeResize="0"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491957" y="2139978"/>
            <a:ext cx="2099935" cy="144070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2" name="Picture 11" descr="CSU-Fullerton Health Professions - http://www.fullerton.edu/healthprofessions/&#10;"/>
          <p:cNvPicPr preferRelativeResize="0"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4778753" y="2139978"/>
            <a:ext cx="2099935" cy="144070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3" name="Picture 12" descr="CSU-Fullerton College of Humanities &amp; Social Sciences - http://hss.fullerton.edu/index.aspx&#10;"/>
          <p:cNvPicPr preferRelativeResize="0"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6922152" y="2139978"/>
            <a:ext cx="2099935" cy="144070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4" name="Picture 13" descr="CSU-Fullerton Division of Information Technology - http://www.fullerton.edu/it/ &#10;"/>
          <p:cNvPicPr preferRelativeResize="0"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563656" y="4481003"/>
            <a:ext cx="2099935" cy="144070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6" name="Picture 15" descr="CSU-Fullerton Web Standards - http://www.fullerton.edu/webstandards/&#10;"/>
          <p:cNvPicPr preferRelativeResize="0"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3707054" y="4481003"/>
            <a:ext cx="2099935" cy="144070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pic>
        <p:nvPicPr>
          <p:cNvPr id="17" name="Picture 16" descr="CSU-Fullerton Accessible Technology Initiative (ATI) - http://www.fullerton.edu/ATI/ &#10;"/>
          <p:cNvPicPr preferRelativeResize="0"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5850453" y="4481003"/>
            <a:ext cx="2099935" cy="1440709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</p:pic>
      <p:sp>
        <p:nvSpPr>
          <p:cNvPr id="19" name="Rectangle 18" descr="CSU-Fullerton homepage - www.fullerton.edu "/>
          <p:cNvSpPr/>
          <p:nvPr/>
        </p:nvSpPr>
        <p:spPr>
          <a:xfrm>
            <a:off x="457200" y="3579258"/>
            <a:ext cx="21346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CSU-Fullerton homepage </a:t>
            </a:r>
          </a:p>
        </p:txBody>
      </p:sp>
      <p:sp>
        <p:nvSpPr>
          <p:cNvPr id="20" name="Rectangle 19" descr="CSU-Fullerton homepage - www.fullerton.edu "/>
          <p:cNvSpPr/>
          <p:nvPr/>
        </p:nvSpPr>
        <p:spPr>
          <a:xfrm>
            <a:off x="2600599" y="3579258"/>
            <a:ext cx="21346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CSU-Fullerton </a:t>
            </a:r>
            <a:r>
              <a:rPr lang="en-US" sz="1600" dirty="0" smtClean="0"/>
              <a:t>School of Nursing</a:t>
            </a:r>
            <a:endParaRPr lang="en-IN" sz="1600" dirty="0"/>
          </a:p>
        </p:txBody>
      </p:sp>
      <p:sp>
        <p:nvSpPr>
          <p:cNvPr id="21" name="Rectangle 20" descr="CSU-Fullerton Health Professions - http://www.fullerton.edu/healthprofessions/&#10;"/>
          <p:cNvSpPr/>
          <p:nvPr/>
        </p:nvSpPr>
        <p:spPr>
          <a:xfrm>
            <a:off x="4743997" y="3579258"/>
            <a:ext cx="21346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CSU-Fullerton Health Professions </a:t>
            </a:r>
          </a:p>
        </p:txBody>
      </p:sp>
      <p:sp>
        <p:nvSpPr>
          <p:cNvPr id="22" name="Rectangle 21" descr="CSU-Fullerton College of Humanities &amp; Social Sciences - http://hss.fullerton.edu/index.aspx&#10;"/>
          <p:cNvSpPr/>
          <p:nvPr/>
        </p:nvSpPr>
        <p:spPr>
          <a:xfrm>
            <a:off x="6887396" y="3579258"/>
            <a:ext cx="21346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CSU-Fullerton College of Humanities &amp; Social Sciences </a:t>
            </a:r>
          </a:p>
        </p:txBody>
      </p:sp>
      <p:sp>
        <p:nvSpPr>
          <p:cNvPr id="23" name="Rectangle 22" descr="CSU-Fullerton Division of Information Technology - http://www.fullerton.edu/it/ &#10;"/>
          <p:cNvSpPr/>
          <p:nvPr/>
        </p:nvSpPr>
        <p:spPr>
          <a:xfrm>
            <a:off x="1524545" y="5953878"/>
            <a:ext cx="21346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CSU-Fullerton Division of Information Technology </a:t>
            </a:r>
          </a:p>
        </p:txBody>
      </p:sp>
      <p:sp>
        <p:nvSpPr>
          <p:cNvPr id="24" name="Rectangle 23" descr="CSU-Fullerton Web Standards - http://www.fullerton.edu/webstandards/&#10;"/>
          <p:cNvSpPr/>
          <p:nvPr/>
        </p:nvSpPr>
        <p:spPr>
          <a:xfrm>
            <a:off x="3672298" y="5953878"/>
            <a:ext cx="21346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CSU-Fullerton Web Standards </a:t>
            </a:r>
          </a:p>
        </p:txBody>
      </p:sp>
      <p:sp>
        <p:nvSpPr>
          <p:cNvPr id="25" name="Rectangle 24" descr="CSU-Fullerton Accessible Technology Initiative (ATI) - http://www.fullerton.edu/ATI/ &#10;"/>
          <p:cNvSpPr/>
          <p:nvPr/>
        </p:nvSpPr>
        <p:spPr>
          <a:xfrm>
            <a:off x="5815697" y="5953878"/>
            <a:ext cx="21346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600" dirty="0"/>
              <a:t>CSU-Fullerton Accessible Technology Initiative (ATI) </a:t>
            </a:r>
          </a:p>
        </p:txBody>
      </p:sp>
    </p:spTree>
    <p:extLst>
      <p:ext uri="{BB962C8B-B14F-4D97-AF65-F5344CB8AC3E}">
        <p14:creationId xmlns:p14="http://schemas.microsoft.com/office/powerpoint/2010/main" val="110332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descr="text&#10;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entagon 7" descr="To increase support to students with disabilities&#10;Zoom and speech function offers significant help&#10;"/>
          <p:cNvSpPr/>
          <p:nvPr/>
        </p:nvSpPr>
        <p:spPr>
          <a:xfrm>
            <a:off x="2906485" y="1845129"/>
            <a:ext cx="5910943" cy="1028699"/>
          </a:xfrm>
          <a:prstGeom prst="homePlate">
            <a:avLst>
              <a:gd name="adj" fmla="val 2800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r>
              <a:rPr lang="en-IN" b="1" dirty="0">
                <a:solidFill>
                  <a:schemeClr val="tx1"/>
                </a:solidFill>
              </a:rPr>
              <a:t>To increase support to students with disabilit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Zoom and speech function offers significant help</a:t>
            </a:r>
          </a:p>
        </p:txBody>
      </p:sp>
      <p:sp>
        <p:nvSpPr>
          <p:cNvPr id="9" name="Pentagon 8" descr="Website team strives to take a leadership position towards disability services&#10;"/>
          <p:cNvSpPr/>
          <p:nvPr/>
        </p:nvSpPr>
        <p:spPr>
          <a:xfrm>
            <a:off x="2906485" y="2950029"/>
            <a:ext cx="5910943" cy="1028699"/>
          </a:xfrm>
          <a:prstGeom prst="homePlate">
            <a:avLst>
              <a:gd name="adj" fmla="val 2800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r>
              <a:rPr lang="en-IN" b="1" dirty="0">
                <a:solidFill>
                  <a:schemeClr val="tx1"/>
                </a:solidFill>
              </a:rPr>
              <a:t>Website team strives to take a leadership position towards disability services</a:t>
            </a:r>
          </a:p>
        </p:txBody>
      </p:sp>
      <p:sp>
        <p:nvSpPr>
          <p:cNvPr id="10" name="Pentagon 9" descr="Adds value to many not previously served&#10;Significantly better than browser zoom &amp; OS accessibility&#10;"/>
          <p:cNvSpPr/>
          <p:nvPr/>
        </p:nvSpPr>
        <p:spPr>
          <a:xfrm>
            <a:off x="2906485" y="4054929"/>
            <a:ext cx="5910943" cy="1028699"/>
          </a:xfrm>
          <a:prstGeom prst="homePlate">
            <a:avLst>
              <a:gd name="adj" fmla="val 2800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r>
              <a:rPr lang="en-IN" b="1" dirty="0">
                <a:solidFill>
                  <a:schemeClr val="tx1"/>
                </a:solidFill>
              </a:rPr>
              <a:t>Adds value to many not previously serv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>
                <a:solidFill>
                  <a:schemeClr val="tx1"/>
                </a:solidFill>
              </a:rPr>
              <a:t>Significantly better than browser zoom &amp; OS accessibility</a:t>
            </a:r>
          </a:p>
        </p:txBody>
      </p:sp>
      <p:sp>
        <p:nvSpPr>
          <p:cNvPr id="11" name="Pentagon 10" descr="Brings greater value to website services&#10;"/>
          <p:cNvSpPr/>
          <p:nvPr/>
        </p:nvSpPr>
        <p:spPr>
          <a:xfrm>
            <a:off x="2906485" y="5159830"/>
            <a:ext cx="5910943" cy="1028699"/>
          </a:xfrm>
          <a:prstGeom prst="homePlate">
            <a:avLst>
              <a:gd name="adj" fmla="val 28000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r>
              <a:rPr lang="en-IN" b="1" dirty="0">
                <a:solidFill>
                  <a:schemeClr val="tx1"/>
                </a:solidFill>
              </a:rPr>
              <a:t>Brings greater value to website services</a:t>
            </a:r>
          </a:p>
        </p:txBody>
      </p:sp>
      <p:sp>
        <p:nvSpPr>
          <p:cNvPr id="7" name="Rectangle 6" descr="why implement sitecues "/>
          <p:cNvSpPr/>
          <p:nvPr/>
        </p:nvSpPr>
        <p:spPr>
          <a:xfrm>
            <a:off x="604157" y="1747158"/>
            <a:ext cx="2302329" cy="4539342"/>
          </a:xfrm>
          <a:prstGeom prst="rect">
            <a:avLst/>
          </a:prstGeom>
          <a:solidFill>
            <a:schemeClr val="tx2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/>
              <a:t>Why implement sitecues?</a:t>
            </a:r>
          </a:p>
        </p:txBody>
      </p:sp>
      <p:sp>
        <p:nvSpPr>
          <p:cNvPr id="2" name="Title 1" descr="csu benefits of sitecues&#10;" title="title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CSU Fullerton – Benefits of sitecues</a:t>
            </a:r>
          </a:p>
        </p:txBody>
      </p:sp>
      <p:pic>
        <p:nvPicPr>
          <p:cNvPr id="5" name="Picture 4" descr="CSU Fullerton  Logo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2971" y="320990"/>
            <a:ext cx="1729116" cy="1042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831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CSU Fullerton - Implementation</a:t>
            </a:r>
          </a:p>
        </p:txBody>
      </p:sp>
      <p:pic>
        <p:nvPicPr>
          <p:cNvPr id="5" name="Picture 4" descr="CSU Fullerton  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2971" y="320990"/>
            <a:ext cx="1729116" cy="1042640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456037" y="1547964"/>
            <a:ext cx="372358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</a:rPr>
              <a:t>Ease of implementation</a:t>
            </a:r>
          </a:p>
        </p:txBody>
      </p:sp>
      <p:sp>
        <p:nvSpPr>
          <p:cNvPr id="3" name="Rectangle 2"/>
          <p:cNvSpPr/>
          <p:nvPr/>
        </p:nvSpPr>
        <p:spPr>
          <a:xfrm>
            <a:off x="1110343" y="2058543"/>
            <a:ext cx="77070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>
                <a:solidFill>
                  <a:schemeClr val="accent1"/>
                </a:solidFill>
              </a:rPr>
              <a:t>Easy to add </a:t>
            </a:r>
            <a:r>
              <a:rPr lang="en-IN" sz="2400" b="1" dirty="0" smtClean="0">
                <a:solidFill>
                  <a:schemeClr val="accent1"/>
                </a:solidFill>
              </a:rPr>
              <a:t>Sitecues code </a:t>
            </a:r>
            <a:r>
              <a:rPr lang="en-IN" sz="2400" b="1" dirty="0">
                <a:solidFill>
                  <a:schemeClr val="accent1"/>
                </a:solidFill>
              </a:rPr>
              <a:t>– instructions provided were clear and simple to follow</a:t>
            </a:r>
          </a:p>
        </p:txBody>
      </p:sp>
      <p:sp>
        <p:nvSpPr>
          <p:cNvPr id="18" name="Rectangle 17" descr="number one"/>
          <p:cNvSpPr/>
          <p:nvPr/>
        </p:nvSpPr>
        <p:spPr>
          <a:xfrm>
            <a:off x="456037" y="2172846"/>
            <a:ext cx="508000" cy="461665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IN" sz="2400" b="1" dirty="0" smtClean="0">
                <a:solidFill>
                  <a:schemeClr val="bg1"/>
                </a:solidFill>
              </a:rPr>
              <a:t>1</a:t>
            </a:r>
            <a:endParaRPr lang="en-IN" sz="2400" b="1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110343" y="2889540"/>
            <a:ext cx="770708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Minimal time required from IT staff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110343" y="3351205"/>
            <a:ext cx="77070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>
                <a:solidFill>
                  <a:schemeClr val="accent1"/>
                </a:solidFill>
              </a:rPr>
              <a:t>Added </a:t>
            </a:r>
            <a:r>
              <a:rPr lang="en-IN" sz="2400" b="1" dirty="0" smtClean="0">
                <a:solidFill>
                  <a:schemeClr val="accent1"/>
                </a:solidFill>
              </a:rPr>
              <a:t>Sitecues to </a:t>
            </a:r>
            <a:r>
              <a:rPr lang="en-IN" sz="2400" b="1" dirty="0">
                <a:solidFill>
                  <a:schemeClr val="accent1"/>
                </a:solidFill>
              </a:rPr>
              <a:t>Web Content Management System template</a:t>
            </a:r>
          </a:p>
        </p:txBody>
      </p:sp>
      <p:sp>
        <p:nvSpPr>
          <p:cNvPr id="21" name="Rectangle 20" descr="number 2"/>
          <p:cNvSpPr/>
          <p:nvPr/>
        </p:nvSpPr>
        <p:spPr>
          <a:xfrm>
            <a:off x="456037" y="3465508"/>
            <a:ext cx="508000" cy="461665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IN" sz="2400" b="1" dirty="0" smtClean="0">
                <a:solidFill>
                  <a:schemeClr val="bg1"/>
                </a:solidFill>
              </a:rPr>
              <a:t>2</a:t>
            </a:r>
            <a:endParaRPr lang="en-IN" sz="2400" b="1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110343" y="4182202"/>
            <a:ext cx="77070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Created tab to place </a:t>
            </a:r>
            <a:r>
              <a:rPr lang="en-IN" sz="2400" dirty="0" smtClean="0"/>
              <a:t>Sitecues badge </a:t>
            </a:r>
            <a:r>
              <a:rPr lang="en-IN" sz="2400" dirty="0"/>
              <a:t>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2400" dirty="0"/>
              <a:t>No coding for over 100 website owners to implement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110343" y="5013199"/>
            <a:ext cx="770708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2400" b="1" dirty="0">
                <a:solidFill>
                  <a:schemeClr val="accent1"/>
                </a:solidFill>
              </a:rPr>
              <a:t>Received support as needed</a:t>
            </a:r>
          </a:p>
        </p:txBody>
      </p:sp>
      <p:sp>
        <p:nvSpPr>
          <p:cNvPr id="24" name="Rectangle 23" descr="number 3"/>
          <p:cNvSpPr/>
          <p:nvPr/>
        </p:nvSpPr>
        <p:spPr>
          <a:xfrm>
            <a:off x="456037" y="5127502"/>
            <a:ext cx="509637" cy="461665"/>
          </a:xfrm>
          <a:prstGeom prst="rect">
            <a:avLst/>
          </a:prstGeom>
          <a:solidFill>
            <a:schemeClr val="accent1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IN" sz="2400" b="1" dirty="0" smtClean="0">
                <a:solidFill>
                  <a:schemeClr val="bg1"/>
                </a:solidFill>
              </a:rPr>
              <a:t>3</a:t>
            </a:r>
            <a:endParaRPr lang="en-IN" sz="2400" b="1" dirty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110343" y="5474864"/>
            <a:ext cx="770708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3464" indent="-283464">
              <a:spcBef>
                <a:spcPts val="1000"/>
              </a:spcBef>
              <a:buSzPts val="2000"/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  <a:latin typeface="Calibri" panose="020F0502020204030204" pitchFamily="34" charset="0"/>
              </a:rPr>
              <a:t>Support from Ai Squared has been excellent</a:t>
            </a:r>
            <a:endParaRPr lang="en-US" sz="24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233858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215978" y="129882"/>
            <a:ext cx="8855094" cy="908411"/>
          </a:xfrm>
        </p:spPr>
        <p:txBody>
          <a:bodyPr>
            <a:noAutofit/>
          </a:bodyPr>
          <a:lstStyle/>
          <a:p>
            <a:r>
              <a:rPr lang="en-US" sz="3600" dirty="0" smtClean="0"/>
              <a:t>CSU Fullerton Metrics</a:t>
            </a:r>
            <a:endParaRPr lang="en-US" sz="3600" dirty="0"/>
          </a:p>
        </p:txBody>
      </p:sp>
      <p:pic>
        <p:nvPicPr>
          <p:cNvPr id="9" name="Picture 8" descr="CSU Fullerton  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2971" y="320990"/>
            <a:ext cx="1729116" cy="1042640"/>
          </a:xfrm>
          <a:prstGeom prst="rect">
            <a:avLst/>
          </a:prstGeom>
        </p:spPr>
      </p:pic>
      <p:sp>
        <p:nvSpPr>
          <p:cNvPr id="10" name="Content Placeholder 2" descr="George Brown College (Toronto)&#10;Deployed on a LMS serving students with disabilities&#10;Initial deployment is for 200 students&#10;Integrated into Desire2Learn (D2L) Learning Management System&#10;"/>
          <p:cNvSpPr>
            <a:spLocks noGrp="1"/>
          </p:cNvSpPr>
          <p:nvPr>
            <p:ph idx="1"/>
          </p:nvPr>
        </p:nvSpPr>
        <p:spPr>
          <a:xfrm>
            <a:off x="809565" y="1575101"/>
            <a:ext cx="6334229" cy="138455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2000" b="1" dirty="0" smtClean="0">
                <a:solidFill>
                  <a:schemeClr val="accent1"/>
                </a:solidFill>
              </a:rPr>
              <a:t>For February 2016 on www.fullerton.edu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42k </a:t>
            </a:r>
            <a:r>
              <a:rPr lang="en-US" sz="2000" dirty="0" smtClean="0">
                <a:solidFill>
                  <a:srgbClr val="000000"/>
                </a:solidFill>
              </a:rPr>
              <a:t>discovered </a:t>
            </a:r>
            <a:r>
              <a:rPr lang="en-US" sz="2000" dirty="0">
                <a:solidFill>
                  <a:srgbClr val="000000"/>
                </a:solidFill>
              </a:rPr>
              <a:t>Sitecue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</a:rPr>
              <a:t>6,272 Sitecues users </a:t>
            </a:r>
          </a:p>
        </p:txBody>
      </p:sp>
      <p:sp>
        <p:nvSpPr>
          <p:cNvPr id="11" name="Content Placeholder 2" descr="George Brown College (Toronto)&#10;Deployed on a LMS serving students with disabilities&#10;Initial deployment is for 200 students&#10;Integrated into Desire2Learn (D2L) Learning Management System&#10;"/>
          <p:cNvSpPr txBox="1">
            <a:spLocks/>
          </p:cNvSpPr>
          <p:nvPr/>
        </p:nvSpPr>
        <p:spPr>
          <a:xfrm>
            <a:off x="809565" y="3394526"/>
            <a:ext cx="6334229" cy="25143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Font typeface="Arial"/>
              <a:buNone/>
            </a:pPr>
            <a:r>
              <a:rPr lang="en-US" sz="2000" b="1" dirty="0" smtClean="0">
                <a:solidFill>
                  <a:schemeClr val="accent1"/>
                </a:solidFill>
              </a:rPr>
              <a:t>Sitecues User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4x more </a:t>
            </a:r>
            <a:r>
              <a:rPr lang="en-US" sz="2000" dirty="0" smtClean="0">
                <a:solidFill>
                  <a:srgbClr val="000000"/>
                </a:solidFill>
              </a:rPr>
              <a:t>repeat visi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</a:rPr>
              <a:t>8% more page views per sess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</a:rPr>
              <a:t>3.9 zoom uses per zoom us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</a:rPr>
              <a:t>4.2 speech uses per speech us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</a:rPr>
              <a:t>3.7 lens uses per lens user</a:t>
            </a:r>
            <a:endParaRPr lang="en-US" sz="2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479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descr="text&#10;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 descr="Sitecues was distributed by the New Jersey State Library’s Talking Book and Braille Library to key communities of need&#10;Installed on 30 shared computers within public library branches&#10;A specific terminal is designated within each library&#10;Minimal requirement for technical support or user training&#10;"/>
          <p:cNvSpPr>
            <a:spLocks noGrp="1"/>
          </p:cNvSpPr>
          <p:nvPr>
            <p:ph idx="1"/>
          </p:nvPr>
        </p:nvSpPr>
        <p:spPr>
          <a:xfrm>
            <a:off x="2880113" y="1280125"/>
            <a:ext cx="6054321" cy="2939266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0000"/>
                </a:solidFill>
              </a:rPr>
              <a:t>Sitecues was distributed </a:t>
            </a:r>
            <a:r>
              <a:rPr lang="en-US" sz="2000" dirty="0">
                <a:solidFill>
                  <a:srgbClr val="000000"/>
                </a:solidFill>
              </a:rPr>
              <a:t>by the New Jersey State Library’s Talking Book and Braille Library to key communities of need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Installed on 30 shared computers within public library branches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A specific terminal is designated within each library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</a:rPr>
              <a:t>Minimal requirement for technical support or user training</a:t>
            </a:r>
          </a:p>
        </p:txBody>
      </p:sp>
      <p:pic>
        <p:nvPicPr>
          <p:cNvPr id="7" name="Picture 6" descr="New Jersey State Library logo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551" y="1854045"/>
            <a:ext cx="2023720" cy="1124284"/>
          </a:xfrm>
          <a:prstGeom prst="rect">
            <a:avLst/>
          </a:prstGeom>
        </p:spPr>
      </p:pic>
      <p:sp>
        <p:nvSpPr>
          <p:cNvPr id="2" name="Rectangle 1" descr="talking book and braille library&#10;"/>
          <p:cNvSpPr/>
          <p:nvPr/>
        </p:nvSpPr>
        <p:spPr>
          <a:xfrm>
            <a:off x="562551" y="2817734"/>
            <a:ext cx="21198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2400" i="1" dirty="0" smtClean="0">
                <a:solidFill>
                  <a:srgbClr val="000000"/>
                </a:solidFill>
              </a:rPr>
              <a:t>Talking Book &amp; Braille Library</a:t>
            </a:r>
            <a:endParaRPr lang="en-US" sz="2400" i="1" dirty="0">
              <a:solidFill>
                <a:srgbClr val="000000"/>
              </a:solidFill>
            </a:endParaRPr>
          </a:p>
        </p:txBody>
      </p:sp>
      <p:sp>
        <p:nvSpPr>
          <p:cNvPr id="22" name="Rectangle 21" descr="text"/>
          <p:cNvSpPr/>
          <p:nvPr/>
        </p:nvSpPr>
        <p:spPr>
          <a:xfrm>
            <a:off x="562551" y="5165827"/>
            <a:ext cx="8371883" cy="14568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 defTabSz="966788">
              <a:spcBef>
                <a:spcPts val="1000"/>
              </a:spcBef>
              <a:buSzPct val="100000"/>
              <a:tabLst>
                <a:tab pos="2298700" algn="l"/>
              </a:tabLst>
            </a:pPr>
            <a:r>
              <a:rPr lang="en-US" i="1" kern="0" dirty="0">
                <a:solidFill>
                  <a:srgbClr val="000000"/>
                </a:solidFill>
                <a:latin typeface="Calibri" pitchFamily="34" charset="0"/>
              </a:rPr>
              <a:t>“We chose a solution that makes it easy for libraries in New Jersey to serve their print disabled population... “</a:t>
            </a:r>
          </a:p>
          <a:p>
            <a:pPr marL="0" lvl="1" indent="0" defTabSz="966788">
              <a:spcBef>
                <a:spcPts val="1000"/>
              </a:spcBef>
              <a:buSzPct val="100000"/>
              <a:tabLst>
                <a:tab pos="2298700" algn="l"/>
              </a:tabLst>
            </a:pPr>
            <a:r>
              <a:rPr lang="en-US" i="1" kern="0" dirty="0">
                <a:solidFill>
                  <a:srgbClr val="000000"/>
                </a:solidFill>
                <a:latin typeface="Calibri" pitchFamily="34" charset="0"/>
              </a:rPr>
              <a:t>“We are able to help  people read by basically, listening.”</a:t>
            </a:r>
          </a:p>
          <a:p>
            <a:pPr marL="0" lvl="1" indent="0" defTabSz="966788">
              <a:spcBef>
                <a:spcPts val="1000"/>
              </a:spcBef>
              <a:buSzPct val="100000"/>
              <a:tabLst>
                <a:tab pos="2298700" algn="l"/>
              </a:tabLst>
            </a:pPr>
            <a:r>
              <a:rPr lang="en-US" i="1" kern="0" dirty="0">
                <a:solidFill>
                  <a:srgbClr val="000000"/>
                </a:solidFill>
                <a:latin typeface="Calibri" pitchFamily="34" charset="0"/>
              </a:rPr>
              <a:t>“We see enormous applications for Sitecues in statistics and projections on vision loss…”</a:t>
            </a:r>
          </a:p>
        </p:txBody>
      </p:sp>
      <p:sp>
        <p:nvSpPr>
          <p:cNvPr id="23" name="Rectangle 22" descr="line separaration "/>
          <p:cNvSpPr/>
          <p:nvPr/>
        </p:nvSpPr>
        <p:spPr>
          <a:xfrm>
            <a:off x="562551" y="4980878"/>
            <a:ext cx="8371883" cy="1763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Rectangle 23" descr="New Jersey State Library logo&#10;"/>
          <p:cNvSpPr/>
          <p:nvPr/>
        </p:nvSpPr>
        <p:spPr>
          <a:xfrm>
            <a:off x="4188521" y="4330236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b="1" dirty="0">
                <a:solidFill>
                  <a:schemeClr val="accent1"/>
                </a:solidFill>
              </a:rPr>
              <a:t>Adam Sczepapiniak and Mary-Kearns Kaplan</a:t>
            </a:r>
          </a:p>
          <a:p>
            <a:pPr algn="r"/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New Jersey State Library</a:t>
            </a:r>
          </a:p>
        </p:txBody>
      </p:sp>
      <p:pic>
        <p:nvPicPr>
          <p:cNvPr id="30" name="Picture 29" descr="icons&#10;"/>
          <p:cNvPicPr>
            <a:picLocks noChangeAspect="1"/>
          </p:cNvPicPr>
          <p:nvPr/>
        </p:nvPicPr>
        <p:blipFill rotWithShape="1">
          <a:blip r:embed="rId8"/>
          <a:srcRect l="42351" t="22776" r="20514" b="57610"/>
          <a:stretch/>
        </p:blipFill>
        <p:spPr>
          <a:xfrm>
            <a:off x="215978" y="4593872"/>
            <a:ext cx="1000665" cy="60385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/>
              <a:t>Case Study: Shared Computers in Libraries</a:t>
            </a:r>
          </a:p>
        </p:txBody>
      </p:sp>
    </p:spTree>
    <p:extLst>
      <p:ext uri="{BB962C8B-B14F-4D97-AF65-F5344CB8AC3E}">
        <p14:creationId xmlns:p14="http://schemas.microsoft.com/office/powerpoint/2010/main" val="4159555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215978" y="302880"/>
            <a:ext cx="8855094" cy="908411"/>
          </a:xfrm>
        </p:spPr>
        <p:txBody>
          <a:bodyPr>
            <a:noAutofit/>
          </a:bodyPr>
          <a:lstStyle/>
          <a:p>
            <a:r>
              <a:rPr lang="en-US" sz="3600" dirty="0" smtClean="0"/>
              <a:t>Understanding the user’s perspective with a vision simulator</a:t>
            </a:r>
            <a:endParaRPr lang="en-US" sz="3600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dirty="0"/>
              <a:t>No Coffee</a:t>
            </a:r>
          </a:p>
          <a:p>
            <a:r>
              <a:rPr lang="en-US" dirty="0"/>
              <a:t>Free Chrome extension</a:t>
            </a:r>
          </a:p>
          <a:p>
            <a:r>
              <a:rPr lang="en-US" dirty="0">
                <a:hlinkClick r:id="rId3"/>
              </a:rPr>
              <a:t>bit.do/coffee0</a:t>
            </a:r>
            <a:r>
              <a:rPr lang="en-US" dirty="0"/>
              <a:t> </a:t>
            </a:r>
          </a:p>
          <a:p>
            <a:r>
              <a:rPr lang="en-US" dirty="0"/>
              <a:t>3500+ users – </a:t>
            </a:r>
            <a:br>
              <a:rPr lang="en-US" dirty="0"/>
            </a:br>
            <a:r>
              <a:rPr lang="en-US" dirty="0"/>
              <a:t>used at Amazon</a:t>
            </a:r>
          </a:p>
          <a:p>
            <a:r>
              <a:rPr lang="en-US" dirty="0"/>
              <a:t>Made during a </a:t>
            </a:r>
            <a:br>
              <a:rPr lang="en-US" dirty="0"/>
            </a:br>
            <a:r>
              <a:rPr lang="en-US" dirty="0"/>
              <a:t>snowstorm</a:t>
            </a:r>
          </a:p>
          <a:p>
            <a:r>
              <a:rPr lang="en-US" dirty="0"/>
              <a:t>Caveats:</a:t>
            </a:r>
          </a:p>
          <a:p>
            <a:pPr lvl="1"/>
            <a:r>
              <a:rPr lang="en-US" dirty="0"/>
              <a:t>Not medically </a:t>
            </a:r>
            <a:br>
              <a:rPr lang="en-US" dirty="0"/>
            </a:br>
            <a:r>
              <a:rPr lang="en-US" dirty="0"/>
              <a:t>accurate</a:t>
            </a:r>
          </a:p>
          <a:p>
            <a:pPr lvl="1"/>
            <a:r>
              <a:rPr lang="en-US" dirty="0"/>
              <a:t>Mouse not affected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8" name="Picture 7" descr="No Coffee Vision Simulator pictur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43525" y="1150509"/>
            <a:ext cx="3439185" cy="497565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-6816" y="6322595"/>
            <a:ext cx="9144000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kern="1200" dirty="0" smtClean="0"/>
              <a:t>Encourage accessible design by building empathy among developers</a:t>
            </a:r>
          </a:p>
        </p:txBody>
      </p:sp>
    </p:spTree>
    <p:extLst>
      <p:ext uri="{BB962C8B-B14F-4D97-AF65-F5344CB8AC3E}">
        <p14:creationId xmlns:p14="http://schemas.microsoft.com/office/powerpoint/2010/main" val="3140398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 smtClean="0"/>
              <a:t>Recommendations - Tools</a:t>
            </a:r>
            <a:endParaRPr lang="en-IE" sz="3200" dirty="0"/>
          </a:p>
        </p:txBody>
      </p:sp>
      <p:sp>
        <p:nvSpPr>
          <p:cNvPr id="8" name="Rectangle 7"/>
          <p:cNvSpPr/>
          <p:nvPr/>
        </p:nvSpPr>
        <p:spPr>
          <a:xfrm>
            <a:off x="433358" y="1400358"/>
            <a:ext cx="1082544" cy="130471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4098" name="Picture 2" descr="Tool icon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128" y="1576213"/>
            <a:ext cx="953004" cy="95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"/>
          <p:cNvSpPr txBox="1">
            <a:spLocks/>
          </p:cNvSpPr>
          <p:nvPr/>
        </p:nvSpPr>
        <p:spPr>
          <a:xfrm>
            <a:off x="1515902" y="1400358"/>
            <a:ext cx="1934323" cy="130471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400" b="1" dirty="0">
                <a:solidFill>
                  <a:schemeClr val="bg1"/>
                </a:solidFill>
              </a:rPr>
              <a:t>Tools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3519535" y="1400358"/>
            <a:ext cx="5052487" cy="130471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IE" sz="2400" dirty="0" smtClean="0">
                <a:solidFill>
                  <a:schemeClr val="tx1"/>
                </a:solidFill>
              </a:rPr>
              <a:t>Individual accommodations, </a:t>
            </a:r>
            <a:r>
              <a:rPr lang="en-IE" sz="2400" dirty="0">
                <a:solidFill>
                  <a:schemeClr val="tx1"/>
                </a:solidFill>
              </a:rPr>
              <a:t>compliant </a:t>
            </a:r>
            <a:r>
              <a:rPr lang="en-IE" sz="2400" dirty="0" smtClean="0">
                <a:solidFill>
                  <a:schemeClr val="tx1"/>
                </a:solidFill>
              </a:rPr>
              <a:t>website, accessibility </a:t>
            </a:r>
            <a:r>
              <a:rPr lang="en-IE" sz="2400" dirty="0">
                <a:solidFill>
                  <a:schemeClr val="tx1"/>
                </a:solidFill>
              </a:rPr>
              <a:t>features within applications / </a:t>
            </a:r>
            <a:r>
              <a:rPr lang="en-IE" sz="2400" dirty="0" smtClean="0">
                <a:solidFill>
                  <a:schemeClr val="tx1"/>
                </a:solidFill>
              </a:rPr>
              <a:t>content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9" name="Content Placeholder 1"/>
          <p:cNvSpPr>
            <a:spLocks noGrp="1"/>
          </p:cNvSpPr>
          <p:nvPr>
            <p:ph idx="1"/>
          </p:nvPr>
        </p:nvSpPr>
        <p:spPr>
          <a:xfrm>
            <a:off x="457200" y="3115958"/>
            <a:ext cx="8229600" cy="3424881"/>
          </a:xfrm>
        </p:spPr>
        <p:txBody>
          <a:bodyPr>
            <a:normAutofit/>
          </a:bodyPr>
          <a:lstStyle/>
          <a:p>
            <a:r>
              <a:rPr lang="en-US" sz="2400" dirty="0" smtClean="0"/>
              <a:t>Take an “all of the above” approach to delivering accessibility </a:t>
            </a:r>
          </a:p>
          <a:p>
            <a:r>
              <a:rPr lang="en-US" sz="2400" dirty="0" smtClean="0"/>
              <a:t>Given users more options – more types of tools and more ways to customize</a:t>
            </a:r>
          </a:p>
          <a:p>
            <a:r>
              <a:rPr lang="en-US" sz="2400" dirty="0" smtClean="0"/>
              <a:t>Don’t assume that users can teach themselves</a:t>
            </a:r>
            <a:endParaRPr lang="en-US" sz="2400" dirty="0"/>
          </a:p>
          <a:p>
            <a:r>
              <a:rPr lang="en-US" sz="2400" dirty="0" smtClean="0"/>
              <a:t>Don’t compromise on usability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627309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 smtClean="0"/>
              <a:t>Recommendations – Supported Users</a:t>
            </a:r>
            <a:endParaRPr lang="en-IE" sz="3200" dirty="0"/>
          </a:p>
        </p:txBody>
      </p:sp>
      <p:sp>
        <p:nvSpPr>
          <p:cNvPr id="9" name="Rectangle 8"/>
          <p:cNvSpPr/>
          <p:nvPr/>
        </p:nvSpPr>
        <p:spPr>
          <a:xfrm>
            <a:off x="486192" y="1367374"/>
            <a:ext cx="1082544" cy="130471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4100" name="Picture 4" descr="Image of person with a tick mark icon 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502" y="1547769"/>
            <a:ext cx="943924" cy="943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"/>
          <p:cNvSpPr txBox="1">
            <a:spLocks/>
          </p:cNvSpPr>
          <p:nvPr/>
        </p:nvSpPr>
        <p:spPr>
          <a:xfrm>
            <a:off x="1568736" y="1367374"/>
            <a:ext cx="1934323" cy="130471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400" b="1" dirty="0">
                <a:solidFill>
                  <a:schemeClr val="bg1"/>
                </a:solidFill>
              </a:rPr>
              <a:t>Supported Users</a:t>
            </a: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>
            <a:off x="3572369" y="1367374"/>
            <a:ext cx="5052487" cy="130471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IE" sz="2400" dirty="0" smtClean="0">
                <a:solidFill>
                  <a:schemeClr val="tx1"/>
                </a:solidFill>
              </a:rPr>
              <a:t>Students, </a:t>
            </a:r>
            <a:r>
              <a:rPr lang="en-IE" sz="2400" dirty="0">
                <a:solidFill>
                  <a:schemeClr val="tx1"/>
                </a:solidFill>
              </a:rPr>
              <a:t>employees, alumni, families, student applicants, career applicants, </a:t>
            </a:r>
            <a:r>
              <a:rPr lang="en-IE" sz="2400" dirty="0" smtClean="0">
                <a:solidFill>
                  <a:schemeClr val="tx1"/>
                </a:solidFill>
              </a:rPr>
              <a:t>library patrons, community </a:t>
            </a:r>
            <a:r>
              <a:rPr lang="en-IE" sz="2400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9" name="Content Placeholder 1"/>
          <p:cNvSpPr>
            <a:spLocks noGrp="1"/>
          </p:cNvSpPr>
          <p:nvPr>
            <p:ph idx="1"/>
          </p:nvPr>
        </p:nvSpPr>
        <p:spPr>
          <a:xfrm>
            <a:off x="457200" y="3115958"/>
            <a:ext cx="8229600" cy="3424881"/>
          </a:xfrm>
        </p:spPr>
        <p:txBody>
          <a:bodyPr>
            <a:normAutofit/>
          </a:bodyPr>
          <a:lstStyle/>
          <a:p>
            <a:r>
              <a:rPr lang="en-US" sz="2400" dirty="0" smtClean="0"/>
              <a:t>Consider audiences beyond students</a:t>
            </a:r>
          </a:p>
          <a:p>
            <a:r>
              <a:rPr lang="en-US" sz="2400" dirty="0" smtClean="0"/>
              <a:t>Strive to support users who do not self-identify as having a disability</a:t>
            </a:r>
          </a:p>
          <a:p>
            <a:r>
              <a:rPr lang="en-US" sz="2400" dirty="0" smtClean="0"/>
              <a:t>Support users with minor needs</a:t>
            </a:r>
          </a:p>
          <a:p>
            <a:r>
              <a:rPr lang="en-US" sz="2400" dirty="0" smtClean="0"/>
              <a:t>Support non-AT (Assistive Technology) users</a:t>
            </a:r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47877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/>
              <a:t>Accessibility </a:t>
            </a:r>
            <a:r>
              <a:rPr lang="en-IE" sz="3200" dirty="0" smtClean="0"/>
              <a:t>in </a:t>
            </a:r>
            <a:r>
              <a:rPr lang="en-IE" sz="3200" dirty="0"/>
              <a:t>your organization</a:t>
            </a:r>
          </a:p>
        </p:txBody>
      </p:sp>
      <p:sp>
        <p:nvSpPr>
          <p:cNvPr id="8" name="Rectangle 7"/>
          <p:cNvSpPr/>
          <p:nvPr/>
        </p:nvSpPr>
        <p:spPr>
          <a:xfrm>
            <a:off x="502668" y="1754592"/>
            <a:ext cx="1082544" cy="130471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4098" name="Picture 2" descr="Tools icon, picture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38" y="1930447"/>
            <a:ext cx="953004" cy="953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"/>
          <p:cNvSpPr txBox="1">
            <a:spLocks/>
          </p:cNvSpPr>
          <p:nvPr/>
        </p:nvSpPr>
        <p:spPr>
          <a:xfrm>
            <a:off x="1585212" y="1754592"/>
            <a:ext cx="1934323" cy="130471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400" b="1" dirty="0">
                <a:solidFill>
                  <a:schemeClr val="bg1"/>
                </a:solidFill>
              </a:rPr>
              <a:t>Tools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3588845" y="1754592"/>
            <a:ext cx="5052487" cy="130471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IE" sz="2400" dirty="0" smtClean="0">
                <a:solidFill>
                  <a:schemeClr val="tx1"/>
                </a:solidFill>
              </a:rPr>
              <a:t>Individual accommodations, </a:t>
            </a:r>
            <a:r>
              <a:rPr lang="en-IE" sz="2400" dirty="0">
                <a:solidFill>
                  <a:schemeClr val="tx1"/>
                </a:solidFill>
              </a:rPr>
              <a:t>compliant </a:t>
            </a:r>
            <a:r>
              <a:rPr lang="en-IE" sz="2400" dirty="0" smtClean="0">
                <a:solidFill>
                  <a:schemeClr val="tx1"/>
                </a:solidFill>
              </a:rPr>
              <a:t>website, accessibility </a:t>
            </a:r>
            <a:r>
              <a:rPr lang="en-IE" sz="2400" dirty="0">
                <a:solidFill>
                  <a:schemeClr val="tx1"/>
                </a:solidFill>
              </a:rPr>
              <a:t>features within applications &amp;</a:t>
            </a:r>
            <a:r>
              <a:rPr lang="en-IE" sz="2400" dirty="0" smtClean="0">
                <a:solidFill>
                  <a:schemeClr val="tx1"/>
                </a:solidFill>
              </a:rPr>
              <a:t> content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02668" y="3183093"/>
            <a:ext cx="1082544" cy="130471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4100" name="Picture 4" descr="Supported user icon 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978" y="3363488"/>
            <a:ext cx="943924" cy="943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"/>
          <p:cNvSpPr txBox="1">
            <a:spLocks/>
          </p:cNvSpPr>
          <p:nvPr/>
        </p:nvSpPr>
        <p:spPr>
          <a:xfrm>
            <a:off x="1585212" y="3183093"/>
            <a:ext cx="1934323" cy="130471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400" b="1" dirty="0">
                <a:solidFill>
                  <a:schemeClr val="bg1"/>
                </a:solidFill>
              </a:rPr>
              <a:t>Supported Users</a:t>
            </a: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>
            <a:off x="3588845" y="3183093"/>
            <a:ext cx="5052487" cy="130471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IE" sz="2400" dirty="0" smtClean="0">
                <a:solidFill>
                  <a:schemeClr val="tx1"/>
                </a:solidFill>
              </a:rPr>
              <a:t>Students, </a:t>
            </a:r>
            <a:r>
              <a:rPr lang="en-IE" sz="2400" dirty="0">
                <a:solidFill>
                  <a:schemeClr val="tx1"/>
                </a:solidFill>
              </a:rPr>
              <a:t>employees, alumni, families, student applicants, </a:t>
            </a:r>
            <a:r>
              <a:rPr lang="en-IE" sz="2400" dirty="0" smtClean="0">
                <a:solidFill>
                  <a:schemeClr val="tx1"/>
                </a:solidFill>
              </a:rPr>
              <a:t>job </a:t>
            </a:r>
            <a:r>
              <a:rPr lang="en-IE" sz="2400" dirty="0">
                <a:solidFill>
                  <a:schemeClr val="tx1"/>
                </a:solidFill>
              </a:rPr>
              <a:t>applicants, </a:t>
            </a:r>
            <a:r>
              <a:rPr lang="en-IE" sz="2400" dirty="0" smtClean="0">
                <a:solidFill>
                  <a:schemeClr val="tx1"/>
                </a:solidFill>
              </a:rPr>
              <a:t>library patrons, community </a:t>
            </a:r>
            <a:r>
              <a:rPr lang="en-IE" sz="2400" dirty="0">
                <a:solidFill>
                  <a:schemeClr val="tx1"/>
                </a:solidFill>
              </a:rPr>
              <a:t>members</a:t>
            </a:r>
          </a:p>
        </p:txBody>
      </p:sp>
      <p:sp>
        <p:nvSpPr>
          <p:cNvPr id="10" name="Rectangle 9"/>
          <p:cNvSpPr/>
          <p:nvPr/>
        </p:nvSpPr>
        <p:spPr>
          <a:xfrm>
            <a:off x="502668" y="4611595"/>
            <a:ext cx="1082544" cy="130471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4102" name="Picture 6" descr="Management icon&#10;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406" y="4806418"/>
            <a:ext cx="915068" cy="915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Placeholder 2"/>
          <p:cNvSpPr txBox="1">
            <a:spLocks/>
          </p:cNvSpPr>
          <p:nvPr/>
        </p:nvSpPr>
        <p:spPr>
          <a:xfrm>
            <a:off x="1585212" y="4611595"/>
            <a:ext cx="1934323" cy="130471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4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3588845" y="4611595"/>
            <a:ext cx="5052487" cy="130471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400" dirty="0" smtClean="0">
                <a:solidFill>
                  <a:schemeClr val="tx1"/>
                </a:solidFill>
              </a:rPr>
              <a:t>Procurement, implementation capabilities, </a:t>
            </a:r>
            <a:r>
              <a:rPr lang="en-US" sz="2400" dirty="0">
                <a:solidFill>
                  <a:schemeClr val="tx1"/>
                </a:solidFill>
              </a:rPr>
              <a:t>testing, measurement</a:t>
            </a:r>
          </a:p>
        </p:txBody>
      </p:sp>
    </p:spTree>
    <p:extLst>
      <p:ext uri="{BB962C8B-B14F-4D97-AF65-F5344CB8AC3E}">
        <p14:creationId xmlns:p14="http://schemas.microsoft.com/office/powerpoint/2010/main" val="152368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 smtClean="0"/>
              <a:t>Recommendations - Management</a:t>
            </a:r>
            <a:endParaRPr lang="en-IE" sz="3200" dirty="0"/>
          </a:p>
        </p:txBody>
      </p:sp>
      <p:sp>
        <p:nvSpPr>
          <p:cNvPr id="10" name="Rectangle 9"/>
          <p:cNvSpPr/>
          <p:nvPr/>
        </p:nvSpPr>
        <p:spPr>
          <a:xfrm>
            <a:off x="519144" y="1398838"/>
            <a:ext cx="1082544" cy="130471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4102" name="Picture 6" descr="Icon of man with a gear &#10;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882" y="1593661"/>
            <a:ext cx="915068" cy="9150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Placeholder 2"/>
          <p:cNvSpPr txBox="1">
            <a:spLocks/>
          </p:cNvSpPr>
          <p:nvPr/>
        </p:nvSpPr>
        <p:spPr>
          <a:xfrm>
            <a:off x="1601688" y="1398838"/>
            <a:ext cx="1934323" cy="1304714"/>
          </a:xfrm>
          <a:prstGeom prst="rect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400" b="1" dirty="0">
                <a:solidFill>
                  <a:schemeClr val="bg1"/>
                </a:solidFill>
              </a:rPr>
              <a:t>Management</a:t>
            </a: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3605321" y="1398838"/>
            <a:ext cx="5052487" cy="130471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400" dirty="0" smtClean="0">
                <a:solidFill>
                  <a:schemeClr val="tx1"/>
                </a:solidFill>
              </a:rPr>
              <a:t>Implementation capabilities, </a:t>
            </a:r>
            <a:r>
              <a:rPr lang="en-US" sz="2400" dirty="0">
                <a:solidFill>
                  <a:schemeClr val="tx1"/>
                </a:solidFill>
              </a:rPr>
              <a:t>vendor selection, testing, measurement</a:t>
            </a:r>
          </a:p>
        </p:txBody>
      </p:sp>
      <p:sp>
        <p:nvSpPr>
          <p:cNvPr id="19" name="Content Placeholder 1"/>
          <p:cNvSpPr>
            <a:spLocks noGrp="1"/>
          </p:cNvSpPr>
          <p:nvPr>
            <p:ph idx="1"/>
          </p:nvPr>
        </p:nvSpPr>
        <p:spPr>
          <a:xfrm>
            <a:off x="457200" y="3115958"/>
            <a:ext cx="8229600" cy="3424881"/>
          </a:xfrm>
        </p:spPr>
        <p:txBody>
          <a:bodyPr>
            <a:normAutofit fontScale="92500" lnSpcReduction="10000"/>
          </a:bodyPr>
          <a:lstStyle/>
          <a:p>
            <a:r>
              <a:rPr lang="en-US" sz="2400" dirty="0" smtClean="0"/>
              <a:t>Don’t stop at universal design – strive for  universal delivery and adoption for those who could benefit</a:t>
            </a:r>
          </a:p>
          <a:p>
            <a:r>
              <a:rPr lang="en-US" sz="2400" dirty="0" smtClean="0"/>
              <a:t>Augment </a:t>
            </a:r>
            <a:r>
              <a:rPr lang="en-US" sz="2400" dirty="0"/>
              <a:t>compliance testing with usability testing</a:t>
            </a:r>
          </a:p>
          <a:p>
            <a:r>
              <a:rPr lang="en-US" sz="2400" dirty="0"/>
              <a:t>Don’t forget about adoption</a:t>
            </a:r>
          </a:p>
          <a:p>
            <a:r>
              <a:rPr lang="en-US" sz="2400" dirty="0"/>
              <a:t>Find ways to measure (availability, adoption, feedback, etc.)</a:t>
            </a:r>
            <a:endParaRPr lang="en-US" sz="2400" dirty="0" smtClean="0"/>
          </a:p>
          <a:p>
            <a:r>
              <a:rPr lang="en-US" sz="2400" dirty="0" smtClean="0"/>
              <a:t>Insist on open &amp; web-based platforms and applications</a:t>
            </a:r>
          </a:p>
          <a:p>
            <a:r>
              <a:rPr lang="en-US" sz="2400" dirty="0" smtClean="0"/>
              <a:t>Prioritize solutions and projects that scale</a:t>
            </a:r>
          </a:p>
          <a:p>
            <a:r>
              <a:rPr lang="en-US" sz="2400" dirty="0" smtClean="0"/>
              <a:t>Engage with stakeholders across the institution</a:t>
            </a:r>
          </a:p>
          <a:p>
            <a:r>
              <a:rPr lang="en-US" sz="2400" dirty="0" smtClean="0"/>
              <a:t>Don’t wait!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5525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-6815" y="6322595"/>
            <a:ext cx="9150816" cy="46166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228600" indent="-228600" algn="ctr"/>
            <a:r>
              <a:rPr lang="en-US" sz="2400" dirty="0" smtClean="0">
                <a:solidFill>
                  <a:schemeClr val="bg1"/>
                </a:solidFill>
              </a:rPr>
              <a:t>If you give us your business card, we will get you this presentation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/>
              <a:t>For More Information</a:t>
            </a:r>
          </a:p>
        </p:txBody>
      </p:sp>
      <p:pic>
        <p:nvPicPr>
          <p:cNvPr id="25" name="Picture 24" descr="Marc Zablatsky&#10;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775" y="1499573"/>
            <a:ext cx="1636256" cy="1636256"/>
          </a:xfrm>
          <a:prstGeom prst="ellipse">
            <a:avLst/>
          </a:prstGeom>
          <a:ln w="28575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4" name="Text Placeholder 2"/>
          <p:cNvSpPr txBox="1">
            <a:spLocks/>
          </p:cNvSpPr>
          <p:nvPr/>
        </p:nvSpPr>
        <p:spPr>
          <a:xfrm>
            <a:off x="3033607" y="4178913"/>
            <a:ext cx="1954061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 smtClean="0">
                <a:latin typeface="+mj-lt"/>
              </a:rPr>
              <a:t>www.sitecues.com</a:t>
            </a:r>
            <a:endParaRPr lang="en-US" dirty="0">
              <a:latin typeface="+mj-lt"/>
            </a:endParaRPr>
          </a:p>
        </p:txBody>
      </p:sp>
      <p:sp>
        <p:nvSpPr>
          <p:cNvPr id="28" name="Text Placeholder 2"/>
          <p:cNvSpPr txBox="1">
            <a:spLocks/>
          </p:cNvSpPr>
          <p:nvPr/>
        </p:nvSpPr>
        <p:spPr>
          <a:xfrm>
            <a:off x="3033607" y="4684551"/>
            <a:ext cx="1074461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>
                <a:latin typeface="+mj-lt"/>
              </a:rPr>
              <a:t>@sitecues</a:t>
            </a:r>
          </a:p>
        </p:txBody>
      </p:sp>
      <p:sp>
        <p:nvSpPr>
          <p:cNvPr id="29" name="Text Placeholder 2"/>
          <p:cNvSpPr txBox="1">
            <a:spLocks/>
          </p:cNvSpPr>
          <p:nvPr/>
        </p:nvSpPr>
        <p:spPr>
          <a:xfrm>
            <a:off x="3033607" y="5190189"/>
            <a:ext cx="2098267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>
                <a:latin typeface="+mj-lt"/>
              </a:rPr>
              <a:t>sales@sitecues.com</a:t>
            </a:r>
          </a:p>
        </p:txBody>
      </p:sp>
      <p:sp>
        <p:nvSpPr>
          <p:cNvPr id="33" name="Text Placeholder 2"/>
          <p:cNvSpPr txBox="1">
            <a:spLocks/>
          </p:cNvSpPr>
          <p:nvPr/>
        </p:nvSpPr>
        <p:spPr>
          <a:xfrm>
            <a:off x="3033607" y="5695826"/>
            <a:ext cx="1455527" cy="2769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200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>
                <a:latin typeface="+mj-lt"/>
              </a:rPr>
              <a:t>857-259-5272</a:t>
            </a: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2542639" y="1248283"/>
            <a:ext cx="3017603" cy="33855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SzPct val="125000"/>
              <a:buNone/>
            </a:pPr>
            <a:r>
              <a:rPr lang="en-US" sz="2200" b="1" dirty="0" smtClean="0">
                <a:latin typeface="+mj-lt"/>
              </a:rPr>
              <a:t>Marc </a:t>
            </a:r>
            <a:r>
              <a:rPr lang="en-US" sz="2200" b="1" dirty="0" err="1" smtClean="0">
                <a:latin typeface="+mj-lt"/>
              </a:rPr>
              <a:t>Zablatsky</a:t>
            </a:r>
            <a:endParaRPr lang="en-US" sz="2200" b="1" dirty="0" smtClean="0">
              <a:latin typeface="+mj-lt"/>
            </a:endParaRP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3033607" y="2397176"/>
            <a:ext cx="2926186" cy="27699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00"/>
              </a:spcBef>
              <a:spcAft>
                <a:spcPts val="450"/>
              </a:spcAft>
              <a:buClr>
                <a:schemeClr val="accent1"/>
              </a:buClr>
              <a:buSzPct val="125000"/>
              <a:buNone/>
            </a:pPr>
            <a:r>
              <a:rPr lang="en-US" dirty="0">
                <a:latin typeface="+mj-lt"/>
              </a:rPr>
              <a:t>+1 617-875-0248</a:t>
            </a:r>
          </a:p>
        </p:txBody>
      </p:sp>
      <p:sp>
        <p:nvSpPr>
          <p:cNvPr id="21" name="Text Placeholder 2"/>
          <p:cNvSpPr txBox="1">
            <a:spLocks/>
          </p:cNvSpPr>
          <p:nvPr/>
        </p:nvSpPr>
        <p:spPr>
          <a:xfrm>
            <a:off x="3033607" y="2771567"/>
            <a:ext cx="2926186" cy="67967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25000"/>
              <a:buNone/>
            </a:pPr>
            <a:r>
              <a:rPr lang="en-US" dirty="0" smtClean="0">
                <a:latin typeface="+mj-lt"/>
              </a:rPr>
              <a:t>mzablatsky@aisquared.com</a:t>
            </a:r>
          </a:p>
          <a:p>
            <a:pPr marL="0" indent="0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SzPct val="125000"/>
              <a:buNone/>
            </a:pPr>
            <a:r>
              <a:rPr lang="en-US" dirty="0" smtClean="0">
                <a:latin typeface="+mj-lt"/>
              </a:rPr>
              <a:t>@mzablat</a:t>
            </a:r>
            <a:endParaRPr lang="en-US" dirty="0">
              <a:latin typeface="+mj-lt"/>
            </a:endParaRPr>
          </a:p>
        </p:txBody>
      </p:sp>
      <p:sp>
        <p:nvSpPr>
          <p:cNvPr id="36" name="Text Placeholder 2"/>
          <p:cNvSpPr txBox="1">
            <a:spLocks/>
          </p:cNvSpPr>
          <p:nvPr/>
        </p:nvSpPr>
        <p:spPr>
          <a:xfrm>
            <a:off x="2542639" y="1684230"/>
            <a:ext cx="2926186" cy="61555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 smtClean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 cap="none" dirty="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25000"/>
              <a:buNone/>
            </a:pPr>
            <a:r>
              <a:rPr lang="en-US" dirty="0">
                <a:latin typeface="+mj-lt"/>
              </a:rPr>
              <a:t>VP and General Manage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SzPct val="125000"/>
              <a:buNone/>
            </a:pPr>
            <a:r>
              <a:rPr lang="en-US" dirty="0">
                <a:latin typeface="+mj-lt"/>
              </a:rPr>
              <a:t>sitecues by Ai Squared</a:t>
            </a:r>
          </a:p>
        </p:txBody>
      </p:sp>
      <p:pic>
        <p:nvPicPr>
          <p:cNvPr id="3" name="Picture 2" descr="Twitter icon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4132" y="3135828"/>
            <a:ext cx="287973" cy="287973"/>
          </a:xfrm>
          <a:prstGeom prst="rect">
            <a:avLst/>
          </a:prstGeom>
        </p:spPr>
      </p:pic>
      <p:pic>
        <p:nvPicPr>
          <p:cNvPr id="17" name="Picture 2" descr="call, chat, mobile, phone, talk, telephone, viber icon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9619" y="2397176"/>
            <a:ext cx="276999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email, letter, mail, message icon"/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061" y="2817194"/>
            <a:ext cx="208114" cy="218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internet, network, web, website icon"/>
          <p:cNvPicPr>
            <a:picLocks noChangeAspect="1" noChangeArrowheads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4132" y="4220211"/>
            <a:ext cx="287973" cy="287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 descr="Twitter icon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84132" y="4693453"/>
            <a:ext cx="287973" cy="287973"/>
          </a:xfrm>
          <a:prstGeom prst="rect">
            <a:avLst/>
          </a:prstGeom>
        </p:spPr>
      </p:pic>
      <p:pic>
        <p:nvPicPr>
          <p:cNvPr id="22" name="Picture 6" descr="email, letter, mail, message icon"/>
          <p:cNvPicPr>
            <a:picLocks noChangeAspect="1" noChangeArrowheads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061" y="5244878"/>
            <a:ext cx="208114" cy="218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call, chat, mobile, phone, talk, telephone, viber icon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saturation sat="40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9619" y="5700604"/>
            <a:ext cx="276999" cy="27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5" descr="Sitecues logo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707" y="4837439"/>
            <a:ext cx="1953530" cy="462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89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US" sz="3200" dirty="0" smtClean="0"/>
              <a:t>Accessibility </a:t>
            </a:r>
            <a:r>
              <a:rPr lang="en-US" sz="3200" dirty="0"/>
              <a:t>should be universal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548136" y="3803331"/>
            <a:ext cx="1082544" cy="1066121"/>
          </a:xfrm>
          <a:prstGeom prst="roundRect">
            <a:avLst>
              <a:gd name="adj" fmla="val 6629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/>
          </a:p>
        </p:txBody>
      </p:sp>
      <p:sp>
        <p:nvSpPr>
          <p:cNvPr id="14" name="Rounded Rectangle 13"/>
          <p:cNvSpPr/>
          <p:nvPr/>
        </p:nvSpPr>
        <p:spPr>
          <a:xfrm>
            <a:off x="548136" y="1434454"/>
            <a:ext cx="1082544" cy="1066121"/>
          </a:xfrm>
          <a:prstGeom prst="roundRect">
            <a:avLst>
              <a:gd name="adj" fmla="val 6629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/>
          </a:p>
        </p:txBody>
      </p:sp>
      <p:pic>
        <p:nvPicPr>
          <p:cNvPr id="15362" name="Picture 2" descr="Diability symbols&#10;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42" y="1494948"/>
            <a:ext cx="945132" cy="945131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group, user icon"/>
          <p:cNvPicPr>
            <a:picLocks noChangeAspect="1" noChangeArrowheads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844" y="3863824"/>
            <a:ext cx="945132" cy="945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ounded Rectangle 30"/>
          <p:cNvSpPr/>
          <p:nvPr/>
        </p:nvSpPr>
        <p:spPr>
          <a:xfrm>
            <a:off x="548136" y="2622735"/>
            <a:ext cx="1082544" cy="1066121"/>
          </a:xfrm>
          <a:prstGeom prst="roundRect">
            <a:avLst>
              <a:gd name="adj" fmla="val 6629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/>
          </a:p>
        </p:txBody>
      </p:sp>
      <p:sp>
        <p:nvSpPr>
          <p:cNvPr id="36" name="Rounded Rectangle 35" descr="Tick icon&#10;"/>
          <p:cNvSpPr/>
          <p:nvPr/>
        </p:nvSpPr>
        <p:spPr>
          <a:xfrm>
            <a:off x="616842" y="2669161"/>
            <a:ext cx="945132" cy="945131"/>
          </a:xfrm>
          <a:prstGeom prst="roundRect">
            <a:avLst>
              <a:gd name="adj" fmla="val 6629"/>
            </a:avLst>
          </a:prstGeom>
          <a:solidFill>
            <a:srgbClr val="5178A7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/>
          </a:p>
        </p:txBody>
      </p:sp>
      <p:pic>
        <p:nvPicPr>
          <p:cNvPr id="27" name="Picture 26" descr="tick mark icon"/>
          <p:cNvPicPr>
            <a:picLocks noChangeAspect="1"/>
          </p:cNvPicPr>
          <p:nvPr/>
        </p:nvPicPr>
        <p:blipFill>
          <a:blip r:embed="rId6">
            <a:lum bright="70000" contrast="-70000"/>
          </a:blip>
          <a:stretch>
            <a:fillRect/>
          </a:stretch>
        </p:blipFill>
        <p:spPr>
          <a:xfrm>
            <a:off x="687632" y="2740711"/>
            <a:ext cx="803554" cy="802032"/>
          </a:xfrm>
          <a:prstGeom prst="rect">
            <a:avLst/>
          </a:prstGeom>
        </p:spPr>
      </p:pic>
      <p:sp>
        <p:nvSpPr>
          <p:cNvPr id="10" name="Text Placeholder 2"/>
          <p:cNvSpPr txBox="1">
            <a:spLocks/>
          </p:cNvSpPr>
          <p:nvPr/>
        </p:nvSpPr>
        <p:spPr>
          <a:xfrm>
            <a:off x="1699387" y="3803330"/>
            <a:ext cx="7251700" cy="1066122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800" dirty="0">
                <a:solidFill>
                  <a:schemeClr val="tx1"/>
                </a:solidFill>
              </a:rPr>
              <a:t>Achieve high levels of end user adoption</a:t>
            </a:r>
          </a:p>
        </p:txBody>
      </p:sp>
      <p:sp>
        <p:nvSpPr>
          <p:cNvPr id="9" name="Text Placeholder 2"/>
          <p:cNvSpPr txBox="1">
            <a:spLocks/>
          </p:cNvSpPr>
          <p:nvPr/>
        </p:nvSpPr>
        <p:spPr>
          <a:xfrm>
            <a:off x="1699387" y="1434453"/>
            <a:ext cx="7251700" cy="1066122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800" dirty="0">
                <a:solidFill>
                  <a:schemeClr val="tx1"/>
                </a:solidFill>
              </a:rPr>
              <a:t>Support a wide range of abilities</a:t>
            </a:r>
          </a:p>
        </p:txBody>
      </p:sp>
      <p:sp>
        <p:nvSpPr>
          <p:cNvPr id="11" name="Text Placeholder 2"/>
          <p:cNvSpPr txBox="1">
            <a:spLocks/>
          </p:cNvSpPr>
          <p:nvPr/>
        </p:nvSpPr>
        <p:spPr>
          <a:xfrm>
            <a:off x="1699387" y="2608666"/>
            <a:ext cx="7251700" cy="1066122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800" dirty="0">
                <a:solidFill>
                  <a:schemeClr val="tx1"/>
                </a:solidFill>
              </a:rPr>
              <a:t>Be easy to deploy and to scale</a:t>
            </a:r>
          </a:p>
        </p:txBody>
      </p:sp>
      <p:sp>
        <p:nvSpPr>
          <p:cNvPr id="40" name="Rounded Rectangle 39"/>
          <p:cNvSpPr/>
          <p:nvPr/>
        </p:nvSpPr>
        <p:spPr>
          <a:xfrm>
            <a:off x="548136" y="4977544"/>
            <a:ext cx="1082544" cy="1344125"/>
          </a:xfrm>
          <a:prstGeom prst="roundRect">
            <a:avLst>
              <a:gd name="adj" fmla="val 6629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/>
          </a:p>
        </p:txBody>
      </p:sp>
      <p:sp>
        <p:nvSpPr>
          <p:cNvPr id="48" name="Rounded Rectangle 47" descr="Across functions icon"/>
          <p:cNvSpPr/>
          <p:nvPr/>
        </p:nvSpPr>
        <p:spPr>
          <a:xfrm>
            <a:off x="616842" y="5053814"/>
            <a:ext cx="945132" cy="1191585"/>
          </a:xfrm>
          <a:prstGeom prst="roundRect">
            <a:avLst>
              <a:gd name="adj" fmla="val 6629"/>
            </a:avLst>
          </a:prstGeom>
          <a:solidFill>
            <a:srgbClr val="5178A7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/>
          </a:p>
        </p:txBody>
      </p:sp>
      <p:pic>
        <p:nvPicPr>
          <p:cNvPr id="33" name="Picture 32" descr="across function icon&#10;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53" t="34092" r="31864" b="34464"/>
          <a:stretch/>
        </p:blipFill>
        <p:spPr>
          <a:xfrm>
            <a:off x="707466" y="5119767"/>
            <a:ext cx="763884" cy="1059681"/>
          </a:xfrm>
          <a:prstGeom prst="rect">
            <a:avLst/>
          </a:prstGeom>
        </p:spPr>
      </p:pic>
      <p:sp>
        <p:nvSpPr>
          <p:cNvPr id="12" name="Text Placeholder 2"/>
          <p:cNvSpPr txBox="1">
            <a:spLocks/>
          </p:cNvSpPr>
          <p:nvPr/>
        </p:nvSpPr>
        <p:spPr>
          <a:xfrm>
            <a:off x="1699387" y="4977543"/>
            <a:ext cx="7255928" cy="1344126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en-US" sz="2600" u="sng" dirty="0" smtClean="0">
                <a:solidFill>
                  <a:schemeClr val="tx1"/>
                </a:solidFill>
              </a:rPr>
              <a:t>In education</a:t>
            </a:r>
            <a:r>
              <a:rPr lang="en-US" sz="2600" dirty="0" smtClean="0">
                <a:solidFill>
                  <a:schemeClr val="tx1"/>
                </a:solidFill>
              </a:rPr>
              <a:t>, be </a:t>
            </a:r>
            <a:r>
              <a:rPr lang="en-US" sz="2600" dirty="0">
                <a:solidFill>
                  <a:schemeClr val="tx1"/>
                </a:solidFill>
              </a:rPr>
              <a:t>delivered </a:t>
            </a:r>
            <a:r>
              <a:rPr lang="en-US" sz="2600" dirty="0" smtClean="0">
                <a:solidFill>
                  <a:schemeClr val="tx1"/>
                </a:solidFill>
              </a:rPr>
              <a:t>across institutional functions: learning, library, admissions, hiring, alumni relations, community engagement</a:t>
            </a:r>
            <a:endParaRPr lang="en-US" sz="2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274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83939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2163788" y="1775701"/>
            <a:ext cx="6641000" cy="41150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 descr="Accessibility isn’t just the right thing to do…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Accessibility isn’t just the right thing to do…</a:t>
            </a:r>
            <a:endParaRPr lang="en-US" dirty="0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605343" y="1775701"/>
            <a:ext cx="1558444" cy="4115091"/>
          </a:xfrm>
          <a:prstGeom prst="rect">
            <a:avLst/>
          </a:prstGeom>
          <a:solidFill>
            <a:schemeClr val="tx2"/>
          </a:solidFill>
          <a:ln/>
        </p:spPr>
        <p:txBody>
          <a:bodyPr vert="horz" lIns="73152" tIns="73152" rIns="73152" bIns="73152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chemeClr val="bg1"/>
                </a:solidFill>
              </a:rPr>
              <a:t>Legal and Regulatory Drivers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2249882" y="1909643"/>
            <a:ext cx="6202680" cy="384720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2200" dirty="0" smtClean="0"/>
              <a:t>Numerous lawsuits since 2003 has driven focus on accessibility of the technology (websites, LMS, course materials, etc.)</a:t>
            </a:r>
          </a:p>
          <a:p>
            <a:pPr>
              <a:spcBef>
                <a:spcPts val="1200"/>
              </a:spcBef>
            </a:pPr>
            <a:r>
              <a:rPr lang="en-US" sz="2200" dirty="0" smtClean="0"/>
              <a:t>Higher Ed are frequent targets for lawsuits, along with local / state government and retail</a:t>
            </a:r>
          </a:p>
          <a:p>
            <a:pPr>
              <a:spcBef>
                <a:spcPts val="1200"/>
              </a:spcBef>
            </a:pPr>
            <a:r>
              <a:rPr lang="en-US" sz="2200" dirty="0" smtClean="0"/>
              <a:t>Risk concerns drive increased scrutiny by institutions</a:t>
            </a:r>
          </a:p>
          <a:p>
            <a:pPr>
              <a:spcBef>
                <a:spcPts val="1200"/>
              </a:spcBef>
            </a:pPr>
            <a:r>
              <a:rPr lang="en-US" sz="2200" dirty="0" smtClean="0"/>
              <a:t>Most settlements require WCAG compliance + accessibility statements/policies + ongoing accessibility testing + training</a:t>
            </a:r>
            <a:endParaRPr lang="en-US" sz="2200" dirty="0"/>
          </a:p>
        </p:txBody>
      </p:sp>
      <p:sp>
        <p:nvSpPr>
          <p:cNvPr id="22" name="TextBox 21"/>
          <p:cNvSpPr txBox="1"/>
          <p:nvPr/>
        </p:nvSpPr>
        <p:spPr>
          <a:xfrm>
            <a:off x="-6816" y="6248855"/>
            <a:ext cx="9144000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kern="1200" dirty="0" smtClean="0"/>
              <a:t>Legal requirements give strong incentives for accessibility investment</a:t>
            </a:r>
          </a:p>
        </p:txBody>
      </p:sp>
    </p:spTree>
    <p:extLst>
      <p:ext uri="{BB962C8B-B14F-4D97-AF65-F5344CB8AC3E}">
        <p14:creationId xmlns:p14="http://schemas.microsoft.com/office/powerpoint/2010/main" val="86509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21945"/>
            <a:ext cx="8229600" cy="584775"/>
          </a:xfrm>
        </p:spPr>
        <p:txBody>
          <a:bodyPr wrap="square">
            <a:spAutoFit/>
          </a:bodyPr>
          <a:lstStyle/>
          <a:p>
            <a:r>
              <a:rPr lang="en-US" sz="3200" dirty="0" smtClean="0"/>
              <a:t>Accessibility Litigation In Higher Ed</a:t>
            </a:r>
            <a:endParaRPr lang="en-US" sz="32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95733" y="1350046"/>
            <a:ext cx="734455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chemeClr val="tx1"/>
                </a:solidFill>
              </a:rPr>
              <a:t>Timing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364668" y="1350046"/>
            <a:ext cx="2185246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chemeClr val="tx1"/>
                </a:solidFill>
              </a:rPr>
              <a:t>Plaintiff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684394" y="1350046"/>
            <a:ext cx="2185246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chemeClr val="tx1"/>
                </a:solidFill>
              </a:rPr>
              <a:t>Defendant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6004119" y="1350046"/>
            <a:ext cx="2644148" cy="27699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chemeClr val="tx1"/>
                </a:solidFill>
              </a:rPr>
              <a:t>Settlement</a:t>
            </a:r>
            <a:endParaRPr lang="en-US" sz="1800" dirty="0">
              <a:solidFill>
                <a:schemeClr val="tx1"/>
              </a:solidFill>
            </a:endParaRP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1364668" y="1652445"/>
            <a:ext cx="2185246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3684394" y="1652445"/>
            <a:ext cx="2185246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/>
          <p:cNvCxnSpPr/>
          <p:nvPr/>
        </p:nvCxnSpPr>
        <p:spPr>
          <a:xfrm>
            <a:off x="6004119" y="1652445"/>
            <a:ext cx="2644148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 txBox="1">
            <a:spLocks/>
          </p:cNvSpPr>
          <p:nvPr/>
        </p:nvSpPr>
        <p:spPr>
          <a:xfrm>
            <a:off x="3684394" y="1718233"/>
            <a:ext cx="218524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 dirty="0">
                <a:solidFill>
                  <a:schemeClr val="tx1"/>
                </a:solidFill>
              </a:rPr>
              <a:t>Penn State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1364668" y="1718233"/>
            <a:ext cx="2185246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>
                <a:solidFill>
                  <a:schemeClr val="tx1"/>
                </a:solidFill>
              </a:rPr>
              <a:t>NFB, US </a:t>
            </a:r>
            <a:r>
              <a:rPr lang="en-IE" sz="1800" b="0" dirty="0" smtClean="0">
                <a:solidFill>
                  <a:schemeClr val="tx1"/>
                </a:solidFill>
              </a:rPr>
              <a:t>Department  of </a:t>
            </a:r>
            <a:r>
              <a:rPr lang="en-IE" sz="1800" b="0" dirty="0">
                <a:solidFill>
                  <a:schemeClr val="tx1"/>
                </a:solidFill>
              </a:rPr>
              <a:t>Education</a:t>
            </a: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6004119" y="1718233"/>
            <a:ext cx="2644148" cy="138499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>
                <a:solidFill>
                  <a:schemeClr val="tx1"/>
                </a:solidFill>
              </a:rPr>
              <a:t>Course management systems, </a:t>
            </a:r>
            <a:r>
              <a:rPr lang="en-IE" sz="1800" b="0" dirty="0" smtClean="0">
                <a:solidFill>
                  <a:schemeClr val="tx1"/>
                </a:solidFill>
              </a:rPr>
              <a:t>web </a:t>
            </a:r>
            <a:r>
              <a:rPr lang="en-IE" sz="1800" b="0" dirty="0">
                <a:solidFill>
                  <a:schemeClr val="tx1"/>
                </a:solidFill>
              </a:rPr>
              <a:t>sites, classroom technology, library resources, banking services, and more</a:t>
            </a:r>
          </a:p>
        </p:txBody>
      </p:sp>
      <p:cxnSp>
        <p:nvCxnSpPr>
          <p:cNvPr id="33" name="Straight Connector 32"/>
          <p:cNvCxnSpPr/>
          <p:nvPr/>
        </p:nvCxnSpPr>
        <p:spPr>
          <a:xfrm>
            <a:off x="580556" y="1718233"/>
            <a:ext cx="0" cy="4214277"/>
          </a:xfrm>
          <a:prstGeom prst="line">
            <a:avLst/>
          </a:prstGeom>
          <a:ln w="19050">
            <a:solidFill>
              <a:schemeClr val="tx2"/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 txBox="1">
            <a:spLocks/>
          </p:cNvSpPr>
          <p:nvPr/>
        </p:nvSpPr>
        <p:spPr>
          <a:xfrm>
            <a:off x="754615" y="1718233"/>
            <a:ext cx="47557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chemeClr val="tx1"/>
                </a:solidFill>
              </a:rPr>
              <a:t>2011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5" name="Oval 34"/>
          <p:cNvSpPr/>
          <p:nvPr/>
        </p:nvSpPr>
        <p:spPr>
          <a:xfrm>
            <a:off x="495733" y="1771909"/>
            <a:ext cx="169647" cy="169647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1364668" y="3399992"/>
            <a:ext cx="2185246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>
                <a:solidFill>
                  <a:schemeClr val="tx1"/>
                </a:solidFill>
              </a:rPr>
              <a:t>US </a:t>
            </a:r>
            <a:r>
              <a:rPr lang="en-IE" sz="1800" b="0" dirty="0" smtClean="0">
                <a:solidFill>
                  <a:schemeClr val="tx1"/>
                </a:solidFill>
              </a:rPr>
              <a:t>Department </a:t>
            </a:r>
            <a:r>
              <a:rPr lang="en-IE" sz="1800" b="0" dirty="0">
                <a:solidFill>
                  <a:schemeClr val="tx1"/>
                </a:solidFill>
              </a:rPr>
              <a:t>Of Education</a:t>
            </a: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3684394" y="3399992"/>
            <a:ext cx="2185246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>
                <a:solidFill>
                  <a:schemeClr val="tx1"/>
                </a:solidFill>
              </a:rPr>
              <a:t>University of Cincinnati, Youngstown State University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6004119" y="3399992"/>
            <a:ext cx="2644148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>
                <a:solidFill>
                  <a:schemeClr val="tx1"/>
                </a:solidFill>
              </a:rPr>
              <a:t>Website for students, prospective students, employees and visitors</a:t>
            </a: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754615" y="3399992"/>
            <a:ext cx="47557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chemeClr val="tx1"/>
                </a:solidFill>
              </a:rPr>
              <a:t>2014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8" name="Oval 37"/>
          <p:cNvSpPr/>
          <p:nvPr/>
        </p:nvSpPr>
        <p:spPr>
          <a:xfrm>
            <a:off x="495733" y="3453668"/>
            <a:ext cx="169647" cy="169647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3684394" y="4527753"/>
            <a:ext cx="218524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>
                <a:solidFill>
                  <a:schemeClr val="tx1"/>
                </a:solidFill>
              </a:rPr>
              <a:t>Miami University-Ohio</a:t>
            </a:r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1364668" y="4527753"/>
            <a:ext cx="218524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 smtClean="0">
                <a:solidFill>
                  <a:schemeClr val="tx1"/>
                </a:solidFill>
              </a:rPr>
              <a:t>US Department of Justice</a:t>
            </a:r>
            <a:endParaRPr lang="en-IE" sz="1800" b="0" dirty="0">
              <a:solidFill>
                <a:schemeClr val="tx1"/>
              </a:solidFill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6004119" y="4527753"/>
            <a:ext cx="264414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>
                <a:solidFill>
                  <a:schemeClr val="tx1"/>
                </a:solidFill>
              </a:rPr>
              <a:t>Website, LMS &amp; course materials</a:t>
            </a: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754615" y="4527753"/>
            <a:ext cx="47557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smtClean="0">
                <a:solidFill>
                  <a:schemeClr val="tx1"/>
                </a:solidFill>
              </a:rPr>
              <a:t>2015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495733" y="4581429"/>
            <a:ext cx="169647" cy="169647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E" dirty="0"/>
          </a:p>
        </p:txBody>
      </p:sp>
      <p:sp>
        <p:nvSpPr>
          <p:cNvPr id="28" name="Title 1"/>
          <p:cNvSpPr txBox="1">
            <a:spLocks/>
          </p:cNvSpPr>
          <p:nvPr/>
        </p:nvSpPr>
        <p:spPr>
          <a:xfrm>
            <a:off x="1364668" y="5378512"/>
            <a:ext cx="2185246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>
                <a:solidFill>
                  <a:schemeClr val="tx1"/>
                </a:solidFill>
              </a:rPr>
              <a:t>US </a:t>
            </a:r>
            <a:r>
              <a:rPr lang="en-IE" sz="1800" b="0" dirty="0" smtClean="0">
                <a:solidFill>
                  <a:schemeClr val="tx1"/>
                </a:solidFill>
              </a:rPr>
              <a:t>Department </a:t>
            </a:r>
            <a:r>
              <a:rPr lang="en-IE" sz="1800" b="0" dirty="0">
                <a:solidFill>
                  <a:schemeClr val="tx1"/>
                </a:solidFill>
              </a:rPr>
              <a:t>Of Education</a:t>
            </a: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3684394" y="5378512"/>
            <a:ext cx="2185246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>
                <a:solidFill>
                  <a:schemeClr val="tx1"/>
                </a:solidFill>
              </a:rPr>
              <a:t>University of Phoenix</a:t>
            </a:r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6004119" y="5378512"/>
            <a:ext cx="264414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kern="1200">
                <a:solidFill>
                  <a:srgbClr val="245FAD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1800" b="0" dirty="0">
                <a:solidFill>
                  <a:schemeClr val="tx1"/>
                </a:solidFill>
              </a:rPr>
              <a:t>Online learning</a:t>
            </a:r>
          </a:p>
        </p:txBody>
      </p:sp>
      <p:cxnSp>
        <p:nvCxnSpPr>
          <p:cNvPr id="46" name="Straight Arrow Connector 45"/>
          <p:cNvCxnSpPr/>
          <p:nvPr/>
        </p:nvCxnSpPr>
        <p:spPr>
          <a:xfrm>
            <a:off x="754615" y="3251610"/>
            <a:ext cx="7893652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/>
          <p:cNvCxnSpPr/>
          <p:nvPr/>
        </p:nvCxnSpPr>
        <p:spPr>
          <a:xfrm>
            <a:off x="754615" y="4379371"/>
            <a:ext cx="7893652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/>
          <p:cNvCxnSpPr/>
          <p:nvPr/>
        </p:nvCxnSpPr>
        <p:spPr>
          <a:xfrm>
            <a:off x="754615" y="5230133"/>
            <a:ext cx="7899400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-6816" y="6322595"/>
            <a:ext cx="9144000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 smtClean="0"/>
              <a:t>Legal s</a:t>
            </a:r>
            <a:r>
              <a:rPr lang="en-US" sz="2400" kern="1200" dirty="0" smtClean="0"/>
              <a:t>ettlements cover all institutional activities, not just teaching</a:t>
            </a:r>
          </a:p>
        </p:txBody>
      </p:sp>
    </p:spTree>
    <p:extLst>
      <p:ext uri="{BB962C8B-B14F-4D97-AF65-F5344CB8AC3E}">
        <p14:creationId xmlns:p14="http://schemas.microsoft.com/office/powerpoint/2010/main" val="962735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2857500"/>
            <a:ext cx="8229600" cy="1143000"/>
          </a:xfrm>
        </p:spPr>
        <p:txBody>
          <a:bodyPr>
            <a:noAutofit/>
          </a:bodyPr>
          <a:lstStyle/>
          <a:p>
            <a:pPr algn="ctr"/>
            <a:r>
              <a:rPr lang="en-IN" sz="6000" dirty="0"/>
              <a:t>Why isn’t </a:t>
            </a:r>
            <a:r>
              <a:rPr lang="en-IN" sz="6000" dirty="0" smtClean="0"/>
              <a:t>accessibility more </a:t>
            </a:r>
            <a:r>
              <a:rPr lang="en-IN" sz="6000" dirty="0"/>
              <a:t>universal</a:t>
            </a:r>
            <a:r>
              <a:rPr lang="en-IN" sz="6000" dirty="0" smtClean="0"/>
              <a:t>?</a:t>
            </a:r>
            <a:endParaRPr lang="en-US" sz="6000" dirty="0"/>
          </a:p>
        </p:txBody>
      </p:sp>
    </p:spTree>
    <p:extLst>
      <p:ext uri="{BB962C8B-B14F-4D97-AF65-F5344CB8AC3E}">
        <p14:creationId xmlns:p14="http://schemas.microsoft.com/office/powerpoint/2010/main" val="965910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4" descr="Universal Adoption&#10;"/>
          <p:cNvSpPr>
            <a:spLocks/>
          </p:cNvSpPr>
          <p:nvPr/>
        </p:nvSpPr>
        <p:spPr bwMode="blackWhite">
          <a:xfrm>
            <a:off x="362744" y="3235335"/>
            <a:ext cx="2911475" cy="2600557"/>
          </a:xfrm>
          <a:custGeom>
            <a:avLst/>
            <a:gdLst/>
            <a:ahLst/>
            <a:cxnLst>
              <a:cxn ang="0">
                <a:pos x="1220" y="1042"/>
              </a:cxn>
              <a:cxn ang="0">
                <a:pos x="1002" y="847"/>
              </a:cxn>
              <a:cxn ang="0">
                <a:pos x="1081" y="630"/>
              </a:cxn>
              <a:cxn ang="0">
                <a:pos x="1038" y="635"/>
              </a:cxn>
              <a:cxn ang="0">
                <a:pos x="994" y="636"/>
              </a:cxn>
              <a:cxn ang="0">
                <a:pos x="950" y="634"/>
              </a:cxn>
              <a:cxn ang="0">
                <a:pos x="906" y="626"/>
              </a:cxn>
              <a:cxn ang="0">
                <a:pos x="865" y="614"/>
              </a:cxn>
              <a:cxn ang="0">
                <a:pos x="823" y="599"/>
              </a:cxn>
              <a:cxn ang="0">
                <a:pos x="784" y="579"/>
              </a:cxn>
              <a:cxn ang="0">
                <a:pos x="747" y="556"/>
              </a:cxn>
              <a:cxn ang="0">
                <a:pos x="713" y="528"/>
              </a:cxn>
              <a:cxn ang="0">
                <a:pos x="682" y="496"/>
              </a:cxn>
              <a:cxn ang="0">
                <a:pos x="653" y="463"/>
              </a:cxn>
              <a:cxn ang="0">
                <a:pos x="629" y="427"/>
              </a:cxn>
              <a:cxn ang="0">
                <a:pos x="609" y="390"/>
              </a:cxn>
              <a:cxn ang="0">
                <a:pos x="594" y="352"/>
              </a:cxn>
              <a:cxn ang="0">
                <a:pos x="581" y="314"/>
              </a:cxn>
              <a:cxn ang="0">
                <a:pos x="573" y="273"/>
              </a:cxn>
              <a:cxn ang="0">
                <a:pos x="568" y="232"/>
              </a:cxn>
              <a:cxn ang="0">
                <a:pos x="712" y="232"/>
              </a:cxn>
              <a:cxn ang="0">
                <a:pos x="368" y="0"/>
              </a:cxn>
              <a:cxn ang="0">
                <a:pos x="0" y="235"/>
              </a:cxn>
              <a:cxn ang="0">
                <a:pos x="134" y="234"/>
              </a:cxn>
              <a:cxn ang="0">
                <a:pos x="139" y="296"/>
              </a:cxn>
              <a:cxn ang="0">
                <a:pos x="148" y="358"/>
              </a:cxn>
              <a:cxn ang="0">
                <a:pos x="161" y="419"/>
              </a:cxn>
              <a:cxn ang="0">
                <a:pos x="178" y="479"/>
              </a:cxn>
              <a:cxn ang="0">
                <a:pos x="200" y="538"/>
              </a:cxn>
              <a:cxn ang="0">
                <a:pos x="227" y="595"/>
              </a:cxn>
              <a:cxn ang="0">
                <a:pos x="257" y="650"/>
              </a:cxn>
              <a:cxn ang="0">
                <a:pos x="291" y="702"/>
              </a:cxn>
              <a:cxn ang="0">
                <a:pos x="328" y="751"/>
              </a:cxn>
              <a:cxn ang="0">
                <a:pos x="369" y="797"/>
              </a:cxn>
              <a:cxn ang="0">
                <a:pos x="413" y="841"/>
              </a:cxn>
              <a:cxn ang="0">
                <a:pos x="459" y="882"/>
              </a:cxn>
              <a:cxn ang="0">
                <a:pos x="509" y="919"/>
              </a:cxn>
              <a:cxn ang="0">
                <a:pos x="562" y="951"/>
              </a:cxn>
              <a:cxn ang="0">
                <a:pos x="617" y="981"/>
              </a:cxn>
              <a:cxn ang="0">
                <a:pos x="673" y="1007"/>
              </a:cxn>
              <a:cxn ang="0">
                <a:pos x="732" y="1027"/>
              </a:cxn>
              <a:cxn ang="0">
                <a:pos x="791" y="1045"/>
              </a:cxn>
              <a:cxn ang="0">
                <a:pos x="852" y="1057"/>
              </a:cxn>
              <a:cxn ang="0">
                <a:pos x="913" y="1067"/>
              </a:cxn>
              <a:cxn ang="0">
                <a:pos x="975" y="1070"/>
              </a:cxn>
              <a:cxn ang="0">
                <a:pos x="1037" y="1070"/>
              </a:cxn>
              <a:cxn ang="0">
                <a:pos x="1098" y="1066"/>
              </a:cxn>
              <a:cxn ang="0">
                <a:pos x="1160" y="1056"/>
              </a:cxn>
              <a:cxn ang="0">
                <a:pos x="1220" y="1042"/>
              </a:cxn>
            </a:cxnLst>
            <a:rect l="0" t="0" r="r" b="b"/>
            <a:pathLst>
              <a:path w="1221" h="1071">
                <a:moveTo>
                  <a:pt x="1220" y="1042"/>
                </a:moveTo>
                <a:lnTo>
                  <a:pt x="1002" y="847"/>
                </a:lnTo>
                <a:lnTo>
                  <a:pt x="1081" y="630"/>
                </a:lnTo>
                <a:lnTo>
                  <a:pt x="1038" y="635"/>
                </a:lnTo>
                <a:lnTo>
                  <a:pt x="994" y="636"/>
                </a:lnTo>
                <a:lnTo>
                  <a:pt x="950" y="634"/>
                </a:lnTo>
                <a:lnTo>
                  <a:pt x="906" y="626"/>
                </a:lnTo>
                <a:lnTo>
                  <a:pt x="865" y="614"/>
                </a:lnTo>
                <a:lnTo>
                  <a:pt x="823" y="599"/>
                </a:lnTo>
                <a:lnTo>
                  <a:pt x="784" y="579"/>
                </a:lnTo>
                <a:lnTo>
                  <a:pt x="747" y="556"/>
                </a:lnTo>
                <a:lnTo>
                  <a:pt x="713" y="528"/>
                </a:lnTo>
                <a:lnTo>
                  <a:pt x="682" y="496"/>
                </a:lnTo>
                <a:lnTo>
                  <a:pt x="653" y="463"/>
                </a:lnTo>
                <a:lnTo>
                  <a:pt x="629" y="427"/>
                </a:lnTo>
                <a:lnTo>
                  <a:pt x="609" y="390"/>
                </a:lnTo>
                <a:lnTo>
                  <a:pt x="594" y="352"/>
                </a:lnTo>
                <a:lnTo>
                  <a:pt x="581" y="314"/>
                </a:lnTo>
                <a:lnTo>
                  <a:pt x="573" y="273"/>
                </a:lnTo>
                <a:lnTo>
                  <a:pt x="568" y="232"/>
                </a:lnTo>
                <a:lnTo>
                  <a:pt x="712" y="232"/>
                </a:lnTo>
                <a:lnTo>
                  <a:pt x="368" y="0"/>
                </a:lnTo>
                <a:lnTo>
                  <a:pt x="0" y="235"/>
                </a:lnTo>
                <a:lnTo>
                  <a:pt x="134" y="234"/>
                </a:lnTo>
                <a:lnTo>
                  <a:pt x="139" y="296"/>
                </a:lnTo>
                <a:lnTo>
                  <a:pt x="148" y="358"/>
                </a:lnTo>
                <a:lnTo>
                  <a:pt x="161" y="419"/>
                </a:lnTo>
                <a:lnTo>
                  <a:pt x="178" y="479"/>
                </a:lnTo>
                <a:lnTo>
                  <a:pt x="200" y="538"/>
                </a:lnTo>
                <a:lnTo>
                  <a:pt x="227" y="595"/>
                </a:lnTo>
                <a:lnTo>
                  <a:pt x="257" y="650"/>
                </a:lnTo>
                <a:lnTo>
                  <a:pt x="291" y="702"/>
                </a:lnTo>
                <a:lnTo>
                  <a:pt x="328" y="751"/>
                </a:lnTo>
                <a:lnTo>
                  <a:pt x="369" y="797"/>
                </a:lnTo>
                <a:lnTo>
                  <a:pt x="413" y="841"/>
                </a:lnTo>
                <a:lnTo>
                  <a:pt x="459" y="882"/>
                </a:lnTo>
                <a:lnTo>
                  <a:pt x="509" y="919"/>
                </a:lnTo>
                <a:lnTo>
                  <a:pt x="562" y="951"/>
                </a:lnTo>
                <a:lnTo>
                  <a:pt x="617" y="981"/>
                </a:lnTo>
                <a:lnTo>
                  <a:pt x="673" y="1007"/>
                </a:lnTo>
                <a:lnTo>
                  <a:pt x="732" y="1027"/>
                </a:lnTo>
                <a:lnTo>
                  <a:pt x="791" y="1045"/>
                </a:lnTo>
                <a:lnTo>
                  <a:pt x="852" y="1057"/>
                </a:lnTo>
                <a:lnTo>
                  <a:pt x="913" y="1067"/>
                </a:lnTo>
                <a:lnTo>
                  <a:pt x="975" y="1070"/>
                </a:lnTo>
                <a:lnTo>
                  <a:pt x="1037" y="1070"/>
                </a:lnTo>
                <a:lnTo>
                  <a:pt x="1098" y="1066"/>
                </a:lnTo>
                <a:lnTo>
                  <a:pt x="1160" y="1056"/>
                </a:lnTo>
                <a:lnTo>
                  <a:pt x="1220" y="1042"/>
                </a:lnTo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3" name="Freeform 3" descr="Universal Design&#10;"/>
          <p:cNvSpPr>
            <a:spLocks/>
          </p:cNvSpPr>
          <p:nvPr/>
        </p:nvSpPr>
        <p:spPr bwMode="blackWhite">
          <a:xfrm>
            <a:off x="694531" y="1620218"/>
            <a:ext cx="3703638" cy="1830578"/>
          </a:xfrm>
          <a:custGeom>
            <a:avLst/>
            <a:gdLst/>
            <a:ahLst/>
            <a:cxnLst>
              <a:cxn ang="0">
                <a:pos x="983" y="584"/>
              </a:cxn>
              <a:cxn ang="0">
                <a:pos x="1417" y="541"/>
              </a:cxn>
              <a:cxn ang="0">
                <a:pos x="1552" y="150"/>
              </a:cxn>
              <a:cxn ang="0">
                <a:pos x="1447" y="227"/>
              </a:cxn>
              <a:cxn ang="0">
                <a:pos x="1398" y="186"/>
              </a:cxn>
              <a:cxn ang="0">
                <a:pos x="1347" y="149"/>
              </a:cxn>
              <a:cxn ang="0">
                <a:pos x="1294" y="116"/>
              </a:cxn>
              <a:cxn ang="0">
                <a:pos x="1238" y="87"/>
              </a:cxn>
              <a:cxn ang="0">
                <a:pos x="1181" y="61"/>
              </a:cxn>
              <a:cxn ang="0">
                <a:pos x="1122" y="41"/>
              </a:cxn>
              <a:cxn ang="0">
                <a:pos x="1060" y="23"/>
              </a:cxn>
              <a:cxn ang="0">
                <a:pos x="999" y="12"/>
              </a:cxn>
              <a:cxn ang="0">
                <a:pos x="936" y="4"/>
              </a:cxn>
              <a:cxn ang="0">
                <a:pos x="873" y="0"/>
              </a:cxn>
              <a:cxn ang="0">
                <a:pos x="810" y="2"/>
              </a:cxn>
              <a:cxn ang="0">
                <a:pos x="748" y="8"/>
              </a:cxn>
              <a:cxn ang="0">
                <a:pos x="685" y="19"/>
              </a:cxn>
              <a:cxn ang="0">
                <a:pos x="624" y="34"/>
              </a:cxn>
              <a:cxn ang="0">
                <a:pos x="564" y="53"/>
              </a:cxn>
              <a:cxn ang="0">
                <a:pos x="506" y="76"/>
              </a:cxn>
              <a:cxn ang="0">
                <a:pos x="449" y="104"/>
              </a:cxn>
              <a:cxn ang="0">
                <a:pos x="395" y="137"/>
              </a:cxn>
              <a:cxn ang="0">
                <a:pos x="342" y="172"/>
              </a:cxn>
              <a:cxn ang="0">
                <a:pos x="294" y="212"/>
              </a:cxn>
              <a:cxn ang="0">
                <a:pos x="248" y="254"/>
              </a:cxn>
              <a:cxn ang="0">
                <a:pos x="205" y="301"/>
              </a:cxn>
              <a:cxn ang="0">
                <a:pos x="165" y="350"/>
              </a:cxn>
              <a:cxn ang="0">
                <a:pos x="130" y="401"/>
              </a:cxn>
              <a:cxn ang="0">
                <a:pos x="98" y="456"/>
              </a:cxn>
              <a:cxn ang="0">
                <a:pos x="71" y="512"/>
              </a:cxn>
              <a:cxn ang="0">
                <a:pos x="46" y="570"/>
              </a:cxn>
              <a:cxn ang="0">
                <a:pos x="27" y="631"/>
              </a:cxn>
              <a:cxn ang="0">
                <a:pos x="11" y="692"/>
              </a:cxn>
              <a:cxn ang="0">
                <a:pos x="0" y="752"/>
              </a:cxn>
              <a:cxn ang="0">
                <a:pos x="222" y="608"/>
              </a:cxn>
              <a:cxn ang="0">
                <a:pos x="440" y="749"/>
              </a:cxn>
              <a:cxn ang="0">
                <a:pos x="455" y="710"/>
              </a:cxn>
              <a:cxn ang="0">
                <a:pos x="474" y="670"/>
              </a:cxn>
              <a:cxn ang="0">
                <a:pos x="498" y="632"/>
              </a:cxn>
              <a:cxn ang="0">
                <a:pos x="525" y="596"/>
              </a:cxn>
              <a:cxn ang="0">
                <a:pos x="556" y="563"/>
              </a:cxn>
              <a:cxn ang="0">
                <a:pos x="589" y="533"/>
              </a:cxn>
              <a:cxn ang="0">
                <a:pos x="626" y="507"/>
              </a:cxn>
              <a:cxn ang="0">
                <a:pos x="665" y="485"/>
              </a:cxn>
              <a:cxn ang="0">
                <a:pos x="706" y="467"/>
              </a:cxn>
              <a:cxn ang="0">
                <a:pos x="749" y="453"/>
              </a:cxn>
              <a:cxn ang="0">
                <a:pos x="793" y="443"/>
              </a:cxn>
              <a:cxn ang="0">
                <a:pos x="837" y="438"/>
              </a:cxn>
              <a:cxn ang="0">
                <a:pos x="882" y="438"/>
              </a:cxn>
              <a:cxn ang="0">
                <a:pos x="927" y="442"/>
              </a:cxn>
              <a:cxn ang="0">
                <a:pos x="971" y="450"/>
              </a:cxn>
              <a:cxn ang="0">
                <a:pos x="1014" y="464"/>
              </a:cxn>
              <a:cxn ang="0">
                <a:pos x="1055" y="480"/>
              </a:cxn>
              <a:cxn ang="0">
                <a:pos x="1095" y="502"/>
              </a:cxn>
              <a:cxn ang="0">
                <a:pos x="983" y="584"/>
              </a:cxn>
            </a:cxnLst>
            <a:rect l="0" t="0" r="r" b="b"/>
            <a:pathLst>
              <a:path w="1553" h="753">
                <a:moveTo>
                  <a:pt x="983" y="584"/>
                </a:moveTo>
                <a:lnTo>
                  <a:pt x="1417" y="541"/>
                </a:lnTo>
                <a:lnTo>
                  <a:pt x="1552" y="150"/>
                </a:lnTo>
                <a:lnTo>
                  <a:pt x="1447" y="227"/>
                </a:lnTo>
                <a:lnTo>
                  <a:pt x="1398" y="186"/>
                </a:lnTo>
                <a:lnTo>
                  <a:pt x="1347" y="149"/>
                </a:lnTo>
                <a:lnTo>
                  <a:pt x="1294" y="116"/>
                </a:lnTo>
                <a:lnTo>
                  <a:pt x="1238" y="87"/>
                </a:lnTo>
                <a:lnTo>
                  <a:pt x="1181" y="61"/>
                </a:lnTo>
                <a:lnTo>
                  <a:pt x="1122" y="41"/>
                </a:lnTo>
                <a:lnTo>
                  <a:pt x="1060" y="23"/>
                </a:lnTo>
                <a:lnTo>
                  <a:pt x="999" y="12"/>
                </a:lnTo>
                <a:lnTo>
                  <a:pt x="936" y="4"/>
                </a:lnTo>
                <a:lnTo>
                  <a:pt x="873" y="0"/>
                </a:lnTo>
                <a:lnTo>
                  <a:pt x="810" y="2"/>
                </a:lnTo>
                <a:lnTo>
                  <a:pt x="748" y="8"/>
                </a:lnTo>
                <a:lnTo>
                  <a:pt x="685" y="19"/>
                </a:lnTo>
                <a:lnTo>
                  <a:pt x="624" y="34"/>
                </a:lnTo>
                <a:lnTo>
                  <a:pt x="564" y="53"/>
                </a:lnTo>
                <a:lnTo>
                  <a:pt x="506" y="76"/>
                </a:lnTo>
                <a:lnTo>
                  <a:pt x="449" y="104"/>
                </a:lnTo>
                <a:lnTo>
                  <a:pt x="395" y="137"/>
                </a:lnTo>
                <a:lnTo>
                  <a:pt x="342" y="172"/>
                </a:lnTo>
                <a:lnTo>
                  <a:pt x="294" y="212"/>
                </a:lnTo>
                <a:lnTo>
                  <a:pt x="248" y="254"/>
                </a:lnTo>
                <a:lnTo>
                  <a:pt x="205" y="301"/>
                </a:lnTo>
                <a:lnTo>
                  <a:pt x="165" y="350"/>
                </a:lnTo>
                <a:lnTo>
                  <a:pt x="130" y="401"/>
                </a:lnTo>
                <a:lnTo>
                  <a:pt x="98" y="456"/>
                </a:lnTo>
                <a:lnTo>
                  <a:pt x="71" y="512"/>
                </a:lnTo>
                <a:lnTo>
                  <a:pt x="46" y="570"/>
                </a:lnTo>
                <a:lnTo>
                  <a:pt x="27" y="631"/>
                </a:lnTo>
                <a:lnTo>
                  <a:pt x="11" y="692"/>
                </a:lnTo>
                <a:lnTo>
                  <a:pt x="0" y="752"/>
                </a:lnTo>
                <a:lnTo>
                  <a:pt x="222" y="608"/>
                </a:lnTo>
                <a:lnTo>
                  <a:pt x="440" y="749"/>
                </a:lnTo>
                <a:lnTo>
                  <a:pt x="455" y="710"/>
                </a:lnTo>
                <a:lnTo>
                  <a:pt x="474" y="670"/>
                </a:lnTo>
                <a:lnTo>
                  <a:pt x="498" y="632"/>
                </a:lnTo>
                <a:lnTo>
                  <a:pt x="525" y="596"/>
                </a:lnTo>
                <a:lnTo>
                  <a:pt x="556" y="563"/>
                </a:lnTo>
                <a:lnTo>
                  <a:pt x="589" y="533"/>
                </a:lnTo>
                <a:lnTo>
                  <a:pt x="626" y="507"/>
                </a:lnTo>
                <a:lnTo>
                  <a:pt x="665" y="485"/>
                </a:lnTo>
                <a:lnTo>
                  <a:pt x="706" y="467"/>
                </a:lnTo>
                <a:lnTo>
                  <a:pt x="749" y="453"/>
                </a:lnTo>
                <a:lnTo>
                  <a:pt x="793" y="443"/>
                </a:lnTo>
                <a:lnTo>
                  <a:pt x="837" y="438"/>
                </a:lnTo>
                <a:lnTo>
                  <a:pt x="882" y="438"/>
                </a:lnTo>
                <a:lnTo>
                  <a:pt x="927" y="442"/>
                </a:lnTo>
                <a:lnTo>
                  <a:pt x="971" y="450"/>
                </a:lnTo>
                <a:lnTo>
                  <a:pt x="1014" y="464"/>
                </a:lnTo>
                <a:lnTo>
                  <a:pt x="1055" y="480"/>
                </a:lnTo>
                <a:lnTo>
                  <a:pt x="1095" y="502"/>
                </a:lnTo>
                <a:lnTo>
                  <a:pt x="983" y="584"/>
                </a:lnTo>
              </a:path>
            </a:pathLst>
          </a:custGeom>
          <a:solidFill>
            <a:schemeClr val="tx2"/>
          </a:solidFill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5" name="Freeform 5" descr="Universal Deployment&#10;"/>
          <p:cNvSpPr>
            <a:spLocks/>
          </p:cNvSpPr>
          <p:nvPr/>
        </p:nvSpPr>
        <p:spPr bwMode="blackWhite">
          <a:xfrm>
            <a:off x="2921794" y="2440303"/>
            <a:ext cx="1890712" cy="3499144"/>
          </a:xfrm>
          <a:custGeom>
            <a:avLst/>
            <a:gdLst/>
            <a:ahLst/>
            <a:cxnLst>
              <a:cxn ang="0">
                <a:pos x="286" y="1316"/>
              </a:cxn>
              <a:cxn ang="0">
                <a:pos x="340" y="1290"/>
              </a:cxn>
              <a:cxn ang="0">
                <a:pos x="392" y="1260"/>
              </a:cxn>
              <a:cxn ang="0">
                <a:pos x="442" y="1225"/>
              </a:cxn>
              <a:cxn ang="0">
                <a:pos x="490" y="1187"/>
              </a:cxn>
              <a:cxn ang="0">
                <a:pos x="535" y="1146"/>
              </a:cxn>
              <a:cxn ang="0">
                <a:pos x="576" y="1102"/>
              </a:cxn>
              <a:cxn ang="0">
                <a:pos x="616" y="1055"/>
              </a:cxn>
              <a:cxn ang="0">
                <a:pos x="650" y="1005"/>
              </a:cxn>
              <a:cxn ang="0">
                <a:pos x="682" y="953"/>
              </a:cxn>
              <a:cxn ang="0">
                <a:pos x="709" y="900"/>
              </a:cxn>
              <a:cxn ang="0">
                <a:pos x="734" y="844"/>
              </a:cxn>
              <a:cxn ang="0">
                <a:pos x="753" y="786"/>
              </a:cxn>
              <a:cxn ang="0">
                <a:pos x="770" y="727"/>
              </a:cxn>
              <a:cxn ang="0">
                <a:pos x="781" y="668"/>
              </a:cxn>
              <a:cxn ang="0">
                <a:pos x="789" y="608"/>
              </a:cxn>
              <a:cxn ang="0">
                <a:pos x="792" y="547"/>
              </a:cxn>
              <a:cxn ang="0">
                <a:pos x="790" y="487"/>
              </a:cxn>
              <a:cxn ang="0">
                <a:pos x="786" y="427"/>
              </a:cxn>
              <a:cxn ang="0">
                <a:pos x="775" y="367"/>
              </a:cxn>
              <a:cxn ang="0">
                <a:pos x="762" y="308"/>
              </a:cxn>
              <a:cxn ang="0">
                <a:pos x="744" y="249"/>
              </a:cxn>
              <a:cxn ang="0">
                <a:pos x="722" y="193"/>
              </a:cxn>
              <a:cxn ang="0">
                <a:pos x="697" y="137"/>
              </a:cxn>
              <a:cxn ang="0">
                <a:pos x="667" y="84"/>
              </a:cxn>
              <a:cxn ang="0">
                <a:pos x="639" y="41"/>
              </a:cxn>
              <a:cxn ang="0">
                <a:pos x="609" y="0"/>
              </a:cxn>
              <a:cxn ang="0">
                <a:pos x="521" y="247"/>
              </a:cxn>
              <a:cxn ang="0">
                <a:pos x="277" y="280"/>
              </a:cxn>
              <a:cxn ang="0">
                <a:pos x="294" y="308"/>
              </a:cxn>
              <a:cxn ang="0">
                <a:pos x="316" y="347"/>
              </a:cxn>
              <a:cxn ang="0">
                <a:pos x="332" y="389"/>
              </a:cxn>
              <a:cxn ang="0">
                <a:pos x="345" y="431"/>
              </a:cxn>
              <a:cxn ang="0">
                <a:pos x="353" y="475"/>
              </a:cxn>
              <a:cxn ang="0">
                <a:pos x="357" y="519"/>
              </a:cxn>
              <a:cxn ang="0">
                <a:pos x="355" y="564"/>
              </a:cxn>
              <a:cxn ang="0">
                <a:pos x="350" y="608"/>
              </a:cxn>
              <a:cxn ang="0">
                <a:pos x="339" y="652"/>
              </a:cxn>
              <a:cxn ang="0">
                <a:pos x="325" y="694"/>
              </a:cxn>
              <a:cxn ang="0">
                <a:pos x="306" y="734"/>
              </a:cxn>
              <a:cxn ang="0">
                <a:pos x="284" y="772"/>
              </a:cxn>
              <a:cxn ang="0">
                <a:pos x="257" y="808"/>
              </a:cxn>
              <a:cxn ang="0">
                <a:pos x="227" y="841"/>
              </a:cxn>
              <a:cxn ang="0">
                <a:pos x="193" y="871"/>
              </a:cxn>
              <a:cxn ang="0">
                <a:pos x="156" y="896"/>
              </a:cxn>
              <a:cxn ang="0">
                <a:pos x="113" y="761"/>
              </a:cxn>
              <a:cxn ang="0">
                <a:pos x="0" y="1169"/>
              </a:cxn>
              <a:cxn ang="0">
                <a:pos x="321" y="1439"/>
              </a:cxn>
              <a:cxn ang="0">
                <a:pos x="286" y="1316"/>
              </a:cxn>
            </a:cxnLst>
            <a:rect l="0" t="0" r="r" b="b"/>
            <a:pathLst>
              <a:path w="793" h="1440">
                <a:moveTo>
                  <a:pt x="286" y="1316"/>
                </a:moveTo>
                <a:lnTo>
                  <a:pt x="340" y="1290"/>
                </a:lnTo>
                <a:lnTo>
                  <a:pt x="392" y="1260"/>
                </a:lnTo>
                <a:lnTo>
                  <a:pt x="442" y="1225"/>
                </a:lnTo>
                <a:lnTo>
                  <a:pt x="490" y="1187"/>
                </a:lnTo>
                <a:lnTo>
                  <a:pt x="535" y="1146"/>
                </a:lnTo>
                <a:lnTo>
                  <a:pt x="576" y="1102"/>
                </a:lnTo>
                <a:lnTo>
                  <a:pt x="616" y="1055"/>
                </a:lnTo>
                <a:lnTo>
                  <a:pt x="650" y="1005"/>
                </a:lnTo>
                <a:lnTo>
                  <a:pt x="682" y="953"/>
                </a:lnTo>
                <a:lnTo>
                  <a:pt x="709" y="900"/>
                </a:lnTo>
                <a:lnTo>
                  <a:pt x="734" y="844"/>
                </a:lnTo>
                <a:lnTo>
                  <a:pt x="753" y="786"/>
                </a:lnTo>
                <a:lnTo>
                  <a:pt x="770" y="727"/>
                </a:lnTo>
                <a:lnTo>
                  <a:pt x="781" y="668"/>
                </a:lnTo>
                <a:lnTo>
                  <a:pt x="789" y="608"/>
                </a:lnTo>
                <a:lnTo>
                  <a:pt x="792" y="547"/>
                </a:lnTo>
                <a:lnTo>
                  <a:pt x="790" y="487"/>
                </a:lnTo>
                <a:lnTo>
                  <a:pt x="786" y="427"/>
                </a:lnTo>
                <a:lnTo>
                  <a:pt x="775" y="367"/>
                </a:lnTo>
                <a:lnTo>
                  <a:pt x="762" y="308"/>
                </a:lnTo>
                <a:lnTo>
                  <a:pt x="744" y="249"/>
                </a:lnTo>
                <a:lnTo>
                  <a:pt x="722" y="193"/>
                </a:lnTo>
                <a:lnTo>
                  <a:pt x="697" y="137"/>
                </a:lnTo>
                <a:lnTo>
                  <a:pt x="667" y="84"/>
                </a:lnTo>
                <a:lnTo>
                  <a:pt x="639" y="41"/>
                </a:lnTo>
                <a:lnTo>
                  <a:pt x="609" y="0"/>
                </a:lnTo>
                <a:lnTo>
                  <a:pt x="521" y="247"/>
                </a:lnTo>
                <a:lnTo>
                  <a:pt x="277" y="280"/>
                </a:lnTo>
                <a:lnTo>
                  <a:pt x="294" y="308"/>
                </a:lnTo>
                <a:lnTo>
                  <a:pt x="316" y="347"/>
                </a:lnTo>
                <a:lnTo>
                  <a:pt x="332" y="389"/>
                </a:lnTo>
                <a:lnTo>
                  <a:pt x="345" y="431"/>
                </a:lnTo>
                <a:lnTo>
                  <a:pt x="353" y="475"/>
                </a:lnTo>
                <a:lnTo>
                  <a:pt x="357" y="519"/>
                </a:lnTo>
                <a:lnTo>
                  <a:pt x="355" y="564"/>
                </a:lnTo>
                <a:lnTo>
                  <a:pt x="350" y="608"/>
                </a:lnTo>
                <a:lnTo>
                  <a:pt x="339" y="652"/>
                </a:lnTo>
                <a:lnTo>
                  <a:pt x="325" y="694"/>
                </a:lnTo>
                <a:lnTo>
                  <a:pt x="306" y="734"/>
                </a:lnTo>
                <a:lnTo>
                  <a:pt x="284" y="772"/>
                </a:lnTo>
                <a:lnTo>
                  <a:pt x="257" y="808"/>
                </a:lnTo>
                <a:lnTo>
                  <a:pt x="227" y="841"/>
                </a:lnTo>
                <a:lnTo>
                  <a:pt x="193" y="871"/>
                </a:lnTo>
                <a:lnTo>
                  <a:pt x="156" y="896"/>
                </a:lnTo>
                <a:lnTo>
                  <a:pt x="113" y="761"/>
                </a:lnTo>
                <a:lnTo>
                  <a:pt x="0" y="1169"/>
                </a:lnTo>
                <a:lnTo>
                  <a:pt x="321" y="1439"/>
                </a:lnTo>
                <a:lnTo>
                  <a:pt x="286" y="1316"/>
                </a:lnTo>
              </a:path>
            </a:pathLst>
          </a:custGeom>
          <a:solidFill>
            <a:schemeClr val="accent1"/>
          </a:solidFill>
          <a:ln w="12700" cap="rnd" cmpd="sng">
            <a:noFill/>
            <a:prstDash val="solid"/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57200" y="553750"/>
            <a:ext cx="8229600" cy="584775"/>
          </a:xfrm>
        </p:spPr>
        <p:txBody>
          <a:bodyPr vert="horz" wrap="square" lIns="91440" tIns="45720" rIns="91440" bIns="45720" rtlCol="0" anchor="ctr">
            <a:spAutoFit/>
          </a:bodyPr>
          <a:lstStyle/>
          <a:p>
            <a:r>
              <a:rPr lang="en-IE" sz="3200" dirty="0"/>
              <a:t>Universal design is not enough</a:t>
            </a:r>
          </a:p>
        </p:txBody>
      </p:sp>
      <p:sp>
        <p:nvSpPr>
          <p:cNvPr id="6" name="TextBox 5"/>
          <p:cNvSpPr txBox="1"/>
          <p:nvPr/>
        </p:nvSpPr>
        <p:spPr>
          <a:xfrm rot="18062836">
            <a:off x="3147327" y="3957801"/>
            <a:ext cx="1809259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n-US" sz="2400" b="1" kern="0" dirty="0" smtClean="0">
                <a:solidFill>
                  <a:schemeClr val="bg1"/>
                </a:solidFill>
                <a:cs typeface="Calibri" pitchFamily="34" charset="0"/>
              </a:rPr>
              <a:t>Universal Deployment</a:t>
            </a:r>
          </a:p>
        </p:txBody>
      </p:sp>
      <p:sp>
        <p:nvSpPr>
          <p:cNvPr id="7" name="TextBox 6"/>
          <p:cNvSpPr txBox="1"/>
          <p:nvPr/>
        </p:nvSpPr>
        <p:spPr>
          <a:xfrm rot="1915063">
            <a:off x="603467" y="4314483"/>
            <a:ext cx="2207116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n-US" sz="2400" b="1" kern="0" dirty="0" smtClean="0">
                <a:solidFill>
                  <a:schemeClr val="bg1"/>
                </a:solidFill>
                <a:cs typeface="Calibri" pitchFamily="34" charset="0"/>
              </a:rPr>
              <a:t>Universal Adoption</a:t>
            </a:r>
          </a:p>
        </p:txBody>
      </p:sp>
      <p:sp>
        <p:nvSpPr>
          <p:cNvPr id="8" name="TextBox 7"/>
          <p:cNvSpPr txBox="1"/>
          <p:nvPr/>
        </p:nvSpPr>
        <p:spPr>
          <a:xfrm rot="21430153">
            <a:off x="1486982" y="1830228"/>
            <a:ext cx="178299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n-US" sz="2400" b="1" kern="0" dirty="0" smtClean="0">
                <a:solidFill>
                  <a:schemeClr val="bg1"/>
                </a:solidFill>
                <a:cs typeface="Calibri" pitchFamily="34" charset="0"/>
              </a:rPr>
              <a:t>Universal Design</a:t>
            </a:r>
          </a:p>
        </p:txBody>
      </p:sp>
      <p:sp>
        <p:nvSpPr>
          <p:cNvPr id="9" name="Rectangle 8"/>
          <p:cNvSpPr/>
          <p:nvPr/>
        </p:nvSpPr>
        <p:spPr>
          <a:xfrm>
            <a:off x="5261185" y="2139525"/>
            <a:ext cx="3333221" cy="32806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tIns="90000" bIns="90000" anchor="ctr">
            <a:noAutofit/>
          </a:bodyPr>
          <a:lstStyle/>
          <a:p>
            <a:pPr marL="285750" indent="-285750">
              <a:spcAft>
                <a:spcPts val="1350"/>
              </a:spcAft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cs typeface="Gotham Narrow Book"/>
              </a:rPr>
              <a:t>Designed for everyone</a:t>
            </a:r>
          </a:p>
          <a:p>
            <a:pPr marL="285750" indent="-285750">
              <a:spcAft>
                <a:spcPts val="1350"/>
              </a:spcAft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cs typeface="Gotham Narrow Book"/>
              </a:rPr>
              <a:t>Deployed across all operations</a:t>
            </a:r>
          </a:p>
          <a:p>
            <a:pPr marL="285750" indent="-285750">
              <a:spcAft>
                <a:spcPts val="1350"/>
              </a:spcAft>
              <a:buSzPct val="125000"/>
              <a:buFont typeface="Arial" panose="020B0604020202020204" pitchFamily="34" charset="0"/>
              <a:buChar char="•"/>
            </a:pPr>
            <a:r>
              <a:rPr lang="en-US" sz="2400" dirty="0" smtClean="0">
                <a:cs typeface="Gotham Narrow Book"/>
              </a:rPr>
              <a:t>Adopted by all who could benefit</a:t>
            </a:r>
            <a:endParaRPr lang="en-US" sz="2400" dirty="0">
              <a:cs typeface="Gotham Narrow Book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6816" y="6322595"/>
            <a:ext cx="9144000" cy="461665"/>
          </a:xfrm>
          <a:prstGeom prst="rect">
            <a:avLst/>
          </a:prstGeom>
          <a:solidFill>
            <a:srgbClr val="245F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kern="1200" dirty="0" smtClean="0"/>
              <a:t>Solutions for accessibility and AT need to be scalable and measurable</a:t>
            </a:r>
          </a:p>
        </p:txBody>
      </p:sp>
    </p:spTree>
    <p:extLst>
      <p:ext uri="{BB962C8B-B14F-4D97-AF65-F5344CB8AC3E}">
        <p14:creationId xmlns:p14="http://schemas.microsoft.com/office/powerpoint/2010/main" val="2409693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chw1y_.UCq1Tq4g.Ig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chw1y_.UCq1Tq4g.Ig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FFFFFF"/>
        </a:solidFill>
        <a:ln w="12700">
          <a:solidFill>
            <a:srgbClr val="000000"/>
          </a:solidFill>
        </a:ln>
      </a:spPr>
      <a:bodyPr lIns="91440" tIns="45720" rIns="91440" bIns="45720" anchor="ctr" anchorCtr="0"/>
      <a:lstStyle>
        <a:defPPr marL="0" marR="0" indent="0" algn="ctr" defTabSz="966788" eaLnBrk="1" fontAlgn="base" latinLnBrk="0" hangingPunct="1">
          <a:lnSpc>
            <a:spcPct val="100000"/>
          </a:lnSpc>
          <a:spcBef>
            <a:spcPts val="300"/>
          </a:spcBef>
          <a:spcAft>
            <a:spcPct val="0"/>
          </a:spcAft>
          <a:buClrTx/>
          <a:buSzPct val="100000"/>
          <a:tabLst>
            <a:tab pos="2298700" algn="l"/>
          </a:tabLst>
          <a:defRPr kumimoji="0" sz="11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429</TotalTime>
  <Words>2414</Words>
  <Application>Microsoft Office PowerPoint</Application>
  <PresentationFormat>On-screen Show (4:3)</PresentationFormat>
  <Paragraphs>516</Paragraphs>
  <Slides>41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46" baseType="lpstr">
      <vt:lpstr>Arial</vt:lpstr>
      <vt:lpstr>Calibri</vt:lpstr>
      <vt:lpstr>Gotham Narrow Book</vt:lpstr>
      <vt:lpstr>3_Office Theme</vt:lpstr>
      <vt:lpstr>think-cell Slide</vt:lpstr>
      <vt:lpstr>New Universal Design Approaches For Web Accessibility</vt:lpstr>
      <vt:lpstr>World leader in vision accessibility and accommodation for 40 years</vt:lpstr>
      <vt:lpstr>Overview and Learning Objectives</vt:lpstr>
      <vt:lpstr>Accessibility in your organization</vt:lpstr>
      <vt:lpstr>Accessibility should be universal</vt:lpstr>
      <vt:lpstr>Accessibility isn’t just the right thing to do…</vt:lpstr>
      <vt:lpstr>Accessibility Litigation In Higher Ed</vt:lpstr>
      <vt:lpstr>Why isn’t accessibility more universal?</vt:lpstr>
      <vt:lpstr>Universal design is not enough</vt:lpstr>
      <vt:lpstr>Traditional AT not reaching its potential</vt:lpstr>
      <vt:lpstr>Market research finds that most adults could benefit from AT</vt:lpstr>
      <vt:lpstr>Commercial ATs are great at helping those who use them</vt:lpstr>
      <vt:lpstr>Many barriers to Assistive Technology adoption</vt:lpstr>
      <vt:lpstr>Delivering accessibility is challenging due to the variety of need</vt:lpstr>
      <vt:lpstr>Needs vary greatly, even among  those with low vision</vt:lpstr>
      <vt:lpstr>There is No One-Size-Fits-All Design</vt:lpstr>
      <vt:lpstr>Built-in accessibility tools are generally known,  but seldom used</vt:lpstr>
      <vt:lpstr>Built-in accessibility tools are underused because of poor discoverability, poor usability, and the need for training</vt:lpstr>
      <vt:lpstr>Self-identification is a major issue</vt:lpstr>
      <vt:lpstr>Addressing organizational barriers  is also important</vt:lpstr>
      <vt:lpstr>How do we assess accessibility vs. usability?</vt:lpstr>
      <vt:lpstr>Solutions to improve accessibility in higher ed</vt:lpstr>
      <vt:lpstr>Tools for website access &amp; usability</vt:lpstr>
      <vt:lpstr>Offer additional functionality  to allow users to customize</vt:lpstr>
      <vt:lpstr>Sitecues is taking a novel approach to AT and accessibility</vt:lpstr>
      <vt:lpstr>What is Sitecues?</vt:lpstr>
      <vt:lpstr>Powerful functionality, yet easy-to-use</vt:lpstr>
      <vt:lpstr>For educational institutions, Sitecues enhances accessibility across all areas of operation</vt:lpstr>
      <vt:lpstr>CSU Fullerton Case Study</vt:lpstr>
      <vt:lpstr>CSU ATI for Student Success</vt:lpstr>
      <vt:lpstr>How many individuals with needs go unidentified?</vt:lpstr>
      <vt:lpstr>CSU Fullerton Case Study, continued</vt:lpstr>
      <vt:lpstr>CSU Fullerton – Benefits of sitecues</vt:lpstr>
      <vt:lpstr>CSU Fullerton - Implementation</vt:lpstr>
      <vt:lpstr>CSU Fullerton Metrics</vt:lpstr>
      <vt:lpstr>Case Study: Shared Computers in Libraries</vt:lpstr>
      <vt:lpstr>Understanding the user’s perspective with a vision simulator</vt:lpstr>
      <vt:lpstr>Recommendations - Tools</vt:lpstr>
      <vt:lpstr>Recommendations – Supported Users</vt:lpstr>
      <vt:lpstr>Recommendations - Management</vt:lpstr>
      <vt:lpstr>For More Inform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am quinn</dc:creator>
  <cp:lastModifiedBy>Administrator</cp:lastModifiedBy>
  <cp:revision>585</cp:revision>
  <cp:lastPrinted>2015-12-10T18:04:04Z</cp:lastPrinted>
  <dcterms:created xsi:type="dcterms:W3CDTF">2014-04-05T20:54:13Z</dcterms:created>
  <dcterms:modified xsi:type="dcterms:W3CDTF">2016-09-30T16:50:47Z</dcterms:modified>
</cp:coreProperties>
</file>